
<file path=[Content_Types].xml><?xml version="1.0" encoding="utf-8"?>
<Types xmlns="http://schemas.openxmlformats.org/package/2006/content-types">
  <Override PartName="/ppt/slideMasters/slideMaster3.xml" ContentType="application/vnd.openxmlformats-officedocument.presentationml.slideMaster+xml"/>
  <Override PartName="/ppt/theme/theme5.xml" ContentType="application/vnd.openxmlformats-officedocument.theme+xml"/>
  <Override PartName="/ppt/slideLayouts/slideLayout39.xml" ContentType="application/vnd.openxmlformats-officedocument.presentationml.slideLayout+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theme/themeOverride1.xml" ContentType="application/vnd.openxmlformats-officedocument.themeOverride+xml"/>
  <Override PartName="/ppt/notesSlides/notesSlide16.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slideMasters/slideMaster6.xml" ContentType="application/vnd.openxmlformats-officedocument.presentationml.slideMaster+xml"/>
  <Override PartName="/ppt/theme/theme8.xml" ContentType="application/vnd.openxmlformats-officedocument.them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slideMasters/slideMaster4.xml" ContentType="application/vnd.openxmlformats-officedocument.presentationml.slideMaster+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heme/theme6.xml" ContentType="application/vnd.openxmlformats-officedocument.theme+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5.xml" ContentType="application/vnd.openxmlformats-officedocument.presentationml.slide+xml"/>
  <Override PartName="/ppt/slides/slide19.xml" ContentType="application/vnd.openxmlformats-officedocument.presentationml.slide+xml"/>
  <Default Extension="png" ContentType="image/png"/>
  <Override PartName="/ppt/slideLayouts/slideLayout7.xml" ContentType="application/vnd.openxmlformats-officedocument.presentationml.slideLayout+xml"/>
  <Override PartName="/ppt/theme/theme4.xml" ContentType="application/vnd.openxmlformats-officedocument.theme+xml"/>
  <Override PartName="/ppt/slideLayouts/slideLayout29.xml" ContentType="application/vnd.openxmlformats-officedocument.presentationml.slideLayout+xml"/>
  <Override PartName="/ppt/slideLayouts/slideLayout38.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tags/tag5.xml" ContentType="application/vnd.openxmlformats-officedocument.presentationml.tags+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Override PartName="/ppt/slideLayouts/slideLayout43.xml" ContentType="application/vnd.openxmlformats-officedocument.presentationml.slideLayout+xml"/>
  <Override PartName="/ppt/tags/tag3.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notesSlides/notesSlide13.xml" ContentType="application/vnd.openxmlformats-officedocument.presentationml.notesSlide+xml"/>
  <Override PartName="/ppt/notesSlides/notesSlide22.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6.xml" ContentType="application/vnd.openxmlformats-officedocument.presentationml.notesSlide+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heme/theme7.xml" ContentType="application/vnd.openxmlformats-officedocument.them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Default Extension="xls" ContentType="application/vnd.ms-excel"/>
  <Override PartName="/ppt/tags/tag2.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notesSlides/notesSlide14.xml" ContentType="application/vnd.openxmlformats-officedocument.presentationml.notesSlide+xml"/>
  <Override PartName="/ppt/commentAuthors.xml" ContentType="application/vnd.openxmlformats-officedocument.presentationml.commentAuthors+xml"/>
  <Override PartName="/ppt/notesSlides/notesSlide9.xml" ContentType="application/vnd.openxmlformats-officedocument.presentationml.notesSlide+xml"/>
  <Override PartName="/ppt/notesSlides/notesSlide21.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2" r:id="rId1"/>
    <p:sldMasterId id="2147483660" r:id="rId2"/>
    <p:sldMasterId id="2147483698" r:id="rId3"/>
    <p:sldMasterId id="2147483705" r:id="rId4"/>
    <p:sldMasterId id="2147483712" r:id="rId5"/>
    <p:sldMasterId id="2147483723" r:id="rId6"/>
  </p:sldMasterIdLst>
  <p:notesMasterIdLst>
    <p:notesMasterId r:id="rId33"/>
  </p:notesMasterIdLst>
  <p:handoutMasterIdLst>
    <p:handoutMasterId r:id="rId34"/>
  </p:handoutMasterIdLst>
  <p:sldIdLst>
    <p:sldId id="640" r:id="rId7"/>
    <p:sldId id="661" r:id="rId8"/>
    <p:sldId id="662" r:id="rId9"/>
    <p:sldId id="663" r:id="rId10"/>
    <p:sldId id="498" r:id="rId11"/>
    <p:sldId id="643" r:id="rId12"/>
    <p:sldId id="644" r:id="rId13"/>
    <p:sldId id="645" r:id="rId14"/>
    <p:sldId id="646" r:id="rId15"/>
    <p:sldId id="632" r:id="rId16"/>
    <p:sldId id="647" r:id="rId17"/>
    <p:sldId id="648" r:id="rId18"/>
    <p:sldId id="649" r:id="rId19"/>
    <p:sldId id="650" r:id="rId20"/>
    <p:sldId id="651" r:id="rId21"/>
    <p:sldId id="652" r:id="rId22"/>
    <p:sldId id="653" r:id="rId23"/>
    <p:sldId id="656" r:id="rId24"/>
    <p:sldId id="654" r:id="rId25"/>
    <p:sldId id="655" r:id="rId26"/>
    <p:sldId id="658" r:id="rId27"/>
    <p:sldId id="659" r:id="rId28"/>
    <p:sldId id="660" r:id="rId29"/>
    <p:sldId id="657" r:id="rId30"/>
    <p:sldId id="637" r:id="rId31"/>
    <p:sldId id="631" r:id="rId32"/>
  </p:sldIdLst>
  <p:sldSz cx="9144000" cy="6858000" type="screen4x3"/>
  <p:notesSz cx="7099300" cy="10234613"/>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atharine Montgomery" initials="" lastIdx="2" clrIdx="0"/>
  <p:cmAuthor id="1" name="Emily Richardson" initials=""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showPr>
  <p:clrMru>
    <a:srgbClr val="FE8000"/>
    <a:srgbClr val="E5E5E5"/>
    <a:srgbClr val="BFBFBF"/>
    <a:srgbClr val="FFFFFF"/>
    <a:srgbClr val="D9D9D9"/>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156" autoAdjust="0"/>
    <p:restoredTop sz="77815" autoAdjust="0"/>
  </p:normalViewPr>
  <p:slideViewPr>
    <p:cSldViewPr snapToGrid="0" snapToObjects="1">
      <p:cViewPr>
        <p:scale>
          <a:sx n="70" d="100"/>
          <a:sy n="70" d="100"/>
        </p:scale>
        <p:origin x="-1632" y="-126"/>
      </p:cViewPr>
      <p:guideLst>
        <p:guide orient="horz" pos="2160"/>
        <p:guide pos="2880"/>
      </p:guideLst>
    </p:cSldViewPr>
  </p:slideViewPr>
  <p:notesTextViewPr>
    <p:cViewPr>
      <p:scale>
        <a:sx n="1" d="1"/>
        <a:sy n="1" d="1"/>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7106" name="Rectangle 2"/>
          <p:cNvSpPr>
            <a:spLocks noGrp="1" noChangeArrowheads="1"/>
          </p:cNvSpPr>
          <p:nvPr>
            <p:ph type="hdr" sz="quarter"/>
          </p:nvPr>
        </p:nvSpPr>
        <p:spPr bwMode="auto">
          <a:xfrm>
            <a:off x="0" y="0"/>
            <a:ext cx="3074988" cy="512763"/>
          </a:xfrm>
          <a:prstGeom prst="rect">
            <a:avLst/>
          </a:prstGeom>
          <a:noFill/>
          <a:ln>
            <a:noFill/>
          </a:ln>
          <a:effectLst/>
          <a:extLst>
            <a:ext uri="{909E8E84-426E-40DD-AFC4-6F175D3DCCD1}"/>
            <a:ext uri="{91240B29-F687-4F45-9708-019B960494DF}"/>
            <a:ext uri="{AF507438-7753-43E0-B8FC-AC1667EBCBE1}"/>
          </a:extLst>
        </p:spPr>
        <p:txBody>
          <a:bodyPr vert="horz" wrap="square" lIns="94344" tIns="47171" rIns="94344" bIns="47171" numCol="1" anchor="t" anchorCtr="0" compatLnSpc="1">
            <a:prstTxWarp prst="textNoShape">
              <a:avLst/>
            </a:prstTxWarp>
          </a:bodyPr>
          <a:lstStyle>
            <a:lvl1pPr algn="l">
              <a:defRPr sz="1200" dirty="0"/>
            </a:lvl1pPr>
          </a:lstStyle>
          <a:p>
            <a:pPr>
              <a:defRPr/>
            </a:pPr>
            <a:endParaRPr lang="en-US"/>
          </a:p>
        </p:txBody>
      </p:sp>
      <p:sp>
        <p:nvSpPr>
          <p:cNvPr id="47107" name="Rectangle 3"/>
          <p:cNvSpPr>
            <a:spLocks noGrp="1" noChangeArrowheads="1"/>
          </p:cNvSpPr>
          <p:nvPr>
            <p:ph type="dt" sz="quarter" idx="1"/>
          </p:nvPr>
        </p:nvSpPr>
        <p:spPr bwMode="auto">
          <a:xfrm>
            <a:off x="4022725" y="0"/>
            <a:ext cx="3074988" cy="512763"/>
          </a:xfrm>
          <a:prstGeom prst="rect">
            <a:avLst/>
          </a:prstGeom>
          <a:noFill/>
          <a:ln>
            <a:noFill/>
          </a:ln>
          <a:effectLst/>
          <a:extLst>
            <a:ext uri="{909E8E84-426E-40DD-AFC4-6F175D3DCCD1}"/>
            <a:ext uri="{91240B29-F687-4F45-9708-019B960494DF}"/>
            <a:ext uri="{AF507438-7753-43E0-B8FC-AC1667EBCBE1}"/>
          </a:extLst>
        </p:spPr>
        <p:txBody>
          <a:bodyPr vert="horz" wrap="square" lIns="94344" tIns="47171" rIns="94344" bIns="47171" numCol="1" anchor="t" anchorCtr="0" compatLnSpc="1">
            <a:prstTxWarp prst="textNoShape">
              <a:avLst/>
            </a:prstTxWarp>
          </a:bodyPr>
          <a:lstStyle>
            <a:lvl1pPr algn="r">
              <a:defRPr sz="1200" dirty="0"/>
            </a:lvl1pPr>
          </a:lstStyle>
          <a:p>
            <a:pPr>
              <a:defRPr/>
            </a:pPr>
            <a:endParaRPr lang="en-US"/>
          </a:p>
        </p:txBody>
      </p:sp>
      <p:sp>
        <p:nvSpPr>
          <p:cNvPr id="47108" name="Rectangle 4"/>
          <p:cNvSpPr>
            <a:spLocks noGrp="1" noChangeArrowheads="1"/>
          </p:cNvSpPr>
          <p:nvPr>
            <p:ph type="ftr" sz="quarter" idx="2"/>
          </p:nvPr>
        </p:nvSpPr>
        <p:spPr bwMode="auto">
          <a:xfrm>
            <a:off x="0" y="9720263"/>
            <a:ext cx="3074988" cy="512762"/>
          </a:xfrm>
          <a:prstGeom prst="rect">
            <a:avLst/>
          </a:prstGeom>
          <a:noFill/>
          <a:ln>
            <a:noFill/>
          </a:ln>
          <a:effectLst/>
          <a:extLst>
            <a:ext uri="{909E8E84-426E-40DD-AFC4-6F175D3DCCD1}"/>
            <a:ext uri="{91240B29-F687-4F45-9708-019B960494DF}"/>
            <a:ext uri="{AF507438-7753-43E0-B8FC-AC1667EBCBE1}"/>
          </a:extLst>
        </p:spPr>
        <p:txBody>
          <a:bodyPr vert="horz" wrap="square" lIns="94344" tIns="47171" rIns="94344" bIns="47171" numCol="1" anchor="b" anchorCtr="0" compatLnSpc="1">
            <a:prstTxWarp prst="textNoShape">
              <a:avLst/>
            </a:prstTxWarp>
          </a:bodyPr>
          <a:lstStyle>
            <a:lvl1pPr algn="l">
              <a:defRPr sz="1200" dirty="0"/>
            </a:lvl1pPr>
          </a:lstStyle>
          <a:p>
            <a:pPr>
              <a:defRPr/>
            </a:pPr>
            <a:endParaRPr lang="en-US"/>
          </a:p>
        </p:txBody>
      </p:sp>
      <p:sp>
        <p:nvSpPr>
          <p:cNvPr id="47109" name="Rectangle 5"/>
          <p:cNvSpPr>
            <a:spLocks noGrp="1" noChangeArrowheads="1"/>
          </p:cNvSpPr>
          <p:nvPr>
            <p:ph type="sldNum" sz="quarter" idx="3"/>
          </p:nvPr>
        </p:nvSpPr>
        <p:spPr bwMode="auto">
          <a:xfrm>
            <a:off x="4022725" y="9720263"/>
            <a:ext cx="3074988" cy="512762"/>
          </a:xfrm>
          <a:prstGeom prst="rect">
            <a:avLst/>
          </a:prstGeom>
          <a:noFill/>
          <a:ln>
            <a:noFill/>
          </a:ln>
          <a:effectLst/>
          <a:extLst>
            <a:ext uri="{909E8E84-426E-40DD-AFC4-6F175D3DCCD1}"/>
            <a:ext uri="{91240B29-F687-4F45-9708-019B960494DF}"/>
            <a:ext uri="{AF507438-7753-43E0-B8FC-AC1667EBCBE1}"/>
          </a:extLst>
        </p:spPr>
        <p:txBody>
          <a:bodyPr vert="horz" wrap="square" lIns="94344" tIns="47171" rIns="94344" bIns="47171" numCol="1" anchor="b" anchorCtr="0" compatLnSpc="1">
            <a:prstTxWarp prst="textNoShape">
              <a:avLst/>
            </a:prstTxWarp>
          </a:bodyPr>
          <a:lstStyle>
            <a:lvl1pPr algn="r">
              <a:defRPr sz="1200"/>
            </a:lvl1pPr>
          </a:lstStyle>
          <a:p>
            <a:pPr>
              <a:defRPr/>
            </a:pPr>
            <a:fld id="{352CF08B-9F9D-40E9-9CF0-67E5A2919A75}" type="slidenum">
              <a:rPr lang="en-US"/>
              <a:pPr>
                <a:defRPr/>
              </a:pPr>
              <a:t>‹#›</a:t>
            </a:fld>
            <a:endParaRPr lang="en-US"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554" name="Rectangle 2"/>
          <p:cNvSpPr>
            <a:spLocks noGrp="1" noChangeArrowheads="1"/>
          </p:cNvSpPr>
          <p:nvPr>
            <p:ph type="hdr" sz="quarter"/>
          </p:nvPr>
        </p:nvSpPr>
        <p:spPr bwMode="auto">
          <a:xfrm>
            <a:off x="0" y="0"/>
            <a:ext cx="3074988" cy="512763"/>
          </a:xfrm>
          <a:prstGeom prst="rect">
            <a:avLst/>
          </a:prstGeom>
          <a:noFill/>
          <a:ln>
            <a:noFill/>
          </a:ln>
          <a:effectLst/>
          <a:extLst>
            <a:ext uri="{909E8E84-426E-40DD-AFC4-6F175D3DCCD1}"/>
            <a:ext uri="{91240B29-F687-4F45-9708-019B960494DF}"/>
            <a:ext uri="{AF507438-7753-43E0-B8FC-AC1667EBCBE1}"/>
          </a:extLst>
        </p:spPr>
        <p:txBody>
          <a:bodyPr vert="horz" wrap="square" lIns="96957" tIns="48478" rIns="96957" bIns="48478" numCol="1" anchor="t" anchorCtr="0" compatLnSpc="1">
            <a:prstTxWarp prst="textNoShape">
              <a:avLst/>
            </a:prstTxWarp>
          </a:bodyPr>
          <a:lstStyle>
            <a:lvl1pPr algn="l" defTabSz="969644">
              <a:defRPr sz="1200" dirty="0"/>
            </a:lvl1pPr>
          </a:lstStyle>
          <a:p>
            <a:pPr>
              <a:defRPr/>
            </a:pPr>
            <a:endParaRPr lang="de-DE"/>
          </a:p>
        </p:txBody>
      </p:sp>
      <p:sp>
        <p:nvSpPr>
          <p:cNvPr id="23555" name="Rectangle 3"/>
          <p:cNvSpPr>
            <a:spLocks noGrp="1" noChangeArrowheads="1"/>
          </p:cNvSpPr>
          <p:nvPr>
            <p:ph type="dt" idx="1"/>
          </p:nvPr>
        </p:nvSpPr>
        <p:spPr bwMode="auto">
          <a:xfrm>
            <a:off x="4022725" y="0"/>
            <a:ext cx="3074988" cy="512763"/>
          </a:xfrm>
          <a:prstGeom prst="rect">
            <a:avLst/>
          </a:prstGeom>
          <a:noFill/>
          <a:ln>
            <a:noFill/>
          </a:ln>
          <a:effectLst/>
          <a:extLst>
            <a:ext uri="{909E8E84-426E-40DD-AFC4-6F175D3DCCD1}"/>
            <a:ext uri="{91240B29-F687-4F45-9708-019B960494DF}"/>
            <a:ext uri="{AF507438-7753-43E0-B8FC-AC1667EBCBE1}"/>
          </a:extLst>
        </p:spPr>
        <p:txBody>
          <a:bodyPr vert="horz" wrap="square" lIns="96957" tIns="48478" rIns="96957" bIns="48478" numCol="1" anchor="t" anchorCtr="0" compatLnSpc="1">
            <a:prstTxWarp prst="textNoShape">
              <a:avLst/>
            </a:prstTxWarp>
          </a:bodyPr>
          <a:lstStyle>
            <a:lvl1pPr algn="r" defTabSz="969644">
              <a:defRPr sz="1200" dirty="0"/>
            </a:lvl1pPr>
          </a:lstStyle>
          <a:p>
            <a:pPr>
              <a:defRPr/>
            </a:pPr>
            <a:endParaRPr lang="de-DE"/>
          </a:p>
        </p:txBody>
      </p:sp>
      <p:sp>
        <p:nvSpPr>
          <p:cNvPr id="52228" name="Rectangle 4"/>
          <p:cNvSpPr>
            <a:spLocks noGrp="1" noRot="1" noChangeAspect="1" noChangeArrowheads="1" noTextEdit="1"/>
          </p:cNvSpPr>
          <p:nvPr>
            <p:ph type="sldImg" idx="2"/>
          </p:nvPr>
        </p:nvSpPr>
        <p:spPr bwMode="auto">
          <a:xfrm>
            <a:off x="990600" y="766763"/>
            <a:ext cx="5118100" cy="3838575"/>
          </a:xfrm>
          <a:prstGeom prst="rect">
            <a:avLst/>
          </a:prstGeom>
          <a:noFill/>
          <a:ln w="9525">
            <a:solidFill>
              <a:srgbClr val="000000"/>
            </a:solidFill>
            <a:miter lim="800000"/>
            <a:headEnd/>
            <a:tailEnd/>
          </a:ln>
        </p:spPr>
      </p:sp>
      <p:sp>
        <p:nvSpPr>
          <p:cNvPr id="23557" name="Rectangle 5"/>
          <p:cNvSpPr>
            <a:spLocks noGrp="1" noChangeArrowheads="1"/>
          </p:cNvSpPr>
          <p:nvPr>
            <p:ph type="body" sz="quarter" idx="3"/>
          </p:nvPr>
        </p:nvSpPr>
        <p:spPr bwMode="auto">
          <a:xfrm>
            <a:off x="709613" y="4862513"/>
            <a:ext cx="5680075" cy="4605337"/>
          </a:xfrm>
          <a:prstGeom prst="rect">
            <a:avLst/>
          </a:prstGeom>
          <a:noFill/>
          <a:ln>
            <a:noFill/>
          </a:ln>
          <a:effectLst/>
          <a:extLst>
            <a:ext uri="{909E8E84-426E-40DD-AFC4-6F175D3DCCD1}"/>
            <a:ext uri="{91240B29-F687-4F45-9708-019B960494DF}"/>
            <a:ext uri="{AF507438-7753-43E0-B8FC-AC1667EBCBE1}"/>
          </a:extLst>
        </p:spPr>
        <p:txBody>
          <a:bodyPr vert="horz" wrap="square" lIns="96957" tIns="48478" rIns="96957" bIns="48478" numCol="1" anchor="t" anchorCtr="0" compatLnSpc="1">
            <a:prstTxWarp prst="textNoShape">
              <a:avLst/>
            </a:prstTxWarp>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23558" name="Rectangle 6"/>
          <p:cNvSpPr>
            <a:spLocks noGrp="1" noChangeArrowheads="1"/>
          </p:cNvSpPr>
          <p:nvPr>
            <p:ph type="ftr" sz="quarter" idx="4"/>
          </p:nvPr>
        </p:nvSpPr>
        <p:spPr bwMode="auto">
          <a:xfrm>
            <a:off x="0" y="9720263"/>
            <a:ext cx="3074988" cy="512762"/>
          </a:xfrm>
          <a:prstGeom prst="rect">
            <a:avLst/>
          </a:prstGeom>
          <a:noFill/>
          <a:ln>
            <a:noFill/>
          </a:ln>
          <a:effectLst/>
          <a:extLst>
            <a:ext uri="{909E8E84-426E-40DD-AFC4-6F175D3DCCD1}"/>
            <a:ext uri="{91240B29-F687-4F45-9708-019B960494DF}"/>
            <a:ext uri="{AF507438-7753-43E0-B8FC-AC1667EBCBE1}"/>
          </a:extLst>
        </p:spPr>
        <p:txBody>
          <a:bodyPr vert="horz" wrap="square" lIns="96957" tIns="48478" rIns="96957" bIns="48478" numCol="1" anchor="b" anchorCtr="0" compatLnSpc="1">
            <a:prstTxWarp prst="textNoShape">
              <a:avLst/>
            </a:prstTxWarp>
          </a:bodyPr>
          <a:lstStyle>
            <a:lvl1pPr algn="l" defTabSz="969644">
              <a:defRPr sz="1200" dirty="0"/>
            </a:lvl1pPr>
          </a:lstStyle>
          <a:p>
            <a:pPr>
              <a:defRPr/>
            </a:pPr>
            <a:endParaRPr lang="de-DE"/>
          </a:p>
        </p:txBody>
      </p:sp>
      <p:sp>
        <p:nvSpPr>
          <p:cNvPr id="23559" name="Rectangle 7"/>
          <p:cNvSpPr>
            <a:spLocks noGrp="1" noChangeArrowheads="1"/>
          </p:cNvSpPr>
          <p:nvPr>
            <p:ph type="sldNum" sz="quarter" idx="5"/>
          </p:nvPr>
        </p:nvSpPr>
        <p:spPr bwMode="auto">
          <a:xfrm>
            <a:off x="4022725" y="9720263"/>
            <a:ext cx="3074988" cy="512762"/>
          </a:xfrm>
          <a:prstGeom prst="rect">
            <a:avLst/>
          </a:prstGeom>
          <a:noFill/>
          <a:ln>
            <a:noFill/>
          </a:ln>
          <a:effectLst/>
          <a:extLst>
            <a:ext uri="{909E8E84-426E-40DD-AFC4-6F175D3DCCD1}"/>
            <a:ext uri="{91240B29-F687-4F45-9708-019B960494DF}"/>
            <a:ext uri="{AF507438-7753-43E0-B8FC-AC1667EBCBE1}"/>
          </a:extLst>
        </p:spPr>
        <p:txBody>
          <a:bodyPr vert="horz" wrap="square" lIns="96957" tIns="48478" rIns="96957" bIns="48478" numCol="1" anchor="b" anchorCtr="0" compatLnSpc="1">
            <a:prstTxWarp prst="textNoShape">
              <a:avLst/>
            </a:prstTxWarp>
          </a:bodyPr>
          <a:lstStyle>
            <a:lvl1pPr algn="r" defTabSz="969644">
              <a:defRPr sz="1200"/>
            </a:lvl1pPr>
          </a:lstStyle>
          <a:p>
            <a:pPr>
              <a:defRPr/>
            </a:pPr>
            <a:fld id="{0319C752-A6F7-4ABC-AB9C-6BFEBF7CB68A}" type="slidenum">
              <a:rPr lang="de-DE"/>
              <a:pPr>
                <a:defRPr/>
              </a:pPr>
              <a:t>‹#›</a:t>
            </a:fld>
            <a:endParaRPr lang="de-DE"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Rectangle 2"/>
          <p:cNvSpPr>
            <a:spLocks noGrp="1" noChangeArrowheads="1"/>
          </p:cNvSpPr>
          <p:nvPr>
            <p:ph type="sldNum" sz="quarter" idx="5"/>
          </p:nvPr>
        </p:nvSpPr>
        <p:spPr>
          <a:noFill/>
          <a:ln>
            <a:miter lim="800000"/>
            <a:headEnd/>
            <a:tailEnd/>
          </a:ln>
        </p:spPr>
        <p:txBody>
          <a:bodyPr/>
          <a:lstStyle/>
          <a:p>
            <a:pPr defTabSz="989013"/>
            <a:fld id="{849FD2ED-601E-489F-8223-53E3C81B0B36}" type="slidenum">
              <a:rPr lang="en-US" smtClean="0">
                <a:solidFill>
                  <a:schemeClr val="bg1"/>
                </a:solidFill>
              </a:rPr>
              <a:pPr defTabSz="989013"/>
              <a:t>1</a:t>
            </a:fld>
            <a:endParaRPr lang="en-US" smtClean="0">
              <a:solidFill>
                <a:schemeClr val="bg1"/>
              </a:solidFill>
            </a:endParaRPr>
          </a:p>
        </p:txBody>
      </p:sp>
      <p:sp>
        <p:nvSpPr>
          <p:cNvPr id="55298" name="Rectangle 2"/>
          <p:cNvSpPr>
            <a:spLocks noGrp="1" noRot="1" noChangeAspect="1" noChangeArrowheads="1" noTextEdit="1"/>
          </p:cNvSpPr>
          <p:nvPr>
            <p:ph type="sldImg"/>
          </p:nvPr>
        </p:nvSpPr>
        <p:spPr>
          <a:ln/>
        </p:spPr>
      </p:sp>
      <p:sp>
        <p:nvSpPr>
          <p:cNvPr id="55299" name="Rectangle 3"/>
          <p:cNvSpPr>
            <a:spLocks noGrp="1" noChangeArrowheads="1"/>
          </p:cNvSpPr>
          <p:nvPr>
            <p:ph type="body" idx="1"/>
          </p:nvPr>
        </p:nvSpPr>
        <p:spPr>
          <a:noFill/>
        </p:spPr>
        <p:txBody>
          <a:bodyPr/>
          <a:lstStyle/>
          <a:p>
            <a:pPr eaLnBrk="1" hangingPunct="1"/>
            <a:r>
              <a:rPr lang="de-DE" smtClean="0"/>
              <a:t>This program is to give Pest Management Professionals an update on pollinator safety issues pertaining to insecticide use and a review of EPA mandated label changes on neonicitinoid-containing products that will be implemented in January, 2014. </a:t>
            </a: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Slide Image Placeholder 1"/>
          <p:cNvSpPr>
            <a:spLocks noGrp="1" noRot="1" noChangeAspect="1"/>
          </p:cNvSpPr>
          <p:nvPr>
            <p:ph type="sldImg"/>
          </p:nvPr>
        </p:nvSpPr>
        <p:spPr>
          <a:ln/>
        </p:spPr>
      </p:sp>
      <p:sp>
        <p:nvSpPr>
          <p:cNvPr id="73730" name="Notes Placeholder 2"/>
          <p:cNvSpPr>
            <a:spLocks noGrp="1"/>
          </p:cNvSpPr>
          <p:nvPr>
            <p:ph type="body" idx="1"/>
          </p:nvPr>
        </p:nvSpPr>
        <p:spPr>
          <a:noFill/>
        </p:spPr>
        <p:txBody>
          <a:bodyPr/>
          <a:lstStyle/>
          <a:p>
            <a:pPr eaLnBrk="1" hangingPunct="1"/>
            <a:r>
              <a:rPr lang="en-US" smtClean="0"/>
              <a:t>Even with the USDA/EPA report there is political pressure based on activists’ efforts to ban NNIC chemistries. A significant threat to PMP’s is that proposed regulation and legislation is often ‘universal’ where products will affected even in non-agricultural uses (like urban pest management) where no exposure to honey bees would be expected. </a:t>
            </a:r>
          </a:p>
        </p:txBody>
      </p:sp>
      <p:sp>
        <p:nvSpPr>
          <p:cNvPr id="73731" name="Slide Number Placeholder 3"/>
          <p:cNvSpPr>
            <a:spLocks noGrp="1"/>
          </p:cNvSpPr>
          <p:nvPr>
            <p:ph type="sldNum" sz="quarter" idx="5"/>
          </p:nvPr>
        </p:nvSpPr>
        <p:spPr>
          <a:noFill/>
          <a:ln>
            <a:miter lim="800000"/>
            <a:headEnd/>
            <a:tailEnd/>
          </a:ln>
        </p:spPr>
        <p:txBody>
          <a:bodyPr/>
          <a:lstStyle/>
          <a:p>
            <a:pPr defTabSz="968375"/>
            <a:fld id="{800C08E1-9B49-4EEB-B13F-A0BC8182F7CD}" type="slidenum">
              <a:rPr lang="de-DE" smtClean="0"/>
              <a:pPr defTabSz="968375"/>
              <a:t>10</a:t>
            </a:fld>
            <a:endParaRPr lang="de-DE"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Slide Image Placeholder 1"/>
          <p:cNvSpPr>
            <a:spLocks noGrp="1" noRot="1" noChangeAspect="1"/>
          </p:cNvSpPr>
          <p:nvPr>
            <p:ph type="sldImg"/>
          </p:nvPr>
        </p:nvSpPr>
        <p:spPr>
          <a:ln/>
        </p:spPr>
      </p:sp>
      <p:sp>
        <p:nvSpPr>
          <p:cNvPr id="75778" name="Notes Placeholder 2"/>
          <p:cNvSpPr>
            <a:spLocks noGrp="1"/>
          </p:cNvSpPr>
          <p:nvPr>
            <p:ph type="body" idx="1"/>
          </p:nvPr>
        </p:nvSpPr>
        <p:spPr>
          <a:noFill/>
        </p:spPr>
        <p:txBody>
          <a:bodyPr/>
          <a:lstStyle/>
          <a:p>
            <a:pPr eaLnBrk="1" hangingPunct="1"/>
            <a:r>
              <a:rPr lang="en-US" smtClean="0"/>
              <a:t>More examples of political action taken (and supported by anti-pesticide organizations) against NNIC’s ignoring the scientific conclusions of contribution agencies. </a:t>
            </a:r>
          </a:p>
        </p:txBody>
      </p:sp>
      <p:sp>
        <p:nvSpPr>
          <p:cNvPr id="75779" name="Slide Number Placeholder 3"/>
          <p:cNvSpPr>
            <a:spLocks noGrp="1"/>
          </p:cNvSpPr>
          <p:nvPr>
            <p:ph type="sldNum" sz="quarter" idx="5"/>
          </p:nvPr>
        </p:nvSpPr>
        <p:spPr>
          <a:noFill/>
          <a:ln>
            <a:miter lim="800000"/>
            <a:headEnd/>
            <a:tailEnd/>
          </a:ln>
        </p:spPr>
        <p:txBody>
          <a:bodyPr/>
          <a:lstStyle/>
          <a:p>
            <a:pPr defTabSz="968375"/>
            <a:fld id="{FC76A927-5D72-433C-A25F-A8E6F29658D7}" type="slidenum">
              <a:rPr lang="de-DE" smtClean="0"/>
              <a:pPr defTabSz="968375"/>
              <a:t>11</a:t>
            </a:fld>
            <a:endParaRPr lang="de-DE"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Slide Image Placeholder 1"/>
          <p:cNvSpPr>
            <a:spLocks noGrp="1" noRot="1" noChangeAspect="1"/>
          </p:cNvSpPr>
          <p:nvPr>
            <p:ph type="sldImg"/>
          </p:nvPr>
        </p:nvSpPr>
        <p:spPr>
          <a:ln/>
        </p:spPr>
      </p:sp>
      <p:sp>
        <p:nvSpPr>
          <p:cNvPr id="77826" name="Notes Placeholder 2"/>
          <p:cNvSpPr>
            <a:spLocks noGrp="1"/>
          </p:cNvSpPr>
          <p:nvPr>
            <p:ph type="body" idx="1"/>
          </p:nvPr>
        </p:nvSpPr>
        <p:spPr>
          <a:noFill/>
        </p:spPr>
        <p:txBody>
          <a:bodyPr/>
          <a:lstStyle/>
          <a:p>
            <a:pPr eaLnBrk="1" hangingPunct="1"/>
            <a:r>
              <a:rPr lang="en-US" smtClean="0"/>
              <a:t>In June 2013 a highly-public incident involving a neonicotonoind application in Oregon resulted in a significant kill of bumblebees in full view of the public and the media. The application was in violation of the label language, however the media interpreted this as another example of the continuing man-made assault on bees. Activists were quick to join in. The result of this incident has been local short-term bans of products, and legislation to cancel product registrations both at state and federal level. </a:t>
            </a:r>
          </a:p>
        </p:txBody>
      </p:sp>
      <p:sp>
        <p:nvSpPr>
          <p:cNvPr id="77827" name="Slide Number Placeholder 3"/>
          <p:cNvSpPr>
            <a:spLocks noGrp="1"/>
          </p:cNvSpPr>
          <p:nvPr>
            <p:ph type="sldNum" sz="quarter" idx="5"/>
          </p:nvPr>
        </p:nvSpPr>
        <p:spPr>
          <a:noFill/>
          <a:ln>
            <a:miter lim="800000"/>
            <a:headEnd/>
            <a:tailEnd/>
          </a:ln>
        </p:spPr>
        <p:txBody>
          <a:bodyPr/>
          <a:lstStyle/>
          <a:p>
            <a:pPr defTabSz="968375"/>
            <a:fld id="{8F1352AD-3D1D-4365-8076-1BCA57AD5293}" type="slidenum">
              <a:rPr lang="de-DE" smtClean="0"/>
              <a:pPr defTabSz="968375"/>
              <a:t>12</a:t>
            </a:fld>
            <a:endParaRPr lang="de-DE"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3" name="Slide Image Placeholder 1"/>
          <p:cNvSpPr>
            <a:spLocks noGrp="1" noRot="1" noChangeAspect="1"/>
          </p:cNvSpPr>
          <p:nvPr>
            <p:ph type="sldImg"/>
          </p:nvPr>
        </p:nvSpPr>
        <p:spPr>
          <a:ln/>
        </p:spPr>
      </p:sp>
      <p:sp>
        <p:nvSpPr>
          <p:cNvPr id="79874" name="Notes Placeholder 2"/>
          <p:cNvSpPr>
            <a:spLocks noGrp="1"/>
          </p:cNvSpPr>
          <p:nvPr>
            <p:ph type="body" idx="1"/>
          </p:nvPr>
        </p:nvSpPr>
        <p:spPr>
          <a:noFill/>
        </p:spPr>
        <p:txBody>
          <a:bodyPr/>
          <a:lstStyle/>
          <a:p>
            <a:pPr eaLnBrk="1" hangingPunct="1"/>
            <a:r>
              <a:rPr lang="en-US" smtClean="0"/>
              <a:t>As a response to public pressure EPA has notified registrants that specific label language changes will be required to be added to specific NNIC products in 2014. The goal of this effort is to protect pollinators from exposure to these active ingredients. </a:t>
            </a:r>
          </a:p>
        </p:txBody>
      </p:sp>
      <p:sp>
        <p:nvSpPr>
          <p:cNvPr id="79875" name="Slide Number Placeholder 3"/>
          <p:cNvSpPr>
            <a:spLocks noGrp="1"/>
          </p:cNvSpPr>
          <p:nvPr>
            <p:ph type="sldNum" sz="quarter" idx="5"/>
          </p:nvPr>
        </p:nvSpPr>
        <p:spPr>
          <a:noFill/>
          <a:ln>
            <a:miter lim="800000"/>
            <a:headEnd/>
            <a:tailEnd/>
          </a:ln>
        </p:spPr>
        <p:txBody>
          <a:bodyPr/>
          <a:lstStyle/>
          <a:p>
            <a:pPr defTabSz="968375"/>
            <a:fld id="{B52D27B4-4C7D-460F-BB9D-3AD0DB13CF9B}" type="slidenum">
              <a:rPr lang="de-DE" smtClean="0"/>
              <a:pPr defTabSz="968375"/>
              <a:t>13</a:t>
            </a:fld>
            <a:endParaRPr lang="de-DE"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Slide Image Placeholder 1"/>
          <p:cNvSpPr>
            <a:spLocks noGrp="1" noRot="1" noChangeAspect="1"/>
          </p:cNvSpPr>
          <p:nvPr>
            <p:ph type="sldImg"/>
          </p:nvPr>
        </p:nvSpPr>
        <p:spPr>
          <a:ln/>
        </p:spPr>
      </p:sp>
      <p:sp>
        <p:nvSpPr>
          <p:cNvPr id="81922" name="Notes Placeholder 2"/>
          <p:cNvSpPr>
            <a:spLocks noGrp="1"/>
          </p:cNvSpPr>
          <p:nvPr>
            <p:ph type="body" idx="1"/>
          </p:nvPr>
        </p:nvSpPr>
        <p:spPr>
          <a:noFill/>
        </p:spPr>
        <p:txBody>
          <a:bodyPr/>
          <a:lstStyle/>
          <a:p>
            <a:pPr eaLnBrk="1" hangingPunct="1"/>
            <a:r>
              <a:rPr lang="en-US" smtClean="0"/>
              <a:t>Details on the NNIC label changes as formulated by EPA. </a:t>
            </a:r>
          </a:p>
        </p:txBody>
      </p:sp>
      <p:sp>
        <p:nvSpPr>
          <p:cNvPr id="81923" name="Slide Number Placeholder 3"/>
          <p:cNvSpPr>
            <a:spLocks noGrp="1"/>
          </p:cNvSpPr>
          <p:nvPr>
            <p:ph type="sldNum" sz="quarter" idx="5"/>
          </p:nvPr>
        </p:nvSpPr>
        <p:spPr>
          <a:noFill/>
          <a:ln>
            <a:miter lim="800000"/>
            <a:headEnd/>
            <a:tailEnd/>
          </a:ln>
        </p:spPr>
        <p:txBody>
          <a:bodyPr/>
          <a:lstStyle/>
          <a:p>
            <a:pPr defTabSz="968375"/>
            <a:fld id="{78DE9A61-2FD5-44BB-A2FF-336A1AD6D40F}" type="slidenum">
              <a:rPr lang="de-DE" smtClean="0"/>
              <a:pPr defTabSz="968375"/>
              <a:t>14</a:t>
            </a:fld>
            <a:endParaRPr lang="de-DE" smtClean="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69" name="Slide Image Placeholder 1"/>
          <p:cNvSpPr>
            <a:spLocks noGrp="1" noRot="1" noChangeAspect="1"/>
          </p:cNvSpPr>
          <p:nvPr>
            <p:ph type="sldImg"/>
          </p:nvPr>
        </p:nvSpPr>
        <p:spPr>
          <a:ln/>
        </p:spPr>
      </p:sp>
      <p:sp>
        <p:nvSpPr>
          <p:cNvPr id="83970" name="Notes Placeholder 2"/>
          <p:cNvSpPr>
            <a:spLocks noGrp="1"/>
          </p:cNvSpPr>
          <p:nvPr>
            <p:ph type="body" idx="1"/>
          </p:nvPr>
        </p:nvSpPr>
        <p:spPr>
          <a:noFill/>
        </p:spPr>
        <p:txBody>
          <a:bodyPr/>
          <a:lstStyle/>
          <a:p>
            <a:pPr eaLnBrk="1" hangingPunct="1"/>
            <a:r>
              <a:rPr lang="en-US" smtClean="0"/>
              <a:t>Specific changes: A ‘Pollinator Protection Box’ section will be required on all subject labels. The box must use the above ‘bee icon’ in the basic protection box and everywhere use directions MAY cause bees to be exposed to the application. Registrants had to submit amended labels by September 30, 2013. Enforcement will begin in January, 2014. </a:t>
            </a:r>
          </a:p>
        </p:txBody>
      </p:sp>
      <p:sp>
        <p:nvSpPr>
          <p:cNvPr id="83971" name="Slide Number Placeholder 3"/>
          <p:cNvSpPr>
            <a:spLocks noGrp="1"/>
          </p:cNvSpPr>
          <p:nvPr>
            <p:ph type="sldNum" sz="quarter" idx="5"/>
          </p:nvPr>
        </p:nvSpPr>
        <p:spPr>
          <a:noFill/>
          <a:ln>
            <a:miter lim="800000"/>
            <a:headEnd/>
            <a:tailEnd/>
          </a:ln>
        </p:spPr>
        <p:txBody>
          <a:bodyPr/>
          <a:lstStyle/>
          <a:p>
            <a:pPr defTabSz="968375"/>
            <a:fld id="{CB991984-D999-4C4A-84F3-ED319317CF1A}" type="slidenum">
              <a:rPr lang="de-DE" smtClean="0"/>
              <a:pPr defTabSz="968375"/>
              <a:t>15</a:t>
            </a:fld>
            <a:endParaRPr lang="de-DE" smtClean="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7" name="Slide Image Placeholder 1"/>
          <p:cNvSpPr>
            <a:spLocks noGrp="1" noRot="1" noChangeAspect="1"/>
          </p:cNvSpPr>
          <p:nvPr>
            <p:ph type="sldImg"/>
          </p:nvPr>
        </p:nvSpPr>
        <p:spPr>
          <a:ln/>
        </p:spPr>
      </p:sp>
      <p:sp>
        <p:nvSpPr>
          <p:cNvPr id="86018" name="Notes Placeholder 2"/>
          <p:cNvSpPr>
            <a:spLocks noGrp="1"/>
          </p:cNvSpPr>
          <p:nvPr>
            <p:ph type="body" idx="1"/>
          </p:nvPr>
        </p:nvSpPr>
        <p:spPr>
          <a:noFill/>
        </p:spPr>
        <p:txBody>
          <a:bodyPr/>
          <a:lstStyle/>
          <a:p>
            <a:pPr eaLnBrk="1" hangingPunct="1"/>
            <a:r>
              <a:rPr lang="en-US" smtClean="0"/>
              <a:t>Example of the Pollinator Advisory Box, with Icons and details on further label requirements. </a:t>
            </a:r>
          </a:p>
        </p:txBody>
      </p:sp>
      <p:sp>
        <p:nvSpPr>
          <p:cNvPr id="86019" name="Slide Number Placeholder 3"/>
          <p:cNvSpPr>
            <a:spLocks noGrp="1"/>
          </p:cNvSpPr>
          <p:nvPr>
            <p:ph type="sldNum" sz="quarter" idx="5"/>
          </p:nvPr>
        </p:nvSpPr>
        <p:spPr>
          <a:noFill/>
          <a:ln>
            <a:miter lim="800000"/>
            <a:headEnd/>
            <a:tailEnd/>
          </a:ln>
        </p:spPr>
        <p:txBody>
          <a:bodyPr/>
          <a:lstStyle/>
          <a:p>
            <a:pPr defTabSz="968375"/>
            <a:fld id="{46C0EA2A-A6D7-422A-81AA-51E281009E18}" type="slidenum">
              <a:rPr lang="de-DE" smtClean="0"/>
              <a:pPr defTabSz="968375"/>
              <a:t>16</a:t>
            </a:fld>
            <a:endParaRPr lang="de-DE" smtClean="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5" name="Slide Image Placeholder 1"/>
          <p:cNvSpPr>
            <a:spLocks noGrp="1" noRot="1" noChangeAspect="1"/>
          </p:cNvSpPr>
          <p:nvPr>
            <p:ph type="sldImg"/>
          </p:nvPr>
        </p:nvSpPr>
        <p:spPr>
          <a:ln/>
        </p:spPr>
      </p:sp>
      <p:sp>
        <p:nvSpPr>
          <p:cNvPr id="88066" name="Notes Placeholder 2"/>
          <p:cNvSpPr>
            <a:spLocks noGrp="1"/>
          </p:cNvSpPr>
          <p:nvPr>
            <p:ph type="body" idx="1"/>
          </p:nvPr>
        </p:nvSpPr>
        <p:spPr>
          <a:noFill/>
        </p:spPr>
        <p:txBody>
          <a:bodyPr/>
          <a:lstStyle/>
          <a:p>
            <a:pPr eaLnBrk="1" hangingPunct="1"/>
            <a:r>
              <a:rPr lang="en-US" smtClean="0"/>
              <a:t>For PMP’s these changes will impact use patterns for products containing the NNIC’s: imidacloprid, dinotefuran, and thiomethoxam in OUTDOOR uses. Restrictions for application on the foliage of plantings will be specific. The bee icon will appear on labels in the protection box AND in the label language where risk of exposure to bees is possible. </a:t>
            </a:r>
          </a:p>
        </p:txBody>
      </p:sp>
      <p:sp>
        <p:nvSpPr>
          <p:cNvPr id="88067" name="Slide Number Placeholder 3"/>
          <p:cNvSpPr>
            <a:spLocks noGrp="1"/>
          </p:cNvSpPr>
          <p:nvPr>
            <p:ph type="sldNum" sz="quarter" idx="5"/>
          </p:nvPr>
        </p:nvSpPr>
        <p:spPr>
          <a:noFill/>
          <a:ln>
            <a:miter lim="800000"/>
            <a:headEnd/>
            <a:tailEnd/>
          </a:ln>
        </p:spPr>
        <p:txBody>
          <a:bodyPr/>
          <a:lstStyle/>
          <a:p>
            <a:pPr defTabSz="968375"/>
            <a:fld id="{5D123644-18B4-475D-AB69-2182617FED5B}" type="slidenum">
              <a:rPr lang="de-DE" smtClean="0"/>
              <a:pPr defTabSz="968375"/>
              <a:t>17</a:t>
            </a:fld>
            <a:endParaRPr lang="de-DE" smtClean="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3" name="Slide Image Placeholder 1"/>
          <p:cNvSpPr>
            <a:spLocks noGrp="1" noRot="1" noChangeAspect="1"/>
          </p:cNvSpPr>
          <p:nvPr>
            <p:ph type="sldImg"/>
          </p:nvPr>
        </p:nvSpPr>
        <p:spPr>
          <a:ln/>
        </p:spPr>
      </p:sp>
      <p:sp>
        <p:nvSpPr>
          <p:cNvPr id="90114" name="Notes Placeholder 2"/>
          <p:cNvSpPr>
            <a:spLocks noGrp="1"/>
          </p:cNvSpPr>
          <p:nvPr>
            <p:ph type="body" idx="1"/>
          </p:nvPr>
        </p:nvSpPr>
        <p:spPr>
          <a:noFill/>
        </p:spPr>
        <p:txBody>
          <a:bodyPr/>
          <a:lstStyle/>
          <a:p>
            <a:pPr eaLnBrk="1" hangingPunct="1"/>
            <a:r>
              <a:rPr lang="en-US" smtClean="0"/>
              <a:t>Remember that basic toxicity does not equal the risk to non-targets. Risk is defined as the inherent hazard of a product (measured by the toxicity) combined with the amount of exposure that occurs to the product. If a sensitive population (non-targets, like honey bees) are not expected to be exposed, or the exposure can be reduced or eliminated, the risk to damage to that population is negligible. </a:t>
            </a:r>
          </a:p>
        </p:txBody>
      </p:sp>
      <p:sp>
        <p:nvSpPr>
          <p:cNvPr id="90115" name="Slide Number Placeholder 3"/>
          <p:cNvSpPr>
            <a:spLocks noGrp="1"/>
          </p:cNvSpPr>
          <p:nvPr>
            <p:ph type="sldNum" sz="quarter" idx="5"/>
          </p:nvPr>
        </p:nvSpPr>
        <p:spPr>
          <a:noFill/>
          <a:ln>
            <a:miter lim="800000"/>
            <a:headEnd/>
            <a:tailEnd/>
          </a:ln>
        </p:spPr>
        <p:txBody>
          <a:bodyPr/>
          <a:lstStyle/>
          <a:p>
            <a:pPr defTabSz="968375"/>
            <a:fld id="{352EF75C-505C-4BAC-AF18-5EADEC1AD1CD}" type="slidenum">
              <a:rPr lang="de-DE" smtClean="0"/>
              <a:pPr defTabSz="968375"/>
              <a:t>18</a:t>
            </a:fld>
            <a:endParaRPr lang="de-DE"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1" name="Slide Image Placeholder 1"/>
          <p:cNvSpPr>
            <a:spLocks noGrp="1" noRot="1" noChangeAspect="1"/>
          </p:cNvSpPr>
          <p:nvPr>
            <p:ph type="sldImg"/>
          </p:nvPr>
        </p:nvSpPr>
        <p:spPr>
          <a:ln/>
        </p:spPr>
      </p:sp>
      <p:sp>
        <p:nvSpPr>
          <p:cNvPr id="92162" name="Notes Placeholder 2"/>
          <p:cNvSpPr>
            <a:spLocks noGrp="1"/>
          </p:cNvSpPr>
          <p:nvPr>
            <p:ph type="body" idx="1"/>
          </p:nvPr>
        </p:nvSpPr>
        <p:spPr>
          <a:noFill/>
        </p:spPr>
        <p:txBody>
          <a:bodyPr/>
          <a:lstStyle/>
          <a:p>
            <a:pPr eaLnBrk="1" hangingPunct="1"/>
            <a:r>
              <a:rPr lang="en-US" smtClean="0"/>
              <a:t>Examples of contributions that NNIC insecticides make to non-agricultural pest management in urban environments. </a:t>
            </a:r>
          </a:p>
        </p:txBody>
      </p:sp>
      <p:sp>
        <p:nvSpPr>
          <p:cNvPr id="92163" name="Slide Number Placeholder 3"/>
          <p:cNvSpPr>
            <a:spLocks noGrp="1"/>
          </p:cNvSpPr>
          <p:nvPr>
            <p:ph type="sldNum" sz="quarter" idx="5"/>
          </p:nvPr>
        </p:nvSpPr>
        <p:spPr>
          <a:noFill/>
          <a:ln>
            <a:miter lim="800000"/>
            <a:headEnd/>
            <a:tailEnd/>
          </a:ln>
        </p:spPr>
        <p:txBody>
          <a:bodyPr/>
          <a:lstStyle/>
          <a:p>
            <a:pPr defTabSz="968375"/>
            <a:fld id="{99E72C0D-FA9C-483F-AC90-15497DF491F7}" type="slidenum">
              <a:rPr lang="de-DE" smtClean="0"/>
              <a:pPr defTabSz="968375"/>
              <a:t>19</a:t>
            </a:fld>
            <a:endParaRPr lang="de-DE"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5" name="Slide Image Placeholder 1"/>
          <p:cNvSpPr>
            <a:spLocks noGrp="1" noRot="1" noChangeAspect="1"/>
          </p:cNvSpPr>
          <p:nvPr>
            <p:ph type="sldImg"/>
          </p:nvPr>
        </p:nvSpPr>
        <p:spPr>
          <a:ln/>
        </p:spPr>
      </p:sp>
      <p:sp>
        <p:nvSpPr>
          <p:cNvPr id="57346" name="Notes Placeholder 2"/>
          <p:cNvSpPr>
            <a:spLocks noGrp="1"/>
          </p:cNvSpPr>
          <p:nvPr>
            <p:ph type="body" idx="1"/>
          </p:nvPr>
        </p:nvSpPr>
        <p:spPr>
          <a:noFill/>
        </p:spPr>
        <p:txBody>
          <a:bodyPr/>
          <a:lstStyle/>
          <a:p>
            <a:pPr eaLnBrk="1" hangingPunct="1"/>
            <a:r>
              <a:rPr lang="en-US" smtClean="0"/>
              <a:t>The average person typically has a negative perception of insects; some even having a deep seated fear of them. However, in general terms honey bees are held in a positive light. In fact the representation of honey bees to the public is typically mis-represented as to the reality of their biology and behavior. However, honey bees do hold status as beneficial insects as the result of their contributions in agriculture and nature as pollinators. Also, man benefits from the activities of honey bees directly from harvesting the honey, wax and bee pollen that honey bee colonies produce. However, honey bees are not ‘wild’ insects. Honey bees are not native to the United States; being imported onto the continent in the 1600’s and since have become a domesticated agricultural resource. </a:t>
            </a:r>
          </a:p>
        </p:txBody>
      </p:sp>
      <p:sp>
        <p:nvSpPr>
          <p:cNvPr id="57347" name="Slide Number Placeholder 3"/>
          <p:cNvSpPr>
            <a:spLocks noGrp="1"/>
          </p:cNvSpPr>
          <p:nvPr>
            <p:ph type="sldNum" sz="quarter" idx="5"/>
          </p:nvPr>
        </p:nvSpPr>
        <p:spPr>
          <a:noFill/>
          <a:ln>
            <a:miter lim="800000"/>
            <a:headEnd/>
            <a:tailEnd/>
          </a:ln>
        </p:spPr>
        <p:txBody>
          <a:bodyPr/>
          <a:lstStyle/>
          <a:p>
            <a:pPr defTabSz="968375"/>
            <a:fld id="{EAA191EC-BB48-4442-9D2C-249474E46E99}" type="slidenum">
              <a:rPr lang="de-DE" smtClean="0"/>
              <a:pPr defTabSz="968375"/>
              <a:t>2</a:t>
            </a:fld>
            <a:endParaRPr lang="de-DE"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09" name="Slide Image Placeholder 1"/>
          <p:cNvSpPr>
            <a:spLocks noGrp="1" noRot="1" noChangeAspect="1"/>
          </p:cNvSpPr>
          <p:nvPr>
            <p:ph type="sldImg"/>
          </p:nvPr>
        </p:nvSpPr>
        <p:spPr>
          <a:ln/>
        </p:spPr>
      </p:sp>
      <p:sp>
        <p:nvSpPr>
          <p:cNvPr id="94210" name="Notes Placeholder 2"/>
          <p:cNvSpPr>
            <a:spLocks noGrp="1"/>
          </p:cNvSpPr>
          <p:nvPr>
            <p:ph type="body" idx="1"/>
          </p:nvPr>
        </p:nvSpPr>
        <p:spPr>
          <a:noFill/>
        </p:spPr>
        <p:txBody>
          <a:bodyPr/>
          <a:lstStyle/>
          <a:p>
            <a:pPr eaLnBrk="1" hangingPunct="1"/>
            <a:r>
              <a:rPr lang="en-US" smtClean="0"/>
              <a:t>More Examples of contributions that NNIC insecticides make to non-agricultural pest management in urban environments, specific to structural pest management and professional lawn care. </a:t>
            </a:r>
          </a:p>
          <a:p>
            <a:pPr eaLnBrk="1" hangingPunct="1"/>
            <a:endParaRPr lang="en-US" smtClean="0"/>
          </a:p>
        </p:txBody>
      </p:sp>
      <p:sp>
        <p:nvSpPr>
          <p:cNvPr id="94211" name="Slide Number Placeholder 3"/>
          <p:cNvSpPr>
            <a:spLocks noGrp="1"/>
          </p:cNvSpPr>
          <p:nvPr>
            <p:ph type="sldNum" sz="quarter" idx="5"/>
          </p:nvPr>
        </p:nvSpPr>
        <p:spPr>
          <a:noFill/>
          <a:ln>
            <a:miter lim="800000"/>
            <a:headEnd/>
            <a:tailEnd/>
          </a:ln>
        </p:spPr>
        <p:txBody>
          <a:bodyPr/>
          <a:lstStyle/>
          <a:p>
            <a:pPr defTabSz="968375"/>
            <a:fld id="{707DEB6A-56CE-4B29-B08D-B642B388BB33}" type="slidenum">
              <a:rPr lang="de-DE" smtClean="0"/>
              <a:pPr defTabSz="968375"/>
              <a:t>20</a:t>
            </a:fld>
            <a:endParaRPr lang="de-DE" smtClean="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7" name="Slide Image Placeholder 1"/>
          <p:cNvSpPr>
            <a:spLocks noGrp="1" noRot="1" noChangeAspect="1" noTextEdit="1"/>
          </p:cNvSpPr>
          <p:nvPr>
            <p:ph type="sldImg"/>
          </p:nvPr>
        </p:nvSpPr>
        <p:spPr>
          <a:ln/>
        </p:spPr>
      </p:sp>
      <p:sp>
        <p:nvSpPr>
          <p:cNvPr id="96258" name="Notes Placeholder 2"/>
          <p:cNvSpPr>
            <a:spLocks noGrp="1"/>
          </p:cNvSpPr>
          <p:nvPr>
            <p:ph type="body" idx="1"/>
          </p:nvPr>
        </p:nvSpPr>
        <p:spPr>
          <a:noFill/>
        </p:spPr>
        <p:txBody>
          <a:bodyPr/>
          <a:lstStyle/>
          <a:p>
            <a:pPr eaLnBrk="1" hangingPunct="1"/>
            <a:r>
              <a:rPr lang="en-US" smtClean="0">
                <a:ea typeface="ヒラギノ角ゴ Pro W3"/>
                <a:cs typeface="ヒラギノ角ゴ Pro W3"/>
              </a:rPr>
              <a:t>Understanding Risk is a key component on applicator contribution to reducing risk to honey bee exposure to ALL insecticides. Review and compliance of all label directions is the best method of complying with regulation and being responsible to environmental stewardship and pollinator protection. </a:t>
            </a:r>
          </a:p>
        </p:txBody>
      </p:sp>
      <p:sp>
        <p:nvSpPr>
          <p:cNvPr id="96259" name="Slide Number Placeholder 3"/>
          <p:cNvSpPr>
            <a:spLocks noGrp="1"/>
          </p:cNvSpPr>
          <p:nvPr>
            <p:ph type="sldNum" sz="quarter" idx="5"/>
          </p:nvPr>
        </p:nvSpPr>
        <p:spPr>
          <a:noFill/>
          <a:ln>
            <a:miter lim="800000"/>
            <a:headEnd/>
            <a:tailEnd/>
          </a:ln>
        </p:spPr>
        <p:txBody>
          <a:bodyPr/>
          <a:lstStyle/>
          <a:p>
            <a:pPr defTabSz="996950"/>
            <a:fld id="{488F0FEB-4F83-4660-B0A6-483B10E23D89}" type="slidenum">
              <a:rPr lang="de-DE" sz="1300" smtClean="0">
                <a:solidFill>
                  <a:srgbClr val="000000"/>
                </a:solidFill>
                <a:ea typeface="ヒラギノ角ゴ Pro W3"/>
                <a:cs typeface="ヒラギノ角ゴ Pro W3"/>
              </a:rPr>
              <a:pPr defTabSz="996950"/>
              <a:t>21</a:t>
            </a:fld>
            <a:endParaRPr lang="de-DE" sz="1300" smtClean="0">
              <a:solidFill>
                <a:srgbClr val="000000"/>
              </a:solidFill>
              <a:ea typeface="ヒラギノ角ゴ Pro W3"/>
              <a:cs typeface="ヒラギノ角ゴ Pro W3"/>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Slide Image Placeholder 1"/>
          <p:cNvSpPr>
            <a:spLocks noGrp="1" noRot="1" noChangeAspect="1" noTextEdit="1"/>
          </p:cNvSpPr>
          <p:nvPr>
            <p:ph type="sldImg"/>
          </p:nvPr>
        </p:nvSpPr>
        <p:spPr>
          <a:ln/>
        </p:spPr>
      </p:sp>
      <p:sp>
        <p:nvSpPr>
          <p:cNvPr id="98306" name="Notes Placeholder 2"/>
          <p:cNvSpPr>
            <a:spLocks noGrp="1"/>
          </p:cNvSpPr>
          <p:nvPr>
            <p:ph type="body" idx="1"/>
          </p:nvPr>
        </p:nvSpPr>
        <p:spPr>
          <a:noFill/>
        </p:spPr>
        <p:txBody>
          <a:bodyPr/>
          <a:lstStyle/>
          <a:p>
            <a:pPr eaLnBrk="1" hangingPunct="1"/>
            <a:r>
              <a:rPr lang="en-US" smtClean="0">
                <a:ea typeface="ヒラギノ角ゴ Pro W3"/>
                <a:cs typeface="ヒラギノ角ゴ Pro W3"/>
              </a:rPr>
              <a:t>Specific recommendations to reduce pollinator exposure risks. </a:t>
            </a:r>
          </a:p>
        </p:txBody>
      </p:sp>
      <p:sp>
        <p:nvSpPr>
          <p:cNvPr id="98307" name="Slide Number Placeholder 3"/>
          <p:cNvSpPr>
            <a:spLocks noGrp="1"/>
          </p:cNvSpPr>
          <p:nvPr>
            <p:ph type="sldNum" sz="quarter" idx="5"/>
          </p:nvPr>
        </p:nvSpPr>
        <p:spPr>
          <a:noFill/>
          <a:ln>
            <a:miter lim="800000"/>
            <a:headEnd/>
            <a:tailEnd/>
          </a:ln>
        </p:spPr>
        <p:txBody>
          <a:bodyPr/>
          <a:lstStyle/>
          <a:p>
            <a:pPr defTabSz="996950"/>
            <a:fld id="{FD166047-FAB1-4D99-98A6-89E42EA7BEDA}" type="slidenum">
              <a:rPr lang="de-DE" sz="1300" smtClean="0">
                <a:solidFill>
                  <a:srgbClr val="000000"/>
                </a:solidFill>
                <a:ea typeface="ヒラギノ角ゴ Pro W3"/>
                <a:cs typeface="ヒラギノ角ゴ Pro W3"/>
              </a:rPr>
              <a:pPr defTabSz="996950"/>
              <a:t>22</a:t>
            </a:fld>
            <a:endParaRPr lang="de-DE" sz="1300" smtClean="0">
              <a:solidFill>
                <a:srgbClr val="000000"/>
              </a:solidFill>
              <a:ea typeface="ヒラギノ角ゴ Pro W3"/>
              <a:cs typeface="ヒラギノ角ゴ Pro W3"/>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Slide Image Placeholder 1"/>
          <p:cNvSpPr>
            <a:spLocks noGrp="1" noRot="1" noChangeAspect="1" noTextEdit="1"/>
          </p:cNvSpPr>
          <p:nvPr>
            <p:ph type="sldImg"/>
          </p:nvPr>
        </p:nvSpPr>
        <p:spPr>
          <a:ln/>
        </p:spPr>
      </p:sp>
      <p:sp>
        <p:nvSpPr>
          <p:cNvPr id="100354" name="Notes Placeholder 2"/>
          <p:cNvSpPr>
            <a:spLocks noGrp="1"/>
          </p:cNvSpPr>
          <p:nvPr>
            <p:ph type="body" idx="1"/>
          </p:nvPr>
        </p:nvSpPr>
        <p:spPr>
          <a:noFill/>
        </p:spPr>
        <p:txBody>
          <a:bodyPr/>
          <a:lstStyle/>
          <a:p>
            <a:pPr eaLnBrk="1" hangingPunct="1"/>
            <a:r>
              <a:rPr lang="en-US" smtClean="0">
                <a:ea typeface="ヒラギノ角ゴ Pro W3"/>
                <a:cs typeface="ヒラギノ角ゴ Pro W3"/>
              </a:rPr>
              <a:t>Suggestions for PMP’s on how to respond to this issue when addressed from the public. </a:t>
            </a:r>
          </a:p>
        </p:txBody>
      </p:sp>
      <p:sp>
        <p:nvSpPr>
          <p:cNvPr id="100355" name="Slide Number Placeholder 3"/>
          <p:cNvSpPr>
            <a:spLocks noGrp="1"/>
          </p:cNvSpPr>
          <p:nvPr>
            <p:ph type="sldNum" sz="quarter" idx="5"/>
          </p:nvPr>
        </p:nvSpPr>
        <p:spPr>
          <a:noFill/>
          <a:ln>
            <a:miter lim="800000"/>
            <a:headEnd/>
            <a:tailEnd/>
          </a:ln>
        </p:spPr>
        <p:txBody>
          <a:bodyPr/>
          <a:lstStyle/>
          <a:p>
            <a:pPr defTabSz="996950"/>
            <a:fld id="{5CA8F680-F2AA-4E11-A319-E3D0954376E1}" type="slidenum">
              <a:rPr lang="de-DE" sz="1300" smtClean="0">
                <a:solidFill>
                  <a:srgbClr val="000000"/>
                </a:solidFill>
                <a:ea typeface="ヒラギノ角ゴ Pro W3"/>
                <a:cs typeface="ヒラギノ角ゴ Pro W3"/>
              </a:rPr>
              <a:pPr defTabSz="996950"/>
              <a:t>23</a:t>
            </a:fld>
            <a:endParaRPr lang="de-DE" sz="1300" smtClean="0">
              <a:solidFill>
                <a:srgbClr val="000000"/>
              </a:solidFill>
              <a:ea typeface="ヒラギノ角ゴ Pro W3"/>
              <a:cs typeface="ヒラギノ角ゴ Pro W3"/>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1" name="Rectangle 2"/>
          <p:cNvSpPr>
            <a:spLocks noGrp="1" noRot="1" noChangeAspect="1" noTextEdit="1"/>
          </p:cNvSpPr>
          <p:nvPr>
            <p:ph type="sldImg"/>
          </p:nvPr>
        </p:nvSpPr>
        <p:spPr>
          <a:ln/>
        </p:spPr>
      </p:sp>
      <p:sp>
        <p:nvSpPr>
          <p:cNvPr id="102402" name="Rectangle 3"/>
          <p:cNvSpPr>
            <a:spLocks noGrp="1"/>
          </p:cNvSpPr>
          <p:nvPr>
            <p:ph type="body" idx="1"/>
          </p:nvPr>
        </p:nvSpPr>
        <p:spPr>
          <a:xfrm>
            <a:off x="711200" y="4862513"/>
            <a:ext cx="5676900" cy="4603750"/>
          </a:xfrm>
          <a:noFill/>
        </p:spPr>
        <p:txBody>
          <a:bodyPr/>
          <a:lstStyle/>
          <a:p>
            <a:pPr eaLnBrk="1" hangingPunct="1"/>
            <a:r>
              <a:rPr lang="en-US" smtClean="0">
                <a:ea typeface="ＭＳ Ｐゴシック"/>
                <a:cs typeface="ＭＳ Ｐゴシック"/>
              </a:rPr>
              <a:t>Bayer takes pollinator health seriously. Bayer has been involved with bee health efforts for over 25 years, innovating and marketing honey bee health products and researching proper stewardship for our crop protection technologies. </a:t>
            </a: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49" name="Slide Image Placeholder 1"/>
          <p:cNvSpPr>
            <a:spLocks noGrp="1" noRot="1" noChangeAspect="1"/>
          </p:cNvSpPr>
          <p:nvPr>
            <p:ph type="sldImg"/>
          </p:nvPr>
        </p:nvSpPr>
        <p:spPr>
          <a:ln/>
        </p:spPr>
      </p:sp>
      <p:sp>
        <p:nvSpPr>
          <p:cNvPr id="104450" name="Notes Placeholder 2"/>
          <p:cNvSpPr>
            <a:spLocks noGrp="1"/>
          </p:cNvSpPr>
          <p:nvPr>
            <p:ph type="body" idx="1"/>
          </p:nvPr>
        </p:nvSpPr>
        <p:spPr>
          <a:noFill/>
        </p:spPr>
        <p:txBody>
          <a:bodyPr/>
          <a:lstStyle/>
          <a:p>
            <a:pPr eaLnBrk="1" hangingPunct="1"/>
            <a:r>
              <a:rPr lang="en-US" smtClean="0"/>
              <a:t>Bayer has broken-ground on the construction to a dedicated Bee Health Care Center in North Carolina. This center will be a research and education center for honey bee health opening in 2014. </a:t>
            </a:r>
          </a:p>
        </p:txBody>
      </p:sp>
      <p:sp>
        <p:nvSpPr>
          <p:cNvPr id="104451" name="Slide Number Placeholder 3"/>
          <p:cNvSpPr>
            <a:spLocks noGrp="1"/>
          </p:cNvSpPr>
          <p:nvPr>
            <p:ph type="sldNum" sz="quarter" idx="5"/>
          </p:nvPr>
        </p:nvSpPr>
        <p:spPr>
          <a:noFill/>
          <a:ln>
            <a:miter lim="800000"/>
            <a:headEnd/>
            <a:tailEnd/>
          </a:ln>
        </p:spPr>
        <p:txBody>
          <a:bodyPr/>
          <a:lstStyle/>
          <a:p>
            <a:pPr defTabSz="968375"/>
            <a:fld id="{BC31BB6A-8186-4A7B-BD44-A90E44AB2592}" type="slidenum">
              <a:rPr lang="de-DE" smtClean="0"/>
              <a:pPr defTabSz="968375"/>
              <a:t>25</a:t>
            </a:fld>
            <a:endParaRPr lang="de-DE"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3" name="Slide Image Placeholder 1"/>
          <p:cNvSpPr>
            <a:spLocks noGrp="1" noRot="1" noChangeAspect="1"/>
          </p:cNvSpPr>
          <p:nvPr>
            <p:ph type="sldImg"/>
          </p:nvPr>
        </p:nvSpPr>
        <p:spPr>
          <a:ln/>
        </p:spPr>
      </p:sp>
      <p:sp>
        <p:nvSpPr>
          <p:cNvPr id="59394" name="Notes Placeholder 2"/>
          <p:cNvSpPr>
            <a:spLocks noGrp="1"/>
          </p:cNvSpPr>
          <p:nvPr>
            <p:ph type="body" idx="1"/>
          </p:nvPr>
        </p:nvSpPr>
        <p:spPr>
          <a:noFill/>
        </p:spPr>
        <p:txBody>
          <a:bodyPr/>
          <a:lstStyle/>
          <a:p>
            <a:pPr eaLnBrk="1" hangingPunct="1"/>
            <a:r>
              <a:rPr lang="en-US" smtClean="0"/>
              <a:t>A review of the roles and value provided by insects, and specifically the honey bee, to agriculture, globally.</a:t>
            </a:r>
          </a:p>
        </p:txBody>
      </p:sp>
      <p:sp>
        <p:nvSpPr>
          <p:cNvPr id="59395" name="Slide Number Placeholder 3"/>
          <p:cNvSpPr>
            <a:spLocks noGrp="1"/>
          </p:cNvSpPr>
          <p:nvPr>
            <p:ph type="sldNum" sz="quarter" idx="5"/>
          </p:nvPr>
        </p:nvSpPr>
        <p:spPr>
          <a:noFill/>
          <a:ln>
            <a:miter lim="800000"/>
            <a:headEnd/>
            <a:tailEnd/>
          </a:ln>
        </p:spPr>
        <p:txBody>
          <a:bodyPr/>
          <a:lstStyle/>
          <a:p>
            <a:pPr defTabSz="968375"/>
            <a:fld id="{1FA0594E-75DE-46E7-A33E-FA9FDAC022D1}" type="slidenum">
              <a:rPr lang="de-DE" smtClean="0"/>
              <a:pPr defTabSz="968375"/>
              <a:t>3</a:t>
            </a:fld>
            <a:endParaRPr lang="de-DE"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p:cNvSpPr>
          <p:nvPr>
            <p:ph type="sldImg"/>
          </p:nvPr>
        </p:nvSpPr>
        <p:spPr>
          <a:ln/>
        </p:spPr>
      </p:sp>
      <p:sp>
        <p:nvSpPr>
          <p:cNvPr id="61442" name="Notes Placeholder 2"/>
          <p:cNvSpPr>
            <a:spLocks noGrp="1"/>
          </p:cNvSpPr>
          <p:nvPr>
            <p:ph type="body" idx="1"/>
          </p:nvPr>
        </p:nvSpPr>
        <p:spPr>
          <a:noFill/>
        </p:spPr>
        <p:txBody>
          <a:bodyPr/>
          <a:lstStyle/>
          <a:p>
            <a:pPr eaLnBrk="1" hangingPunct="1"/>
            <a:r>
              <a:rPr lang="en-US" smtClean="0"/>
              <a:t>Current review of honey bee health: overwintering losses have been rising over the past few years. These losses seriously impact the ability to restore managed hives to full capacity during the following season. There are exceptions to these occurrences in other parts of the world (Australia and South America) where the parasitic </a:t>
            </a:r>
            <a:r>
              <a:rPr lang="en-US" i="1" smtClean="0"/>
              <a:t>Varroa </a:t>
            </a:r>
            <a:r>
              <a:rPr lang="en-US" smtClean="0"/>
              <a:t>mite is not present or resident strains of bees are resistant to the mite. </a:t>
            </a:r>
          </a:p>
        </p:txBody>
      </p:sp>
      <p:sp>
        <p:nvSpPr>
          <p:cNvPr id="61443" name="Slide Number Placeholder 3"/>
          <p:cNvSpPr>
            <a:spLocks noGrp="1"/>
          </p:cNvSpPr>
          <p:nvPr>
            <p:ph type="sldNum" sz="quarter" idx="5"/>
          </p:nvPr>
        </p:nvSpPr>
        <p:spPr>
          <a:noFill/>
          <a:ln>
            <a:miter lim="800000"/>
            <a:headEnd/>
            <a:tailEnd/>
          </a:ln>
        </p:spPr>
        <p:txBody>
          <a:bodyPr/>
          <a:lstStyle/>
          <a:p>
            <a:pPr defTabSz="968375"/>
            <a:fld id="{1E15C53C-5474-406D-A15A-94583CA7C5FA}" type="slidenum">
              <a:rPr lang="de-DE" smtClean="0"/>
              <a:pPr defTabSz="968375"/>
              <a:t>4</a:t>
            </a:fld>
            <a:endParaRPr lang="de-DE"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Image Placeholder 1"/>
          <p:cNvSpPr>
            <a:spLocks noGrp="1" noRot="1" noChangeAspect="1"/>
          </p:cNvSpPr>
          <p:nvPr>
            <p:ph type="sldImg"/>
          </p:nvPr>
        </p:nvSpPr>
        <p:spPr>
          <a:ln/>
        </p:spPr>
      </p:sp>
      <p:sp>
        <p:nvSpPr>
          <p:cNvPr id="63490" name="Notes Placeholder 2"/>
          <p:cNvSpPr>
            <a:spLocks noGrp="1"/>
          </p:cNvSpPr>
          <p:nvPr>
            <p:ph type="body" idx="1"/>
          </p:nvPr>
        </p:nvSpPr>
        <p:spPr>
          <a:noFill/>
        </p:spPr>
        <p:txBody>
          <a:bodyPr/>
          <a:lstStyle/>
          <a:p>
            <a:pPr eaLnBrk="1" hangingPunct="1"/>
            <a:r>
              <a:rPr lang="en-US" smtClean="0"/>
              <a:t>Headlines gather significant public attention: Overwintering losses have been blamed on a term ‘Colony Collapse Disorder’ (CCD) coined by,  and used by the media as a convenient term. Recent published ‘scientific’ articles have attempted to link CCD on honey bee exposure to neonicotonoid insecticides (NNIC). The development of NNIC chemistry replaced organophosphates and carbamates in agriculture and have been registered and used for over 20 years in the US. NNIC products have reduced the requirement for frequent applications of insecticides and reduced the overall ‘Pounds On Ground’ in crops by a twenty-fold amount. </a:t>
            </a:r>
          </a:p>
        </p:txBody>
      </p:sp>
      <p:sp>
        <p:nvSpPr>
          <p:cNvPr id="63491" name="Slide Number Placeholder 3"/>
          <p:cNvSpPr>
            <a:spLocks noGrp="1"/>
          </p:cNvSpPr>
          <p:nvPr>
            <p:ph type="sldNum" sz="quarter" idx="5"/>
          </p:nvPr>
        </p:nvSpPr>
        <p:spPr>
          <a:noFill/>
          <a:ln>
            <a:miter lim="800000"/>
            <a:headEnd/>
            <a:tailEnd/>
          </a:ln>
        </p:spPr>
        <p:txBody>
          <a:bodyPr/>
          <a:lstStyle/>
          <a:p>
            <a:pPr defTabSz="968375"/>
            <a:fld id="{F81CCD84-CD6C-48B4-9FAF-48B12CFC9800}" type="slidenum">
              <a:rPr lang="de-DE" smtClean="0"/>
              <a:pPr defTabSz="968375"/>
              <a:t>5</a:t>
            </a:fld>
            <a:endParaRPr lang="de-DE"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Image Placeholder 1"/>
          <p:cNvSpPr>
            <a:spLocks noGrp="1" noRot="1" noChangeAspect="1" noTextEdit="1"/>
          </p:cNvSpPr>
          <p:nvPr>
            <p:ph type="sldImg"/>
          </p:nvPr>
        </p:nvSpPr>
        <p:spPr>
          <a:ln/>
        </p:spPr>
      </p:sp>
      <p:sp>
        <p:nvSpPr>
          <p:cNvPr id="65538" name="Notes Placeholder 2"/>
          <p:cNvSpPr>
            <a:spLocks noGrp="1"/>
          </p:cNvSpPr>
          <p:nvPr>
            <p:ph type="body" idx="1"/>
          </p:nvPr>
        </p:nvSpPr>
        <p:spPr>
          <a:noFill/>
        </p:spPr>
        <p:txBody>
          <a:bodyPr/>
          <a:lstStyle/>
          <a:p>
            <a:pPr eaLnBrk="1" hangingPunct="1"/>
            <a:r>
              <a:rPr lang="en-US" smtClean="0">
                <a:ea typeface="ヒラギノ角ゴ Pro W3"/>
                <a:cs typeface="ヒラギノ角ゴ Pro W3"/>
              </a:rPr>
              <a:t>Anti-pesticide activists and Non-Government Organizations (NGO’s) have taken advantage of the media interest in pollinator health to push their anti-pesticide agenda forward through the public and government. </a:t>
            </a:r>
          </a:p>
        </p:txBody>
      </p:sp>
      <p:sp>
        <p:nvSpPr>
          <p:cNvPr id="65539" name="Slide Number Placeholder 3"/>
          <p:cNvSpPr>
            <a:spLocks noGrp="1"/>
          </p:cNvSpPr>
          <p:nvPr>
            <p:ph type="sldNum" sz="quarter" idx="5"/>
          </p:nvPr>
        </p:nvSpPr>
        <p:spPr>
          <a:noFill/>
          <a:ln>
            <a:miter lim="800000"/>
            <a:headEnd/>
            <a:tailEnd/>
          </a:ln>
        </p:spPr>
        <p:txBody>
          <a:bodyPr/>
          <a:lstStyle/>
          <a:p>
            <a:pPr defTabSz="996950"/>
            <a:fld id="{2FADCD29-DE8C-4E45-87D5-FAE414E434DA}" type="slidenum">
              <a:rPr lang="de-DE" sz="1300" smtClean="0">
                <a:ea typeface="ヒラギノ角ゴ Pro W3"/>
                <a:cs typeface="ヒラギノ角ゴ Pro W3"/>
              </a:rPr>
              <a:pPr defTabSz="996950"/>
              <a:t>6</a:t>
            </a:fld>
            <a:endParaRPr lang="de-DE" sz="1300" smtClean="0">
              <a:ea typeface="ヒラギノ角ゴ Pro W3"/>
              <a:cs typeface="ヒラギノ角ゴ Pro W3"/>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Slide Image Placeholder 1"/>
          <p:cNvSpPr>
            <a:spLocks noGrp="1" noRot="1" noChangeAspect="1"/>
          </p:cNvSpPr>
          <p:nvPr>
            <p:ph type="sldImg"/>
          </p:nvPr>
        </p:nvSpPr>
        <p:spPr>
          <a:ln/>
        </p:spPr>
      </p:sp>
      <p:sp>
        <p:nvSpPr>
          <p:cNvPr id="67586" name="Notes Placeholder 2"/>
          <p:cNvSpPr>
            <a:spLocks noGrp="1"/>
          </p:cNvSpPr>
          <p:nvPr>
            <p:ph type="body" idx="1"/>
          </p:nvPr>
        </p:nvSpPr>
        <p:spPr>
          <a:noFill/>
        </p:spPr>
        <p:txBody>
          <a:bodyPr/>
          <a:lstStyle/>
          <a:p>
            <a:pPr eaLnBrk="1" hangingPunct="1"/>
            <a:r>
              <a:rPr lang="en-US" smtClean="0"/>
              <a:t>Some ‘quotes’ and ‘facts’ seen/heard based on this issue: </a:t>
            </a:r>
          </a:p>
          <a:p>
            <a:pPr eaLnBrk="1" hangingPunct="1"/>
            <a:r>
              <a:rPr lang="en-US" smtClean="0"/>
              <a:t>#1: Einstein never said this. </a:t>
            </a:r>
          </a:p>
          <a:p>
            <a:pPr eaLnBrk="1" hangingPunct="1"/>
            <a:r>
              <a:rPr lang="en-US" smtClean="0"/>
              <a:t>#2: Honey bees are not in danger of extinction. The number of honey bee hives declined after WWII when many private beekeepers maintained honey bees to supplement or replace sugar that was scarce or rationed. Honey bees began to be used less for products (honey, wax and pollen) and more for pollination through the 1950’s. The number of hives stabilized about 20 years ago as smaller professional pollinators have been replaced by larger contract pollination firms.</a:t>
            </a:r>
          </a:p>
          <a:p>
            <a:pPr eaLnBrk="1" hangingPunct="1"/>
            <a:r>
              <a:rPr lang="en-US" smtClean="0"/>
              <a:t>#3: Honey bee health is important to the productive pollination of many crops, but as a whole US agriculture is not at risk of a disaster at this time. </a:t>
            </a:r>
          </a:p>
          <a:p>
            <a:pPr eaLnBrk="1" hangingPunct="1"/>
            <a:r>
              <a:rPr lang="en-US" smtClean="0"/>
              <a:t>#4: CCD is a term that is used to describe a number of contributors to overwintering losses and/or colony health. It is not A disease. </a:t>
            </a:r>
          </a:p>
          <a:p>
            <a:pPr eaLnBrk="1" hangingPunct="1"/>
            <a:r>
              <a:rPr lang="en-US" smtClean="0"/>
              <a:t>#5: Although pesticide exposure to honey bees may pose a risk on an individual exposure basis, pesticides and specifically, neonicotonoids, are not solely responsible to the bee health problems being experienced today.</a:t>
            </a:r>
          </a:p>
          <a:p>
            <a:pPr eaLnBrk="1" hangingPunct="1"/>
            <a:r>
              <a:rPr lang="en-US" smtClean="0"/>
              <a:t>#6: Declining bee health is not a ‘mystery’. Research and scientific study has identified a number of stressors that individually or in combination are contributing to negative health pressure on honey bee colonies. </a:t>
            </a:r>
          </a:p>
          <a:p>
            <a:pPr eaLnBrk="1" hangingPunct="1"/>
            <a:r>
              <a:rPr lang="en-US" smtClean="0"/>
              <a:t> </a:t>
            </a:r>
          </a:p>
        </p:txBody>
      </p:sp>
      <p:sp>
        <p:nvSpPr>
          <p:cNvPr id="67587" name="Slide Number Placeholder 3"/>
          <p:cNvSpPr>
            <a:spLocks noGrp="1"/>
          </p:cNvSpPr>
          <p:nvPr>
            <p:ph type="sldNum" sz="quarter" idx="5"/>
          </p:nvPr>
        </p:nvSpPr>
        <p:spPr>
          <a:noFill/>
          <a:ln>
            <a:miter lim="800000"/>
            <a:headEnd/>
            <a:tailEnd/>
          </a:ln>
        </p:spPr>
        <p:txBody>
          <a:bodyPr/>
          <a:lstStyle/>
          <a:p>
            <a:pPr defTabSz="968375"/>
            <a:fld id="{34BE2FE1-BC39-47C7-A3C1-09F6C9F0768A}" type="slidenum">
              <a:rPr lang="de-DE" smtClean="0"/>
              <a:pPr defTabSz="968375"/>
              <a:t>7</a:t>
            </a:fld>
            <a:endParaRPr lang="de-DE"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3" name="Slide Image Placeholder 1"/>
          <p:cNvSpPr>
            <a:spLocks noGrp="1" noRot="1" noChangeAspect="1"/>
          </p:cNvSpPr>
          <p:nvPr>
            <p:ph type="sldImg"/>
          </p:nvPr>
        </p:nvSpPr>
        <p:spPr>
          <a:ln/>
        </p:spPr>
      </p:sp>
      <p:sp>
        <p:nvSpPr>
          <p:cNvPr id="69634" name="Notes Placeholder 2"/>
          <p:cNvSpPr>
            <a:spLocks noGrp="1"/>
          </p:cNvSpPr>
          <p:nvPr>
            <p:ph type="body" idx="1"/>
          </p:nvPr>
        </p:nvSpPr>
        <p:spPr>
          <a:noFill/>
        </p:spPr>
        <p:txBody>
          <a:bodyPr/>
          <a:lstStyle/>
          <a:p>
            <a:pPr eaLnBrk="1" hangingPunct="1"/>
            <a:r>
              <a:rPr lang="en-CA" smtClean="0"/>
              <a:t>A listing of stressors that individually, or combined, based on local conditions is affecting bee health. The parasitic Varroa mite is of particular concern both directly weakening bees (adults and immatures) as well as acting as a vector of disease organisms. </a:t>
            </a:r>
          </a:p>
        </p:txBody>
      </p:sp>
      <p:sp>
        <p:nvSpPr>
          <p:cNvPr id="69635" name="Slide Number Placeholder 3"/>
          <p:cNvSpPr>
            <a:spLocks noGrp="1"/>
          </p:cNvSpPr>
          <p:nvPr>
            <p:ph type="sldNum" sz="quarter" idx="5"/>
          </p:nvPr>
        </p:nvSpPr>
        <p:spPr>
          <a:noFill/>
          <a:ln>
            <a:miter lim="800000"/>
            <a:headEnd/>
            <a:tailEnd/>
          </a:ln>
        </p:spPr>
        <p:txBody>
          <a:bodyPr/>
          <a:lstStyle/>
          <a:p>
            <a:pPr defTabSz="968375"/>
            <a:fld id="{E636BADD-861E-4929-B335-707BCB413516}" type="slidenum">
              <a:rPr lang="en-CA" smtClean="0">
                <a:solidFill>
                  <a:srgbClr val="000000"/>
                </a:solidFill>
              </a:rPr>
              <a:pPr defTabSz="968375"/>
              <a:t>8</a:t>
            </a:fld>
            <a:endParaRPr lang="en-CA" smtClean="0">
              <a:solidFill>
                <a:srgbClr val="000000"/>
              </a:solidFill>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1" name="Slide Image Placeholder 1"/>
          <p:cNvSpPr>
            <a:spLocks noGrp="1" noRot="1" noChangeAspect="1"/>
          </p:cNvSpPr>
          <p:nvPr>
            <p:ph type="sldImg"/>
          </p:nvPr>
        </p:nvSpPr>
        <p:spPr>
          <a:ln/>
        </p:spPr>
      </p:sp>
      <p:sp>
        <p:nvSpPr>
          <p:cNvPr id="71682" name="Notes Placeholder 2"/>
          <p:cNvSpPr>
            <a:spLocks noGrp="1"/>
          </p:cNvSpPr>
          <p:nvPr>
            <p:ph type="body" idx="1"/>
          </p:nvPr>
        </p:nvSpPr>
        <p:spPr>
          <a:noFill/>
        </p:spPr>
        <p:txBody>
          <a:bodyPr/>
          <a:lstStyle/>
          <a:p>
            <a:pPr eaLnBrk="1" hangingPunct="1"/>
            <a:r>
              <a:rPr lang="en-US" smtClean="0"/>
              <a:t>Summary of a cooperative USDA/EPA report on Bee Health released by the agencies in May of 2013. </a:t>
            </a:r>
          </a:p>
        </p:txBody>
      </p:sp>
      <p:sp>
        <p:nvSpPr>
          <p:cNvPr id="71683" name="Slide Number Placeholder 3"/>
          <p:cNvSpPr>
            <a:spLocks noGrp="1"/>
          </p:cNvSpPr>
          <p:nvPr>
            <p:ph type="sldNum" sz="quarter" idx="5"/>
          </p:nvPr>
        </p:nvSpPr>
        <p:spPr>
          <a:noFill/>
          <a:ln>
            <a:miter lim="800000"/>
            <a:headEnd/>
            <a:tailEnd/>
          </a:ln>
        </p:spPr>
        <p:txBody>
          <a:bodyPr/>
          <a:lstStyle/>
          <a:p>
            <a:pPr defTabSz="968375"/>
            <a:fld id="{C6345F50-ADE4-4A74-AA1C-F52E57AC792F}" type="slidenum">
              <a:rPr lang="de-DE" smtClean="0"/>
              <a:pPr defTabSz="968375"/>
              <a:t>9</a:t>
            </a:fld>
            <a:endParaRPr lang="de-DE"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jpe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jpeg"/><Relationship Id="rId1" Type="http://schemas.openxmlformats.org/officeDocument/2006/relationships/slideMaster" Target="../slideMasters/slideMaster5.xml"/><Relationship Id="rId4" Type="http://schemas.openxmlformats.org/officeDocument/2006/relationships/image" Target="../media/image5.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hemeOverride" Target="../theme/themeOverride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Grafik 2"/>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5" name="Picture 11"/>
          <p:cNvPicPr>
            <a:picLocks noChangeAspect="1" noChangeArrowheads="1"/>
          </p:cNvPicPr>
          <p:nvPr/>
        </p:nvPicPr>
        <p:blipFill>
          <a:blip r:embed="rId3" cstate="print"/>
          <a:srcRect/>
          <a:stretch>
            <a:fillRect/>
          </a:stretch>
        </p:blipFill>
        <p:spPr bwMode="gray">
          <a:xfrm>
            <a:off x="671513" y="4119563"/>
            <a:ext cx="1943100" cy="1123950"/>
          </a:xfrm>
          <a:prstGeom prst="rect">
            <a:avLst/>
          </a:prstGeom>
          <a:noFill/>
          <a:ln w="9525">
            <a:noFill/>
            <a:miter lim="800000"/>
            <a:headEnd/>
            <a:tailEnd/>
          </a:ln>
        </p:spPr>
      </p:pic>
      <p:sp>
        <p:nvSpPr>
          <p:cNvPr id="6" name="Line 12"/>
          <p:cNvSpPr>
            <a:spLocks noChangeShapeType="1"/>
          </p:cNvSpPr>
          <p:nvPr/>
        </p:nvSpPr>
        <p:spPr bwMode="gray">
          <a:xfrm>
            <a:off x="3022600" y="4122738"/>
            <a:ext cx="0" cy="1187450"/>
          </a:xfrm>
          <a:prstGeom prst="line">
            <a:avLst/>
          </a:prstGeom>
          <a:noFill/>
          <a:ln w="9525">
            <a:solidFill>
              <a:schemeClr val="accent1"/>
            </a:solidFill>
            <a:round/>
            <a:headEnd/>
            <a:tailEnd/>
          </a:ln>
          <a:effectLst/>
          <a:extLst>
            <a:ext uri="{909E8E84-426E-40DD-AFC4-6F175D3DCCD1}"/>
            <a:ext uri="{AF507438-7753-43E0-B8FC-AC1667EBCBE1}"/>
          </a:extLst>
        </p:spPr>
        <p:txBody>
          <a:bodyPr/>
          <a:lstStyle/>
          <a:p>
            <a:pPr algn="ctr">
              <a:defRPr/>
            </a:pPr>
            <a:endParaRPr lang="en-US" dirty="0"/>
          </a:p>
        </p:txBody>
      </p:sp>
      <p:pic>
        <p:nvPicPr>
          <p:cNvPr id="7" name="Grafik 13"/>
          <p:cNvPicPr>
            <a:picLocks noChangeAspect="1"/>
          </p:cNvPicPr>
          <p:nvPr userDrawn="1"/>
        </p:nvPicPr>
        <p:blipFill>
          <a:blip r:embed="rId4" cstate="print"/>
          <a:srcRect/>
          <a:stretch>
            <a:fillRect/>
          </a:stretch>
        </p:blipFill>
        <p:spPr bwMode="auto">
          <a:xfrm>
            <a:off x="0" y="0"/>
            <a:ext cx="9144000" cy="6858000"/>
          </a:xfrm>
          <a:prstGeom prst="rect">
            <a:avLst/>
          </a:prstGeom>
          <a:noFill/>
          <a:ln w="9525">
            <a:noFill/>
            <a:miter lim="800000"/>
            <a:headEnd/>
            <a:tailEnd/>
          </a:ln>
        </p:spPr>
      </p:pic>
      <p:sp>
        <p:nvSpPr>
          <p:cNvPr id="32771" name="Rectangle 3"/>
          <p:cNvSpPr>
            <a:spLocks noGrp="1" noChangeArrowheads="1"/>
          </p:cNvSpPr>
          <p:nvPr>
            <p:ph type="ctrTitle"/>
          </p:nvPr>
        </p:nvSpPr>
        <p:spPr>
          <a:xfrm>
            <a:off x="3381375" y="4497388"/>
            <a:ext cx="5286375" cy="442912"/>
          </a:xfrm>
        </p:spPr>
        <p:txBody>
          <a:bodyPr/>
          <a:lstStyle>
            <a:lvl1pPr>
              <a:defRPr/>
            </a:lvl1pPr>
          </a:lstStyle>
          <a:p>
            <a:pPr lvl="0"/>
            <a:r>
              <a:rPr lang="en-GB" noProof="0" smtClean="0"/>
              <a:t>Headline</a:t>
            </a:r>
          </a:p>
        </p:txBody>
      </p:sp>
      <p:sp>
        <p:nvSpPr>
          <p:cNvPr id="32772" name="Rectangle 4"/>
          <p:cNvSpPr>
            <a:spLocks noGrp="1" noChangeArrowheads="1"/>
          </p:cNvSpPr>
          <p:nvPr>
            <p:ph type="subTitle" idx="1"/>
          </p:nvPr>
        </p:nvSpPr>
        <p:spPr>
          <a:xfrm>
            <a:off x="3381375" y="4976813"/>
            <a:ext cx="5289550" cy="309562"/>
          </a:xfrm>
        </p:spPr>
        <p:txBody>
          <a:bodyPr/>
          <a:lstStyle>
            <a:lvl1pPr>
              <a:defRPr sz="2000"/>
            </a:lvl1pPr>
          </a:lstStyle>
          <a:p>
            <a:pPr lvl="0"/>
            <a:r>
              <a:rPr lang="en-GB" noProof="0" smtClean="0"/>
              <a:t>Subheadline</a:t>
            </a:r>
          </a:p>
        </p:txBody>
      </p:sp>
    </p:spTree>
  </p:cSld>
  <p:clrMapOvr>
    <a:masterClrMapping/>
  </p:clrMapOvr>
  <p:transition>
    <p:split orient="vert"/>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sz="half" idx="1"/>
          </p:nvPr>
        </p:nvSpPr>
        <p:spPr>
          <a:xfrm>
            <a:off x="466725" y="1628775"/>
            <a:ext cx="4027488"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Inhaltsplatzhalter 3"/>
          <p:cNvSpPr>
            <a:spLocks noGrp="1"/>
          </p:cNvSpPr>
          <p:nvPr>
            <p:ph sz="half" idx="2"/>
          </p:nvPr>
        </p:nvSpPr>
        <p:spPr>
          <a:xfrm>
            <a:off x="4646613" y="1628775"/>
            <a:ext cx="4029075"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5" name="Foliennummernplatzhalter 1"/>
          <p:cNvSpPr>
            <a:spLocks noGrp="1"/>
          </p:cNvSpPr>
          <p:nvPr>
            <p:ph type="sldNum" sz="quarter" idx="10"/>
          </p:nvPr>
        </p:nvSpPr>
        <p:spPr/>
        <p:txBody>
          <a:bodyPr/>
          <a:lstStyle>
            <a:lvl1pPr>
              <a:defRPr/>
            </a:lvl1pPr>
          </a:lstStyle>
          <a:p>
            <a:pPr>
              <a:defRPr/>
            </a:pPr>
            <a:r>
              <a:rPr lang="en-US"/>
              <a:t>Page </a:t>
            </a:r>
            <a:fld id="{4F1E9C79-9521-4E2A-8853-999DB23C4506}" type="slidenum">
              <a:rPr lang="en-US"/>
              <a:pPr>
                <a:defRPr/>
              </a:pPr>
              <a:t>‹#›</a:t>
            </a:fld>
            <a:endParaRPr lang="en-US"/>
          </a:p>
        </p:txBody>
      </p:sp>
      <p:sp>
        <p:nvSpPr>
          <p:cNvPr id="6"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Foliennummernplatzhalter 1"/>
          <p:cNvSpPr>
            <a:spLocks noGrp="1"/>
          </p:cNvSpPr>
          <p:nvPr>
            <p:ph type="sldNum" sz="quarter" idx="10"/>
          </p:nvPr>
        </p:nvSpPr>
        <p:spPr/>
        <p:txBody>
          <a:bodyPr/>
          <a:lstStyle>
            <a:lvl1pPr>
              <a:defRPr/>
            </a:lvl1pPr>
          </a:lstStyle>
          <a:p>
            <a:pPr>
              <a:defRPr/>
            </a:pPr>
            <a:r>
              <a:rPr lang="en-US"/>
              <a:t>Page </a:t>
            </a:r>
            <a:fld id="{71CFB738-5275-4414-A7FC-C164CA2C3BDF}" type="slidenum">
              <a:rPr lang="en-US"/>
              <a:pPr>
                <a:defRPr/>
              </a:pPr>
              <a:t>‹#›</a:t>
            </a:fld>
            <a:endParaRPr lang="en-US"/>
          </a:p>
        </p:txBody>
      </p:sp>
      <p:sp>
        <p:nvSpPr>
          <p:cNvPr id="4"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lvl1pPr>
              <a:defRPr/>
            </a:lvl1pPr>
          </a:lstStyle>
          <a:p>
            <a:pPr>
              <a:defRPr/>
            </a:pPr>
            <a:r>
              <a:rPr lang="en-US"/>
              <a:t>Page </a:t>
            </a:r>
            <a:fld id="{724AA110-16FB-4581-85E0-7022685BFE44}" type="slidenum">
              <a:rPr lang="en-US"/>
              <a:pPr>
                <a:defRPr/>
              </a:pPr>
              <a:t>‹#›</a:t>
            </a:fld>
            <a:endParaRPr lang="en-US"/>
          </a:p>
        </p:txBody>
      </p:sp>
      <p:sp>
        <p:nvSpPr>
          <p:cNvPr id="3"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Grafik 2"/>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5" name="Picture 11"/>
          <p:cNvPicPr>
            <a:picLocks noChangeAspect="1" noChangeArrowheads="1"/>
          </p:cNvPicPr>
          <p:nvPr/>
        </p:nvPicPr>
        <p:blipFill>
          <a:blip r:embed="rId3" cstate="print"/>
          <a:srcRect/>
          <a:stretch>
            <a:fillRect/>
          </a:stretch>
        </p:blipFill>
        <p:spPr bwMode="gray">
          <a:xfrm>
            <a:off x="671513" y="4119563"/>
            <a:ext cx="1943100" cy="1123950"/>
          </a:xfrm>
          <a:prstGeom prst="rect">
            <a:avLst/>
          </a:prstGeom>
          <a:noFill/>
          <a:ln w="9525">
            <a:noFill/>
            <a:miter lim="800000"/>
            <a:headEnd/>
            <a:tailEnd/>
          </a:ln>
        </p:spPr>
      </p:pic>
      <p:sp>
        <p:nvSpPr>
          <p:cNvPr id="6" name="Line 12"/>
          <p:cNvSpPr>
            <a:spLocks noChangeShapeType="1"/>
          </p:cNvSpPr>
          <p:nvPr/>
        </p:nvSpPr>
        <p:spPr bwMode="gray">
          <a:xfrm>
            <a:off x="3022600" y="4122738"/>
            <a:ext cx="0" cy="1187450"/>
          </a:xfrm>
          <a:prstGeom prst="line">
            <a:avLst/>
          </a:prstGeom>
          <a:noFill/>
          <a:ln w="9525">
            <a:solidFill>
              <a:schemeClr val="accent1"/>
            </a:solidFill>
            <a:round/>
            <a:headEnd/>
            <a:tailEnd/>
          </a:ln>
          <a:effectLst/>
          <a:extLst>
            <a:ext uri="{909E8E84-426E-40DD-AFC4-6F175D3DCCD1}"/>
            <a:ext uri="{AF507438-7753-43E0-B8FC-AC1667EBCBE1}"/>
          </a:extLst>
        </p:spPr>
        <p:txBody>
          <a:bodyPr/>
          <a:lstStyle/>
          <a:p>
            <a:pPr algn="ctr">
              <a:defRPr/>
            </a:pPr>
            <a:endParaRPr lang="en-US" dirty="0"/>
          </a:p>
        </p:txBody>
      </p:sp>
      <p:pic>
        <p:nvPicPr>
          <p:cNvPr id="7" name="Grafik 13"/>
          <p:cNvPicPr>
            <a:picLocks noChangeAspect="1"/>
          </p:cNvPicPr>
          <p:nvPr userDrawn="1"/>
        </p:nvPicPr>
        <p:blipFill>
          <a:blip r:embed="rId4" cstate="print"/>
          <a:srcRect/>
          <a:stretch>
            <a:fillRect/>
          </a:stretch>
        </p:blipFill>
        <p:spPr bwMode="auto">
          <a:xfrm>
            <a:off x="0" y="0"/>
            <a:ext cx="9144000" cy="6858000"/>
          </a:xfrm>
          <a:prstGeom prst="rect">
            <a:avLst/>
          </a:prstGeom>
          <a:noFill/>
          <a:ln w="9525">
            <a:noFill/>
            <a:miter lim="800000"/>
            <a:headEnd/>
            <a:tailEnd/>
          </a:ln>
        </p:spPr>
      </p:pic>
      <p:sp>
        <p:nvSpPr>
          <p:cNvPr id="40963" name="Rectangle 3"/>
          <p:cNvSpPr>
            <a:spLocks noGrp="1" noChangeArrowheads="1"/>
          </p:cNvSpPr>
          <p:nvPr>
            <p:ph type="ctrTitle"/>
          </p:nvPr>
        </p:nvSpPr>
        <p:spPr>
          <a:xfrm>
            <a:off x="3381375" y="4497388"/>
            <a:ext cx="5286375" cy="442912"/>
          </a:xfrm>
        </p:spPr>
        <p:txBody>
          <a:bodyPr/>
          <a:lstStyle>
            <a:lvl1pPr>
              <a:defRPr/>
            </a:lvl1pPr>
          </a:lstStyle>
          <a:p>
            <a:pPr lvl="0"/>
            <a:r>
              <a:rPr lang="en-GB" noProof="0" smtClean="0"/>
              <a:t>Headline</a:t>
            </a:r>
          </a:p>
        </p:txBody>
      </p:sp>
      <p:sp>
        <p:nvSpPr>
          <p:cNvPr id="40964" name="Rectangle 4"/>
          <p:cNvSpPr>
            <a:spLocks noGrp="1" noChangeArrowheads="1"/>
          </p:cNvSpPr>
          <p:nvPr>
            <p:ph type="subTitle" idx="1"/>
          </p:nvPr>
        </p:nvSpPr>
        <p:spPr>
          <a:xfrm>
            <a:off x="3381375" y="4976813"/>
            <a:ext cx="5289550" cy="309562"/>
          </a:xfrm>
        </p:spPr>
        <p:txBody>
          <a:bodyPr/>
          <a:lstStyle>
            <a:lvl1pPr>
              <a:defRPr sz="2000"/>
            </a:lvl1pPr>
          </a:lstStyle>
          <a:p>
            <a:pPr lvl="0"/>
            <a:r>
              <a:rPr lang="en-GB" noProof="0" smtClean="0"/>
              <a:t>Subheadline</a:t>
            </a:r>
          </a:p>
        </p:txBody>
      </p:sp>
    </p:spTree>
  </p:cSld>
  <p:clrMapOvr>
    <a:masterClrMapping/>
  </p:clrMapOvr>
  <p:transition>
    <p:split orient="vert"/>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Foliennummernplatzhalter 1"/>
          <p:cNvSpPr>
            <a:spLocks noGrp="1"/>
          </p:cNvSpPr>
          <p:nvPr>
            <p:ph type="sldNum" sz="quarter" idx="10"/>
          </p:nvPr>
        </p:nvSpPr>
        <p:spPr/>
        <p:txBody>
          <a:bodyPr/>
          <a:lstStyle>
            <a:lvl1pPr>
              <a:defRPr/>
            </a:lvl1pPr>
          </a:lstStyle>
          <a:p>
            <a:pPr>
              <a:defRPr/>
            </a:pPr>
            <a:r>
              <a:rPr lang="en-US"/>
              <a:t>Page </a:t>
            </a:r>
            <a:fld id="{4BD82CB0-189E-4B82-98FB-4FB2459254C5}" type="slidenum">
              <a:rPr lang="en-US"/>
              <a:pPr>
                <a:defRPr/>
              </a:pPr>
              <a:t>‹#›</a:t>
            </a:fld>
            <a:endParaRPr lang="en-US"/>
          </a:p>
        </p:txBody>
      </p:sp>
      <p:sp>
        <p:nvSpPr>
          <p:cNvPr id="5"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en-US"/>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
        <p:nvSpPr>
          <p:cNvPr id="4" name="Foliennummernplatzhalter 1"/>
          <p:cNvSpPr>
            <a:spLocks noGrp="1"/>
          </p:cNvSpPr>
          <p:nvPr>
            <p:ph type="sldNum" sz="quarter" idx="10"/>
          </p:nvPr>
        </p:nvSpPr>
        <p:spPr/>
        <p:txBody>
          <a:bodyPr/>
          <a:lstStyle>
            <a:lvl1pPr>
              <a:defRPr/>
            </a:lvl1pPr>
          </a:lstStyle>
          <a:p>
            <a:pPr>
              <a:defRPr/>
            </a:pPr>
            <a:r>
              <a:rPr lang="en-US"/>
              <a:t>Page </a:t>
            </a:r>
            <a:fld id="{FFB3DD52-EE69-4449-AA17-440381606856}" type="slidenum">
              <a:rPr lang="en-US"/>
              <a:pPr>
                <a:defRPr/>
              </a:pPr>
              <a:t>‹#›</a:t>
            </a:fld>
            <a:endParaRPr lang="en-US"/>
          </a:p>
        </p:txBody>
      </p:sp>
      <p:sp>
        <p:nvSpPr>
          <p:cNvPr id="5"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sz="half" idx="1"/>
          </p:nvPr>
        </p:nvSpPr>
        <p:spPr>
          <a:xfrm>
            <a:off x="466725" y="1628775"/>
            <a:ext cx="4027488"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Inhaltsplatzhalter 3"/>
          <p:cNvSpPr>
            <a:spLocks noGrp="1"/>
          </p:cNvSpPr>
          <p:nvPr>
            <p:ph sz="half" idx="2"/>
          </p:nvPr>
        </p:nvSpPr>
        <p:spPr>
          <a:xfrm>
            <a:off x="4646613" y="1628775"/>
            <a:ext cx="4029075"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5" name="Foliennummernplatzhalter 1"/>
          <p:cNvSpPr>
            <a:spLocks noGrp="1"/>
          </p:cNvSpPr>
          <p:nvPr>
            <p:ph type="sldNum" sz="quarter" idx="10"/>
          </p:nvPr>
        </p:nvSpPr>
        <p:spPr/>
        <p:txBody>
          <a:bodyPr/>
          <a:lstStyle>
            <a:lvl1pPr>
              <a:defRPr/>
            </a:lvl1pPr>
          </a:lstStyle>
          <a:p>
            <a:pPr>
              <a:defRPr/>
            </a:pPr>
            <a:r>
              <a:rPr lang="en-US"/>
              <a:t>Page </a:t>
            </a:r>
            <a:fld id="{93824CF3-07DC-450F-AAE6-5BBACC650E43}" type="slidenum">
              <a:rPr lang="en-US"/>
              <a:pPr>
                <a:defRPr/>
              </a:pPr>
              <a:t>‹#›</a:t>
            </a:fld>
            <a:endParaRPr lang="en-US"/>
          </a:p>
        </p:txBody>
      </p:sp>
      <p:sp>
        <p:nvSpPr>
          <p:cNvPr id="6"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Foliennummernplatzhalter 1"/>
          <p:cNvSpPr>
            <a:spLocks noGrp="1"/>
          </p:cNvSpPr>
          <p:nvPr>
            <p:ph type="sldNum" sz="quarter" idx="10"/>
          </p:nvPr>
        </p:nvSpPr>
        <p:spPr/>
        <p:txBody>
          <a:bodyPr/>
          <a:lstStyle>
            <a:lvl1pPr>
              <a:defRPr/>
            </a:lvl1pPr>
          </a:lstStyle>
          <a:p>
            <a:pPr>
              <a:defRPr/>
            </a:pPr>
            <a:r>
              <a:rPr lang="en-US"/>
              <a:t>Page </a:t>
            </a:r>
            <a:fld id="{7D042FC5-A385-47DC-B361-A2D803CAB00C}" type="slidenum">
              <a:rPr lang="en-US"/>
              <a:pPr>
                <a:defRPr/>
              </a:pPr>
              <a:t>‹#›</a:t>
            </a:fld>
            <a:endParaRPr lang="en-US"/>
          </a:p>
        </p:txBody>
      </p:sp>
      <p:sp>
        <p:nvSpPr>
          <p:cNvPr id="4"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lvl1pPr>
              <a:defRPr/>
            </a:lvl1pPr>
          </a:lstStyle>
          <a:p>
            <a:pPr>
              <a:defRPr/>
            </a:pPr>
            <a:r>
              <a:rPr lang="en-US"/>
              <a:t>Page </a:t>
            </a:r>
            <a:fld id="{AA2CB7F1-2487-422A-9D8A-2211379B9D08}" type="slidenum">
              <a:rPr lang="en-US"/>
              <a:pPr>
                <a:defRPr/>
              </a:pPr>
              <a:t>‹#›</a:t>
            </a:fld>
            <a:endParaRPr lang="en-US"/>
          </a:p>
        </p:txBody>
      </p:sp>
      <p:sp>
        <p:nvSpPr>
          <p:cNvPr id="3"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Grafik 1"/>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5" name="Picture 11"/>
          <p:cNvPicPr>
            <a:picLocks noChangeAspect="1" noChangeArrowheads="1"/>
          </p:cNvPicPr>
          <p:nvPr/>
        </p:nvPicPr>
        <p:blipFill>
          <a:blip r:embed="rId3" cstate="print"/>
          <a:srcRect/>
          <a:stretch>
            <a:fillRect/>
          </a:stretch>
        </p:blipFill>
        <p:spPr bwMode="gray">
          <a:xfrm>
            <a:off x="671513" y="4119563"/>
            <a:ext cx="1943100" cy="1123950"/>
          </a:xfrm>
          <a:prstGeom prst="rect">
            <a:avLst/>
          </a:prstGeom>
          <a:noFill/>
          <a:ln w="9525">
            <a:noFill/>
            <a:miter lim="800000"/>
            <a:headEnd/>
            <a:tailEnd/>
          </a:ln>
        </p:spPr>
      </p:pic>
      <p:sp>
        <p:nvSpPr>
          <p:cNvPr id="6" name="Line 12"/>
          <p:cNvSpPr>
            <a:spLocks noChangeShapeType="1"/>
          </p:cNvSpPr>
          <p:nvPr/>
        </p:nvSpPr>
        <p:spPr bwMode="gray">
          <a:xfrm>
            <a:off x="3022600" y="4122738"/>
            <a:ext cx="0" cy="1187450"/>
          </a:xfrm>
          <a:prstGeom prst="line">
            <a:avLst/>
          </a:prstGeom>
          <a:noFill/>
          <a:ln w="9525">
            <a:solidFill>
              <a:schemeClr val="accent1"/>
            </a:solidFill>
            <a:round/>
            <a:headEnd/>
            <a:tailEnd/>
          </a:ln>
          <a:effectLst/>
          <a:extLst>
            <a:ext uri="{909E8E84-426E-40DD-AFC4-6F175D3DCCD1}"/>
            <a:ext uri="{AF507438-7753-43E0-B8FC-AC1667EBCBE1}"/>
          </a:extLst>
        </p:spPr>
        <p:txBody>
          <a:bodyPr/>
          <a:lstStyle/>
          <a:p>
            <a:pPr algn="ctr">
              <a:defRPr/>
            </a:pPr>
            <a:endParaRPr lang="en-US" dirty="0"/>
          </a:p>
        </p:txBody>
      </p:sp>
      <p:pic>
        <p:nvPicPr>
          <p:cNvPr id="7" name="Grafik 13"/>
          <p:cNvPicPr>
            <a:picLocks noChangeAspect="1"/>
          </p:cNvPicPr>
          <p:nvPr userDrawn="1"/>
        </p:nvPicPr>
        <p:blipFill>
          <a:blip r:embed="rId4" cstate="print"/>
          <a:srcRect/>
          <a:stretch>
            <a:fillRect/>
          </a:stretch>
        </p:blipFill>
        <p:spPr bwMode="auto">
          <a:xfrm>
            <a:off x="0" y="-76200"/>
            <a:ext cx="9144000" cy="6858000"/>
          </a:xfrm>
          <a:prstGeom prst="rect">
            <a:avLst/>
          </a:prstGeom>
          <a:noFill/>
          <a:ln w="9525">
            <a:noFill/>
            <a:miter lim="800000"/>
            <a:headEnd/>
            <a:tailEnd/>
          </a:ln>
        </p:spPr>
      </p:pic>
      <p:sp>
        <p:nvSpPr>
          <p:cNvPr id="40963" name="Rectangle 3"/>
          <p:cNvSpPr>
            <a:spLocks noGrp="1" noChangeArrowheads="1"/>
          </p:cNvSpPr>
          <p:nvPr>
            <p:ph type="ctrTitle"/>
          </p:nvPr>
        </p:nvSpPr>
        <p:spPr>
          <a:xfrm>
            <a:off x="3381375" y="4497388"/>
            <a:ext cx="5286375" cy="442912"/>
          </a:xfrm>
        </p:spPr>
        <p:txBody>
          <a:bodyPr/>
          <a:lstStyle>
            <a:lvl1pPr>
              <a:defRPr/>
            </a:lvl1pPr>
          </a:lstStyle>
          <a:p>
            <a:pPr lvl="0"/>
            <a:r>
              <a:rPr lang="en-GB" noProof="0" smtClean="0"/>
              <a:t>Headline</a:t>
            </a:r>
          </a:p>
        </p:txBody>
      </p:sp>
      <p:sp>
        <p:nvSpPr>
          <p:cNvPr id="40964" name="Rectangle 4"/>
          <p:cNvSpPr>
            <a:spLocks noGrp="1" noChangeArrowheads="1"/>
          </p:cNvSpPr>
          <p:nvPr>
            <p:ph type="subTitle" idx="1"/>
          </p:nvPr>
        </p:nvSpPr>
        <p:spPr>
          <a:xfrm>
            <a:off x="3381375" y="4976813"/>
            <a:ext cx="5289550" cy="309562"/>
          </a:xfrm>
        </p:spPr>
        <p:txBody>
          <a:bodyPr/>
          <a:lstStyle>
            <a:lvl1pPr>
              <a:defRPr sz="2000"/>
            </a:lvl1pPr>
          </a:lstStyle>
          <a:p>
            <a:pPr lvl="0"/>
            <a:r>
              <a:rPr lang="en-GB" noProof="0" smtClean="0"/>
              <a:t>Subheadline</a:t>
            </a:r>
          </a:p>
        </p:txBody>
      </p:sp>
    </p:spTree>
  </p:cSld>
  <p:clrMapOvr>
    <a:masterClrMapping/>
  </p:clrMapOvr>
  <p:transition>
    <p:split orient="vert"/>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Foliennummernplatzhalter 1"/>
          <p:cNvSpPr>
            <a:spLocks noGrp="1"/>
          </p:cNvSpPr>
          <p:nvPr>
            <p:ph type="sldNum" sz="quarter" idx="10"/>
          </p:nvPr>
        </p:nvSpPr>
        <p:spPr/>
        <p:txBody>
          <a:bodyPr/>
          <a:lstStyle>
            <a:lvl1pPr>
              <a:defRPr/>
            </a:lvl1pPr>
          </a:lstStyle>
          <a:p>
            <a:pPr>
              <a:defRPr/>
            </a:pPr>
            <a:r>
              <a:rPr lang="en-US"/>
              <a:t>Page </a:t>
            </a:r>
            <a:fld id="{F47D3FEB-0E0E-4A61-89F0-70B8B4F55AE2}" type="slidenum">
              <a:rPr lang="en-US"/>
              <a:pPr>
                <a:defRPr/>
              </a:pPr>
              <a:t>‹#›</a:t>
            </a:fld>
            <a:endParaRPr lang="en-US"/>
          </a:p>
        </p:txBody>
      </p:sp>
      <p:sp>
        <p:nvSpPr>
          <p:cNvPr id="5"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Foliennummernplatzhalter 1"/>
          <p:cNvSpPr>
            <a:spLocks noGrp="1"/>
          </p:cNvSpPr>
          <p:nvPr>
            <p:ph type="sldNum" sz="quarter" idx="10"/>
          </p:nvPr>
        </p:nvSpPr>
        <p:spPr/>
        <p:txBody>
          <a:bodyPr/>
          <a:lstStyle>
            <a:lvl1pPr>
              <a:defRPr/>
            </a:lvl1pPr>
          </a:lstStyle>
          <a:p>
            <a:pPr>
              <a:defRPr/>
            </a:pPr>
            <a:r>
              <a:rPr lang="en-US"/>
              <a:t>Page </a:t>
            </a:r>
            <a:fld id="{1A5E37C1-4B1B-44EB-8F6B-EAED87D0AEF6}" type="slidenum">
              <a:rPr lang="en-US"/>
              <a:pPr>
                <a:defRPr/>
              </a:pPr>
              <a:t>‹#›</a:t>
            </a:fld>
            <a:endParaRPr lang="en-US"/>
          </a:p>
        </p:txBody>
      </p:sp>
      <p:sp>
        <p:nvSpPr>
          <p:cNvPr id="5"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en-US"/>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
        <p:nvSpPr>
          <p:cNvPr id="4" name="Foliennummernplatzhalter 1"/>
          <p:cNvSpPr>
            <a:spLocks noGrp="1"/>
          </p:cNvSpPr>
          <p:nvPr>
            <p:ph type="sldNum" sz="quarter" idx="10"/>
          </p:nvPr>
        </p:nvSpPr>
        <p:spPr/>
        <p:txBody>
          <a:bodyPr/>
          <a:lstStyle>
            <a:lvl1pPr>
              <a:defRPr/>
            </a:lvl1pPr>
          </a:lstStyle>
          <a:p>
            <a:pPr>
              <a:defRPr/>
            </a:pPr>
            <a:r>
              <a:rPr lang="en-US"/>
              <a:t>Page </a:t>
            </a:r>
            <a:fld id="{9E43FCBB-CBED-439A-B9F0-8FF3EE1FEA70}" type="slidenum">
              <a:rPr lang="en-US"/>
              <a:pPr>
                <a:defRPr/>
              </a:pPr>
              <a:t>‹#›</a:t>
            </a:fld>
            <a:endParaRPr lang="en-US"/>
          </a:p>
        </p:txBody>
      </p:sp>
      <p:sp>
        <p:nvSpPr>
          <p:cNvPr id="5"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sz="half" idx="1"/>
          </p:nvPr>
        </p:nvSpPr>
        <p:spPr>
          <a:xfrm>
            <a:off x="466725" y="1628775"/>
            <a:ext cx="4027488"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Inhaltsplatzhalter 3"/>
          <p:cNvSpPr>
            <a:spLocks noGrp="1"/>
          </p:cNvSpPr>
          <p:nvPr>
            <p:ph sz="half" idx="2"/>
          </p:nvPr>
        </p:nvSpPr>
        <p:spPr>
          <a:xfrm>
            <a:off x="4646613" y="1628775"/>
            <a:ext cx="4029075"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5" name="Foliennummernplatzhalter 1"/>
          <p:cNvSpPr>
            <a:spLocks noGrp="1"/>
          </p:cNvSpPr>
          <p:nvPr>
            <p:ph type="sldNum" sz="quarter" idx="10"/>
          </p:nvPr>
        </p:nvSpPr>
        <p:spPr/>
        <p:txBody>
          <a:bodyPr/>
          <a:lstStyle>
            <a:lvl1pPr>
              <a:defRPr/>
            </a:lvl1pPr>
          </a:lstStyle>
          <a:p>
            <a:pPr>
              <a:defRPr/>
            </a:pPr>
            <a:r>
              <a:rPr lang="en-US"/>
              <a:t>Page </a:t>
            </a:r>
            <a:fld id="{63EFD42F-D991-4A6B-80EA-6B2CBA5D2F90}" type="slidenum">
              <a:rPr lang="en-US"/>
              <a:pPr>
                <a:defRPr/>
              </a:pPr>
              <a:t>‹#›</a:t>
            </a:fld>
            <a:endParaRPr lang="en-US"/>
          </a:p>
        </p:txBody>
      </p:sp>
      <p:sp>
        <p:nvSpPr>
          <p:cNvPr id="6"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Foliennummernplatzhalter 1"/>
          <p:cNvSpPr>
            <a:spLocks noGrp="1"/>
          </p:cNvSpPr>
          <p:nvPr>
            <p:ph type="sldNum" sz="quarter" idx="10"/>
          </p:nvPr>
        </p:nvSpPr>
        <p:spPr/>
        <p:txBody>
          <a:bodyPr/>
          <a:lstStyle>
            <a:lvl1pPr>
              <a:defRPr/>
            </a:lvl1pPr>
          </a:lstStyle>
          <a:p>
            <a:pPr>
              <a:defRPr/>
            </a:pPr>
            <a:r>
              <a:rPr lang="en-US"/>
              <a:t>Page </a:t>
            </a:r>
            <a:fld id="{ACDC2105-E5AE-4C7B-91B6-88109AAD3326}" type="slidenum">
              <a:rPr lang="en-US"/>
              <a:pPr>
                <a:defRPr/>
              </a:pPr>
              <a:t>‹#›</a:t>
            </a:fld>
            <a:endParaRPr lang="en-US"/>
          </a:p>
        </p:txBody>
      </p:sp>
      <p:sp>
        <p:nvSpPr>
          <p:cNvPr id="4"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lvl1pPr>
              <a:defRPr/>
            </a:lvl1pPr>
          </a:lstStyle>
          <a:p>
            <a:pPr>
              <a:defRPr/>
            </a:pPr>
            <a:r>
              <a:rPr lang="en-US"/>
              <a:t>Page </a:t>
            </a:r>
            <a:fld id="{7D968461-95F0-4A6C-A81E-7B71AE7BB2EB}" type="slidenum">
              <a:rPr lang="en-US"/>
              <a:pPr>
                <a:defRPr/>
              </a:pPr>
              <a:t>‹#›</a:t>
            </a:fld>
            <a:endParaRPr lang="en-US"/>
          </a:p>
        </p:txBody>
      </p:sp>
      <p:sp>
        <p:nvSpPr>
          <p:cNvPr id="3"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Grafik 2"/>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5" name="Picture 11"/>
          <p:cNvPicPr>
            <a:picLocks noChangeAspect="1" noChangeArrowheads="1"/>
          </p:cNvPicPr>
          <p:nvPr/>
        </p:nvPicPr>
        <p:blipFill>
          <a:blip r:embed="rId3" cstate="print"/>
          <a:srcRect/>
          <a:stretch>
            <a:fillRect/>
          </a:stretch>
        </p:blipFill>
        <p:spPr bwMode="gray">
          <a:xfrm>
            <a:off x="671513" y="4119563"/>
            <a:ext cx="1943100" cy="1123950"/>
          </a:xfrm>
          <a:prstGeom prst="rect">
            <a:avLst/>
          </a:prstGeom>
          <a:noFill/>
          <a:ln w="9525">
            <a:noFill/>
            <a:miter lim="800000"/>
            <a:headEnd/>
            <a:tailEnd/>
          </a:ln>
        </p:spPr>
      </p:pic>
      <p:sp>
        <p:nvSpPr>
          <p:cNvPr id="6" name="Line 12"/>
          <p:cNvSpPr>
            <a:spLocks noChangeShapeType="1"/>
          </p:cNvSpPr>
          <p:nvPr/>
        </p:nvSpPr>
        <p:spPr bwMode="gray">
          <a:xfrm>
            <a:off x="3022600" y="4122738"/>
            <a:ext cx="0" cy="1187450"/>
          </a:xfrm>
          <a:prstGeom prst="line">
            <a:avLst/>
          </a:prstGeom>
          <a:noFill/>
          <a:ln w="9525">
            <a:solidFill>
              <a:schemeClr val="accent1"/>
            </a:solidFill>
            <a:round/>
            <a:headEnd/>
            <a:tailEnd/>
          </a:ln>
          <a:effectLst/>
          <a:extLst>
            <a:ext uri="{909E8E84-426E-40DD-AFC4-6F175D3DCCD1}"/>
            <a:ext uri="{AF507438-7753-43E0-B8FC-AC1667EBCBE1}"/>
          </a:extLst>
        </p:spPr>
        <p:txBody>
          <a:bodyPr/>
          <a:lstStyle/>
          <a:p>
            <a:pPr algn="ctr">
              <a:defRPr/>
            </a:pPr>
            <a:endParaRPr lang="en-US" dirty="0"/>
          </a:p>
        </p:txBody>
      </p:sp>
      <p:pic>
        <p:nvPicPr>
          <p:cNvPr id="7" name="Grafik 13"/>
          <p:cNvPicPr>
            <a:picLocks noChangeAspect="1"/>
          </p:cNvPicPr>
          <p:nvPr userDrawn="1"/>
        </p:nvPicPr>
        <p:blipFill>
          <a:blip r:embed="rId4" cstate="print"/>
          <a:srcRect/>
          <a:stretch>
            <a:fillRect/>
          </a:stretch>
        </p:blipFill>
        <p:spPr bwMode="auto">
          <a:xfrm>
            <a:off x="0" y="0"/>
            <a:ext cx="9144000" cy="6858000"/>
          </a:xfrm>
          <a:prstGeom prst="rect">
            <a:avLst/>
          </a:prstGeom>
          <a:noFill/>
          <a:ln w="9525">
            <a:noFill/>
            <a:miter lim="800000"/>
            <a:headEnd/>
            <a:tailEnd/>
          </a:ln>
        </p:spPr>
      </p:pic>
      <p:sp>
        <p:nvSpPr>
          <p:cNvPr id="40963" name="Rectangle 3"/>
          <p:cNvSpPr>
            <a:spLocks noGrp="1" noChangeArrowheads="1"/>
          </p:cNvSpPr>
          <p:nvPr>
            <p:ph type="ctrTitle"/>
          </p:nvPr>
        </p:nvSpPr>
        <p:spPr>
          <a:xfrm>
            <a:off x="3381375" y="4497388"/>
            <a:ext cx="5286375" cy="442912"/>
          </a:xfrm>
        </p:spPr>
        <p:txBody>
          <a:bodyPr/>
          <a:lstStyle>
            <a:lvl1pPr>
              <a:defRPr/>
            </a:lvl1pPr>
          </a:lstStyle>
          <a:p>
            <a:pPr lvl="0"/>
            <a:r>
              <a:rPr lang="en-GB" noProof="0" smtClean="0"/>
              <a:t>Headline</a:t>
            </a:r>
          </a:p>
        </p:txBody>
      </p:sp>
      <p:sp>
        <p:nvSpPr>
          <p:cNvPr id="40964" name="Rectangle 4"/>
          <p:cNvSpPr>
            <a:spLocks noGrp="1" noChangeArrowheads="1"/>
          </p:cNvSpPr>
          <p:nvPr>
            <p:ph type="subTitle" idx="1"/>
          </p:nvPr>
        </p:nvSpPr>
        <p:spPr>
          <a:xfrm>
            <a:off x="3381375" y="4976813"/>
            <a:ext cx="5289550" cy="309562"/>
          </a:xfrm>
        </p:spPr>
        <p:txBody>
          <a:bodyPr/>
          <a:lstStyle>
            <a:lvl1pPr>
              <a:defRPr sz="2000"/>
            </a:lvl1pPr>
          </a:lstStyle>
          <a:p>
            <a:pPr lvl="0"/>
            <a:r>
              <a:rPr lang="en-GB" noProof="0" smtClean="0"/>
              <a:t>Subheadline</a:t>
            </a:r>
          </a:p>
        </p:txBody>
      </p:sp>
    </p:spTree>
  </p:cSld>
  <p:clrMapOvr>
    <a:masterClrMapping/>
  </p:clrMapOvr>
  <p:transition>
    <p:split orient="vert"/>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Foliennummernplatzhalter 1"/>
          <p:cNvSpPr>
            <a:spLocks noGrp="1"/>
          </p:cNvSpPr>
          <p:nvPr>
            <p:ph type="sldNum" sz="quarter" idx="10"/>
          </p:nvPr>
        </p:nvSpPr>
        <p:spPr/>
        <p:txBody>
          <a:bodyPr/>
          <a:lstStyle>
            <a:lvl1pPr>
              <a:defRPr/>
            </a:lvl1pPr>
          </a:lstStyle>
          <a:p>
            <a:pPr>
              <a:defRPr/>
            </a:pPr>
            <a:r>
              <a:rPr lang="en-US"/>
              <a:t>Page </a:t>
            </a:r>
            <a:fld id="{E3F2C4D0-4C3B-4491-9AB4-70F75FD4FB12}" type="slidenum">
              <a:rPr lang="en-US"/>
              <a:pPr>
                <a:defRPr/>
              </a:pPr>
              <a:t>‹#›</a:t>
            </a:fld>
            <a:endParaRPr lang="en-US"/>
          </a:p>
        </p:txBody>
      </p:sp>
      <p:sp>
        <p:nvSpPr>
          <p:cNvPr id="5"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en-US"/>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
        <p:nvSpPr>
          <p:cNvPr id="4" name="Foliennummernplatzhalter 1"/>
          <p:cNvSpPr>
            <a:spLocks noGrp="1"/>
          </p:cNvSpPr>
          <p:nvPr>
            <p:ph type="sldNum" sz="quarter" idx="10"/>
          </p:nvPr>
        </p:nvSpPr>
        <p:spPr/>
        <p:txBody>
          <a:bodyPr/>
          <a:lstStyle>
            <a:lvl1pPr>
              <a:defRPr/>
            </a:lvl1pPr>
          </a:lstStyle>
          <a:p>
            <a:pPr>
              <a:defRPr/>
            </a:pPr>
            <a:r>
              <a:rPr lang="en-US"/>
              <a:t>Page </a:t>
            </a:r>
            <a:fld id="{C870C799-37C9-4B8E-8C8B-181396D131F3}" type="slidenum">
              <a:rPr lang="en-US"/>
              <a:pPr>
                <a:defRPr/>
              </a:pPr>
              <a:t>‹#›</a:t>
            </a:fld>
            <a:endParaRPr lang="en-US"/>
          </a:p>
        </p:txBody>
      </p:sp>
      <p:sp>
        <p:nvSpPr>
          <p:cNvPr id="5"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sz="half" idx="1"/>
          </p:nvPr>
        </p:nvSpPr>
        <p:spPr>
          <a:xfrm>
            <a:off x="466725" y="1628775"/>
            <a:ext cx="4027488"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Inhaltsplatzhalter 3"/>
          <p:cNvSpPr>
            <a:spLocks noGrp="1"/>
          </p:cNvSpPr>
          <p:nvPr>
            <p:ph sz="half" idx="2"/>
          </p:nvPr>
        </p:nvSpPr>
        <p:spPr>
          <a:xfrm>
            <a:off x="4646613" y="1628775"/>
            <a:ext cx="4029075"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5" name="Foliennummernplatzhalter 1"/>
          <p:cNvSpPr>
            <a:spLocks noGrp="1"/>
          </p:cNvSpPr>
          <p:nvPr>
            <p:ph type="sldNum" sz="quarter" idx="10"/>
          </p:nvPr>
        </p:nvSpPr>
        <p:spPr/>
        <p:txBody>
          <a:bodyPr/>
          <a:lstStyle>
            <a:lvl1pPr>
              <a:defRPr/>
            </a:lvl1pPr>
          </a:lstStyle>
          <a:p>
            <a:pPr>
              <a:defRPr/>
            </a:pPr>
            <a:r>
              <a:rPr lang="en-US"/>
              <a:t>Page </a:t>
            </a:r>
            <a:fld id="{E87A4A9F-E435-486E-9F86-224121E55E1C}" type="slidenum">
              <a:rPr lang="en-US"/>
              <a:pPr>
                <a:defRPr/>
              </a:pPr>
              <a:t>‹#›</a:t>
            </a:fld>
            <a:endParaRPr lang="en-US"/>
          </a:p>
        </p:txBody>
      </p:sp>
      <p:sp>
        <p:nvSpPr>
          <p:cNvPr id="6"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Foliennummernplatzhalter 1"/>
          <p:cNvSpPr>
            <a:spLocks noGrp="1"/>
          </p:cNvSpPr>
          <p:nvPr>
            <p:ph type="sldNum" sz="quarter" idx="10"/>
          </p:nvPr>
        </p:nvSpPr>
        <p:spPr/>
        <p:txBody>
          <a:bodyPr/>
          <a:lstStyle>
            <a:lvl1pPr>
              <a:defRPr/>
            </a:lvl1pPr>
          </a:lstStyle>
          <a:p>
            <a:pPr>
              <a:defRPr/>
            </a:pPr>
            <a:r>
              <a:rPr lang="en-US"/>
              <a:t>Page </a:t>
            </a:r>
            <a:fld id="{5AA05878-F462-4BEB-BA5E-FD5611568270}" type="slidenum">
              <a:rPr lang="en-US"/>
              <a:pPr>
                <a:defRPr/>
              </a:pPr>
              <a:t>‹#›</a:t>
            </a:fld>
            <a:endParaRPr lang="en-US"/>
          </a:p>
        </p:txBody>
      </p:sp>
      <p:sp>
        <p:nvSpPr>
          <p:cNvPr id="4"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en-US"/>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
        <p:nvSpPr>
          <p:cNvPr id="4" name="Foliennummernplatzhalter 1"/>
          <p:cNvSpPr>
            <a:spLocks noGrp="1"/>
          </p:cNvSpPr>
          <p:nvPr>
            <p:ph type="sldNum" sz="quarter" idx="10"/>
          </p:nvPr>
        </p:nvSpPr>
        <p:spPr/>
        <p:txBody>
          <a:bodyPr/>
          <a:lstStyle>
            <a:lvl1pPr>
              <a:defRPr/>
            </a:lvl1pPr>
          </a:lstStyle>
          <a:p>
            <a:pPr>
              <a:defRPr/>
            </a:pPr>
            <a:r>
              <a:rPr lang="en-US"/>
              <a:t>Page </a:t>
            </a:r>
            <a:fld id="{F46B3C7D-4A93-491A-8105-FC5B723A22C7}" type="slidenum">
              <a:rPr lang="en-US"/>
              <a:pPr>
                <a:defRPr/>
              </a:pPr>
              <a:t>‹#›</a:t>
            </a:fld>
            <a:endParaRPr lang="en-US"/>
          </a:p>
        </p:txBody>
      </p:sp>
      <p:sp>
        <p:nvSpPr>
          <p:cNvPr id="5"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lvl1pPr>
              <a:defRPr/>
            </a:lvl1pPr>
          </a:lstStyle>
          <a:p>
            <a:pPr>
              <a:defRPr/>
            </a:pPr>
            <a:r>
              <a:rPr lang="en-US"/>
              <a:t>Page </a:t>
            </a:r>
            <a:fld id="{AED05528-8FD2-4779-AEE4-CAAED1E5D107}" type="slidenum">
              <a:rPr lang="en-US"/>
              <a:pPr>
                <a:defRPr/>
              </a:pPr>
              <a:t>‹#›</a:t>
            </a:fld>
            <a:endParaRPr lang="en-US"/>
          </a:p>
        </p:txBody>
      </p:sp>
      <p:sp>
        <p:nvSpPr>
          <p:cNvPr id="3"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cxnSp>
        <p:nvCxnSpPr>
          <p:cNvPr id="4" name="Straight Connector 7"/>
          <p:cNvCxnSpPr/>
          <p:nvPr/>
        </p:nvCxnSpPr>
        <p:spPr>
          <a:xfrm>
            <a:off x="685800" y="3398838"/>
            <a:ext cx="7848600" cy="158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685800" y="1371600"/>
            <a:ext cx="7848600" cy="1927225"/>
          </a:xfrm>
        </p:spPr>
        <p:txBody>
          <a:bodyPr anchor="b">
            <a:noAutofit/>
          </a:bodyPr>
          <a:lstStyle>
            <a:lvl1pPr>
              <a:defRPr sz="5400" cap="all" baseline="0"/>
            </a:lvl1pPr>
          </a:lstStyle>
          <a:p>
            <a:r>
              <a:rPr lang="en-US" smtClean="0"/>
              <a:t>Click to edit Master title style</a:t>
            </a:r>
            <a:endParaRPr lang="en-US" dirty="0"/>
          </a:p>
        </p:txBody>
      </p:sp>
      <p:sp>
        <p:nvSpPr>
          <p:cNvPr id="3" name="Subtitle 2"/>
          <p:cNvSpPr>
            <a:spLocks noGrp="1"/>
          </p:cNvSpPr>
          <p:nvPr>
            <p:ph type="subTitle" idx="1"/>
          </p:nvPr>
        </p:nvSpPr>
        <p:spPr>
          <a:xfrm>
            <a:off x="685800" y="3505200"/>
            <a:ext cx="6400800" cy="1752600"/>
          </a:xfrm>
        </p:spPr>
        <p:txBody>
          <a:bodyPr/>
          <a:lstStyle>
            <a:lvl1pPr marL="0" indent="0" algn="l">
              <a:buNone/>
              <a:defRPr>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F471D7BF-D364-4218-869C-16BD5330BD47}" type="datetime2">
              <a:rPr lang="en-US"/>
              <a:pPr>
                <a:defRPr/>
              </a:pPr>
              <a:t>Tuesday, May 06, 2014</a:t>
            </a:fld>
            <a:endParaRPr lang="en-US" dirty="0"/>
          </a:p>
        </p:txBody>
      </p:sp>
      <p:sp>
        <p:nvSpPr>
          <p:cNvPr id="6" name="Footer Placeholder 4"/>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
        <p:nvSpPr>
          <p:cNvPr id="7" name="Slide Number Placeholder 5"/>
          <p:cNvSpPr>
            <a:spLocks noGrp="1"/>
          </p:cNvSpPr>
          <p:nvPr>
            <p:ph type="sldNum" sz="quarter" idx="12"/>
          </p:nvPr>
        </p:nvSpPr>
        <p:spPr/>
        <p:txBody>
          <a:bodyPr/>
          <a:lstStyle>
            <a:lvl1pPr>
              <a:defRPr/>
            </a:lvl1pPr>
          </a:lstStyle>
          <a:p>
            <a:pPr>
              <a:defRPr/>
            </a:pPr>
            <a:r>
              <a:rPr lang="en-US"/>
              <a:t>Page </a:t>
            </a:r>
            <a:fld id="{CF144EB6-8219-47F3-919E-8608A886E507}" type="slidenum">
              <a:rPr lang="en-US"/>
              <a:pPr>
                <a:defRPr/>
              </a:pPr>
              <a:t>‹#›</a:t>
            </a:fld>
            <a:endParaRPr lang="en-US"/>
          </a:p>
        </p:txBody>
      </p:sp>
    </p:spTree>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BB046AED-6294-49B1-B77F-00BA2AEC8105}" type="datetime2">
              <a:rPr lang="en-US"/>
              <a:pPr>
                <a:defRPr/>
              </a:pPr>
              <a:t>Tuesday, May 06, 2014</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
        <p:nvSpPr>
          <p:cNvPr id="6" name="Slide Number Placeholder 5"/>
          <p:cNvSpPr>
            <a:spLocks noGrp="1"/>
          </p:cNvSpPr>
          <p:nvPr>
            <p:ph type="sldNum" sz="quarter" idx="12"/>
          </p:nvPr>
        </p:nvSpPr>
        <p:spPr/>
        <p:txBody>
          <a:bodyPr/>
          <a:lstStyle>
            <a:lvl1pPr>
              <a:defRPr/>
            </a:lvl1pPr>
          </a:lstStyle>
          <a:p>
            <a:pPr>
              <a:defRPr/>
            </a:pPr>
            <a:r>
              <a:rPr lang="en-US"/>
              <a:t>Page </a:t>
            </a:r>
            <a:fld id="{C5B8ECAC-E395-4B1A-AA10-589238ECAE4A}" type="slidenum">
              <a:rPr lang="en-US"/>
              <a:pPr>
                <a:defRPr/>
              </a:pPr>
              <a:t>‹#›</a:t>
            </a:fld>
            <a:endParaRPr lang="en-US"/>
          </a:p>
        </p:txBody>
      </p:sp>
    </p:spTree>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bg>
      <p:bgRef idx="1001">
        <a:schemeClr val="bg2"/>
      </p:bgRef>
    </p:bg>
    <p:spTree>
      <p:nvGrpSpPr>
        <p:cNvPr id="1" name=""/>
        <p:cNvGrpSpPr/>
        <p:nvPr/>
      </p:nvGrpSpPr>
      <p:grpSpPr>
        <a:xfrm>
          <a:off x="0" y="0"/>
          <a:ext cx="0" cy="0"/>
          <a:chOff x="0" y="0"/>
          <a:chExt cx="0" cy="0"/>
        </a:xfrm>
      </p:grpSpPr>
      <p:cxnSp>
        <p:nvCxnSpPr>
          <p:cNvPr id="4" name="Straight Connector 6"/>
          <p:cNvCxnSpPr/>
          <p:nvPr/>
        </p:nvCxnSpPr>
        <p:spPr>
          <a:xfrm>
            <a:off x="731838" y="4598988"/>
            <a:ext cx="7848600" cy="158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722313" y="2362200"/>
            <a:ext cx="7772400" cy="2200275"/>
          </a:xfrm>
        </p:spPr>
        <p:txBody>
          <a:bodyPr anchor="b"/>
          <a:lstStyle>
            <a:lvl1pPr algn="l">
              <a:defRPr sz="4800" b="0"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4626864"/>
            <a:ext cx="7772400" cy="1500187"/>
          </a:xfrm>
        </p:spPr>
        <p:txBody>
          <a:bodyPr>
            <a:normAutofit/>
          </a:bodyPr>
          <a:lstStyle>
            <a:lvl1pPr marL="0" indent="0">
              <a:buNone/>
              <a:defRPr sz="2400">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479C4CD8-1471-4971-B1DB-A02EA63C6301}" type="datetime2">
              <a:rPr lang="en-US"/>
              <a:pPr>
                <a:defRPr/>
              </a:pPr>
              <a:t>Tuesday, May 06, 2014</a:t>
            </a:fld>
            <a:endParaRPr lang="en-US" dirty="0"/>
          </a:p>
        </p:txBody>
      </p:sp>
      <p:sp>
        <p:nvSpPr>
          <p:cNvPr id="6" name="Footer Placeholder 4"/>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
        <p:nvSpPr>
          <p:cNvPr id="7" name="Slide Number Placeholder 5"/>
          <p:cNvSpPr>
            <a:spLocks noGrp="1"/>
          </p:cNvSpPr>
          <p:nvPr>
            <p:ph type="sldNum" sz="quarter" idx="12"/>
          </p:nvPr>
        </p:nvSpPr>
        <p:spPr/>
        <p:txBody>
          <a:bodyPr/>
          <a:lstStyle>
            <a:lvl1pPr>
              <a:defRPr/>
            </a:lvl1pPr>
          </a:lstStyle>
          <a:p>
            <a:pPr>
              <a:defRPr/>
            </a:pPr>
            <a:r>
              <a:rPr lang="en-US"/>
              <a:t>Page </a:t>
            </a:r>
            <a:fld id="{24CCA09F-DB57-4204-A58A-BC7E1AE620A3}" type="slidenum">
              <a:rPr lang="en-US"/>
              <a:pPr>
                <a:defRPr/>
              </a:pPr>
              <a:t>‹#›</a:t>
            </a:fld>
            <a:endParaRPr lang="en-US"/>
          </a:p>
        </p:txBody>
      </p:sp>
    </p:spTree>
  </p:cSld>
  <p:clrMapOvr>
    <a:overrideClrMapping bg1="dk1" tx1="lt1" bg2="dk2" tx2="lt2" accent1="accent1" accent2="accent2" accent3="accent3" accent4="accent4" accent5="accent5" accent6="accent6" hlink="hlink" folHlink="folHlink"/>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73352"/>
            <a:ext cx="40386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673352"/>
            <a:ext cx="4038600" cy="4718304"/>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3"/>
          <p:cNvSpPr>
            <a:spLocks noGrp="1"/>
          </p:cNvSpPr>
          <p:nvPr>
            <p:ph type="dt" sz="half" idx="10"/>
          </p:nvPr>
        </p:nvSpPr>
        <p:spPr/>
        <p:txBody>
          <a:bodyPr/>
          <a:lstStyle>
            <a:lvl1pPr>
              <a:defRPr/>
            </a:lvl1pPr>
          </a:lstStyle>
          <a:p>
            <a:pPr>
              <a:defRPr/>
            </a:pPr>
            <a:fld id="{003B436C-E90C-4330-9538-3B2A2EF463B2}" type="datetime2">
              <a:rPr lang="en-US"/>
              <a:pPr>
                <a:defRPr/>
              </a:pPr>
              <a:t>Tuesday, May 06, 2014</a:t>
            </a:fld>
            <a:endParaRPr lang="en-US" dirty="0"/>
          </a:p>
        </p:txBody>
      </p:sp>
      <p:sp>
        <p:nvSpPr>
          <p:cNvPr id="6" name="Footer Placeholder 4"/>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
        <p:nvSpPr>
          <p:cNvPr id="7" name="Slide Number Placeholder 5"/>
          <p:cNvSpPr>
            <a:spLocks noGrp="1"/>
          </p:cNvSpPr>
          <p:nvPr>
            <p:ph type="sldNum" sz="quarter" idx="12"/>
          </p:nvPr>
        </p:nvSpPr>
        <p:spPr/>
        <p:txBody>
          <a:bodyPr/>
          <a:lstStyle>
            <a:lvl1pPr>
              <a:defRPr/>
            </a:lvl1pPr>
          </a:lstStyle>
          <a:p>
            <a:pPr>
              <a:defRPr/>
            </a:pPr>
            <a:r>
              <a:rPr lang="en-US"/>
              <a:t>Page </a:t>
            </a:r>
            <a:fld id="{AE950281-0B02-4A49-90E5-7047EEBCC073}" type="slidenum">
              <a:rPr lang="en-US"/>
              <a:pPr>
                <a:defRPr/>
              </a:pPr>
              <a:t>‹#›</a:t>
            </a:fld>
            <a:endParaRPr lang="en-US"/>
          </a:p>
        </p:txBody>
      </p:sp>
    </p:spTree>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cxnSp>
        <p:nvCxnSpPr>
          <p:cNvPr id="7" name="Straight Connector 10"/>
          <p:cNvCxnSpPr/>
          <p:nvPr/>
        </p:nvCxnSpPr>
        <p:spPr>
          <a:xfrm rot="5400000">
            <a:off x="2218531" y="4045744"/>
            <a:ext cx="4708525"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1676400"/>
            <a:ext cx="3931920" cy="639762"/>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sz="20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438400"/>
            <a:ext cx="39319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754880" y="1676400"/>
            <a:ext cx="3931920" cy="639762"/>
          </a:xfrm>
          <a:noFill/>
          <a:ln>
            <a:noFill/>
          </a:ln>
          <a:effectLst/>
        </p:spPr>
        <p:style>
          <a:lnRef idx="3">
            <a:schemeClr val="lt1"/>
          </a:lnRef>
          <a:fillRef idx="1">
            <a:schemeClr val="accent2"/>
          </a:fillRef>
          <a:effectRef idx="1">
            <a:schemeClr val="accent2"/>
          </a:effectRef>
          <a:fontRef idx="none"/>
        </p:style>
        <p:txBody>
          <a:bodyPr anchor="ctr">
            <a:normAutofit/>
          </a:bodyPr>
          <a:lstStyle>
            <a:lvl1pPr marL="0" indent="0" algn="ctr">
              <a:buNone/>
              <a:defRPr lang="en-US" sz="2000" b="0" kern="1200" dirty="0" smtClean="0">
                <a:solidFill>
                  <a:schemeClr val="tx2"/>
                </a:solidFill>
                <a:latin typeface="+mn-lt"/>
                <a:ea typeface="+mn-ea"/>
                <a:cs typeface="+mn-cs"/>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754880" y="2438400"/>
            <a:ext cx="393192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8" name="Date Placeholder 6"/>
          <p:cNvSpPr>
            <a:spLocks noGrp="1"/>
          </p:cNvSpPr>
          <p:nvPr>
            <p:ph type="dt" sz="half" idx="10"/>
          </p:nvPr>
        </p:nvSpPr>
        <p:spPr/>
        <p:txBody>
          <a:bodyPr/>
          <a:lstStyle>
            <a:lvl1pPr>
              <a:defRPr/>
            </a:lvl1pPr>
          </a:lstStyle>
          <a:p>
            <a:pPr>
              <a:defRPr/>
            </a:pPr>
            <a:fld id="{794E3AF6-74A7-4ADD-A93E-12DCD5C8A51E}" type="datetime2">
              <a:rPr lang="en-US"/>
              <a:pPr>
                <a:defRPr/>
              </a:pPr>
              <a:t>Tuesday, May 06, 2014</a:t>
            </a:fld>
            <a:endParaRPr lang="en-US" dirty="0"/>
          </a:p>
        </p:txBody>
      </p:sp>
      <p:sp>
        <p:nvSpPr>
          <p:cNvPr id="9" name="Footer Placeholder 7"/>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
        <p:nvSpPr>
          <p:cNvPr id="10" name="Slide Number Placeholder 8"/>
          <p:cNvSpPr>
            <a:spLocks noGrp="1"/>
          </p:cNvSpPr>
          <p:nvPr>
            <p:ph type="sldNum" sz="quarter" idx="12"/>
          </p:nvPr>
        </p:nvSpPr>
        <p:spPr/>
        <p:txBody>
          <a:bodyPr/>
          <a:lstStyle>
            <a:lvl1pPr>
              <a:defRPr/>
            </a:lvl1pPr>
          </a:lstStyle>
          <a:p>
            <a:pPr>
              <a:defRPr/>
            </a:pPr>
            <a:r>
              <a:rPr lang="en-US"/>
              <a:t>Page </a:t>
            </a:r>
            <a:fld id="{88B06D0E-A7D1-4853-8263-BD0346F71824}" type="slidenum">
              <a:rPr lang="en-US"/>
              <a:pPr>
                <a:defRPr/>
              </a:pPr>
              <a:t>‹#›</a:t>
            </a:fld>
            <a:endParaRPr lang="en-US"/>
          </a:p>
        </p:txBody>
      </p:sp>
    </p:spTree>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BCF6192F-8B1E-4A21-840E-210694E7F448}" type="datetime2">
              <a:rPr lang="en-US"/>
              <a:pPr>
                <a:defRPr/>
              </a:pPr>
              <a:t>Tuesday, May 06, 2014</a:t>
            </a:fld>
            <a:endParaRPr lang="en-US" dirty="0"/>
          </a:p>
        </p:txBody>
      </p:sp>
      <p:sp>
        <p:nvSpPr>
          <p:cNvPr id="4" name="Footer Placeholder 4"/>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
        <p:nvSpPr>
          <p:cNvPr id="5" name="Slide Number Placeholder 5"/>
          <p:cNvSpPr>
            <a:spLocks noGrp="1"/>
          </p:cNvSpPr>
          <p:nvPr>
            <p:ph type="sldNum" sz="quarter" idx="12"/>
          </p:nvPr>
        </p:nvSpPr>
        <p:spPr/>
        <p:txBody>
          <a:bodyPr/>
          <a:lstStyle>
            <a:lvl1pPr>
              <a:defRPr/>
            </a:lvl1pPr>
          </a:lstStyle>
          <a:p>
            <a:pPr>
              <a:defRPr/>
            </a:pPr>
            <a:r>
              <a:rPr lang="en-US"/>
              <a:t>Page </a:t>
            </a:r>
            <a:fld id="{90B598D9-C0A6-47A8-B9E9-BCCE2428E77B}" type="slidenum">
              <a:rPr lang="en-US"/>
              <a:pPr>
                <a:defRPr/>
              </a:pPr>
              <a:t>‹#›</a:t>
            </a:fld>
            <a:endParaRPr lang="en-US"/>
          </a:p>
        </p:txBody>
      </p:sp>
    </p:spTree>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88539B56-D2A3-4312-B2CD-752D07B05FEE}" type="datetime2">
              <a:rPr lang="en-US"/>
              <a:pPr>
                <a:defRPr/>
              </a:pPr>
              <a:t>Tuesday, May 06, 2014</a:t>
            </a:fld>
            <a:endParaRPr lang="en-US" dirty="0"/>
          </a:p>
        </p:txBody>
      </p:sp>
      <p:sp>
        <p:nvSpPr>
          <p:cNvPr id="3" name="Footer Placeholder 4"/>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
        <p:nvSpPr>
          <p:cNvPr id="4" name="Slide Number Placeholder 5"/>
          <p:cNvSpPr>
            <a:spLocks noGrp="1"/>
          </p:cNvSpPr>
          <p:nvPr>
            <p:ph type="sldNum" sz="quarter" idx="12"/>
          </p:nvPr>
        </p:nvSpPr>
        <p:spPr/>
        <p:txBody>
          <a:bodyPr/>
          <a:lstStyle>
            <a:lvl1pPr>
              <a:defRPr/>
            </a:lvl1pPr>
          </a:lstStyle>
          <a:p>
            <a:pPr>
              <a:defRPr/>
            </a:pPr>
            <a:r>
              <a:rPr lang="en-US"/>
              <a:t>Page </a:t>
            </a:r>
            <a:fld id="{7A17C586-020F-40D3-99DA-6424098A27C7}" type="slidenum">
              <a:rPr lang="en-US"/>
              <a:pPr>
                <a:defRPr/>
              </a:pPr>
              <a:t>‹#›</a:t>
            </a:fld>
            <a:endParaRPr lang="en-US"/>
          </a:p>
        </p:txBody>
      </p:sp>
    </p:spTree>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cxnSp>
        <p:nvCxnSpPr>
          <p:cNvPr id="5" name="Straight Connector 8"/>
          <p:cNvCxnSpPr/>
          <p:nvPr/>
        </p:nvCxnSpPr>
        <p:spPr>
          <a:xfrm rot="5400000">
            <a:off x="-13494" y="3580607"/>
            <a:ext cx="5578475" cy="158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57200" y="792080"/>
            <a:ext cx="2139696" cy="1261872"/>
          </a:xfrm>
        </p:spPr>
        <p:txBody>
          <a:bodyPr anchor="b">
            <a:noAutofit/>
          </a:bodyPr>
          <a:lstStyle>
            <a:lvl1pPr algn="l">
              <a:defRPr sz="2400" b="0"/>
            </a:lvl1pPr>
          </a:lstStyle>
          <a:p>
            <a:r>
              <a:rPr lang="en-US" smtClean="0"/>
              <a:t>Click to edit Master title style</a:t>
            </a:r>
            <a:endParaRPr lang="en-US" dirty="0"/>
          </a:p>
        </p:txBody>
      </p:sp>
      <p:sp>
        <p:nvSpPr>
          <p:cNvPr id="3" name="Content Placeholder 2"/>
          <p:cNvSpPr>
            <a:spLocks noGrp="1"/>
          </p:cNvSpPr>
          <p:nvPr>
            <p:ph idx="1"/>
          </p:nvPr>
        </p:nvSpPr>
        <p:spPr>
          <a:xfrm>
            <a:off x="2971800" y="792080"/>
            <a:ext cx="5715000" cy="557784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1" y="2130552"/>
            <a:ext cx="2139696" cy="424361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6" name="Date Placeholder 4"/>
          <p:cNvSpPr>
            <a:spLocks noGrp="1"/>
          </p:cNvSpPr>
          <p:nvPr>
            <p:ph type="dt" sz="half" idx="10"/>
          </p:nvPr>
        </p:nvSpPr>
        <p:spPr/>
        <p:txBody>
          <a:bodyPr/>
          <a:lstStyle>
            <a:lvl1pPr>
              <a:defRPr/>
            </a:lvl1pPr>
          </a:lstStyle>
          <a:p>
            <a:pPr>
              <a:defRPr/>
            </a:pPr>
            <a:fld id="{92570987-D095-483E-A555-BF73B7B42D76}" type="datetime2">
              <a:rPr lang="en-US"/>
              <a:pPr>
                <a:defRPr/>
              </a:pPr>
              <a:t>Tuesday, May 06, 2014</a:t>
            </a:fld>
            <a:endParaRPr lang="en-US" dirty="0"/>
          </a:p>
        </p:txBody>
      </p:sp>
      <p:sp>
        <p:nvSpPr>
          <p:cNvPr id="7" name="Footer Placeholder 5"/>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
        <p:nvSpPr>
          <p:cNvPr id="8" name="Slide Number Placeholder 6"/>
          <p:cNvSpPr>
            <a:spLocks noGrp="1"/>
          </p:cNvSpPr>
          <p:nvPr>
            <p:ph type="sldNum" sz="quarter" idx="12"/>
          </p:nvPr>
        </p:nvSpPr>
        <p:spPr/>
        <p:txBody>
          <a:bodyPr/>
          <a:lstStyle>
            <a:lvl1pPr>
              <a:defRPr/>
            </a:lvl1pPr>
          </a:lstStyle>
          <a:p>
            <a:pPr>
              <a:defRPr/>
            </a:pPr>
            <a:r>
              <a:rPr lang="en-US"/>
              <a:t>Page </a:t>
            </a:r>
            <a:fld id="{2218E612-B49D-47A3-AAC6-FCC70A9C75D1}" type="slidenum">
              <a:rPr lang="en-US"/>
              <a:pPr>
                <a:defRPr/>
              </a:pPr>
              <a:t>‹#›</a:t>
            </a:fld>
            <a:endParaRPr lang="en-US"/>
          </a:p>
        </p:txBody>
      </p:sp>
    </p:spTree>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792480"/>
            <a:ext cx="2142680" cy="1264920"/>
          </a:xfrm>
        </p:spPr>
        <p:txBody>
          <a:bodyPr anchor="b"/>
          <a:lstStyle>
            <a:lvl1pPr algn="l">
              <a:defRPr sz="2400" b="0"/>
            </a:lvl1pPr>
          </a:lstStyle>
          <a:p>
            <a:r>
              <a:rPr lang="en-US" smtClean="0"/>
              <a:t>Click to edit Master title style</a:t>
            </a:r>
            <a:endParaRPr lang="en-US" dirty="0"/>
          </a:p>
        </p:txBody>
      </p:sp>
      <p:sp>
        <p:nvSpPr>
          <p:cNvPr id="3" name="Picture Placeholder 2"/>
          <p:cNvSpPr>
            <a:spLocks noGrp="1"/>
          </p:cNvSpPr>
          <p:nvPr>
            <p:ph type="pic" idx="1"/>
          </p:nvPr>
        </p:nvSpPr>
        <p:spPr>
          <a:xfrm>
            <a:off x="2858610" y="838201"/>
            <a:ext cx="5904390" cy="5500456"/>
          </a:xfrm>
          <a:solidFill>
            <a:schemeClr val="bg2"/>
          </a:solidFill>
          <a:ln w="76200">
            <a:solidFill>
              <a:srgbClr val="FFFFFF"/>
            </a:solidFill>
            <a:miter lim="800000"/>
          </a:ln>
          <a:effectLst>
            <a:outerShdw blurRad="50800" dist="12700" dir="5400000" algn="t" rotWithShape="0">
              <a:prstClr val="black">
                <a:alpha val="59000"/>
              </a:prstClr>
            </a:outerShdw>
          </a:effectLst>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endParaRPr lang="en-US" noProof="0" dirty="0"/>
          </a:p>
        </p:txBody>
      </p:sp>
      <p:sp>
        <p:nvSpPr>
          <p:cNvPr id="4" name="Text Placeholder 3"/>
          <p:cNvSpPr>
            <a:spLocks noGrp="1"/>
          </p:cNvSpPr>
          <p:nvPr>
            <p:ph type="body" sz="half" idx="2"/>
          </p:nvPr>
        </p:nvSpPr>
        <p:spPr>
          <a:xfrm>
            <a:off x="457200" y="2133600"/>
            <a:ext cx="2139696" cy="424281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A01E0C8-B11E-41CB-8070-F01094C04056}" type="datetime2">
              <a:rPr lang="en-US"/>
              <a:pPr>
                <a:defRPr/>
              </a:pPr>
              <a:t>Tuesday, May 06, 2014</a:t>
            </a:fld>
            <a:endParaRPr lang="en-US" dirty="0"/>
          </a:p>
        </p:txBody>
      </p:sp>
      <p:sp>
        <p:nvSpPr>
          <p:cNvPr id="6" name="Footer Placeholder 4"/>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
        <p:nvSpPr>
          <p:cNvPr id="7" name="Slide Number Placeholder 5"/>
          <p:cNvSpPr>
            <a:spLocks noGrp="1"/>
          </p:cNvSpPr>
          <p:nvPr>
            <p:ph type="sldNum" sz="quarter" idx="12"/>
          </p:nvPr>
        </p:nvSpPr>
        <p:spPr/>
        <p:txBody>
          <a:bodyPr/>
          <a:lstStyle>
            <a:lvl1pPr>
              <a:defRPr/>
            </a:lvl1pPr>
          </a:lstStyle>
          <a:p>
            <a:pPr>
              <a:defRPr/>
            </a:pPr>
            <a:r>
              <a:rPr lang="en-US"/>
              <a:t>Page </a:t>
            </a:r>
            <a:fld id="{EEADDA56-2FE3-4A51-8C90-2F19ED52FCCB}" type="slidenum">
              <a:rPr lang="en-US"/>
              <a:pPr>
                <a:defRPr/>
              </a:pPr>
              <a:t>‹#›</a:t>
            </a:fld>
            <a:endParaRPr lang="en-US"/>
          </a:p>
        </p:txBody>
      </p:sp>
    </p:spTree>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sz="half" idx="1"/>
          </p:nvPr>
        </p:nvSpPr>
        <p:spPr>
          <a:xfrm>
            <a:off x="466725" y="1628775"/>
            <a:ext cx="4027488"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Inhaltsplatzhalter 3"/>
          <p:cNvSpPr>
            <a:spLocks noGrp="1"/>
          </p:cNvSpPr>
          <p:nvPr>
            <p:ph sz="half" idx="2"/>
          </p:nvPr>
        </p:nvSpPr>
        <p:spPr>
          <a:xfrm>
            <a:off x="4646613" y="1628775"/>
            <a:ext cx="4029075" cy="45354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5" name="Foliennummernplatzhalter 1"/>
          <p:cNvSpPr>
            <a:spLocks noGrp="1"/>
          </p:cNvSpPr>
          <p:nvPr>
            <p:ph type="sldNum" sz="quarter" idx="10"/>
          </p:nvPr>
        </p:nvSpPr>
        <p:spPr/>
        <p:txBody>
          <a:bodyPr/>
          <a:lstStyle>
            <a:lvl1pPr>
              <a:defRPr/>
            </a:lvl1pPr>
          </a:lstStyle>
          <a:p>
            <a:pPr>
              <a:defRPr/>
            </a:pPr>
            <a:r>
              <a:rPr lang="en-US"/>
              <a:t>Page </a:t>
            </a:r>
            <a:fld id="{EB0BB78D-DCD0-45F6-AD29-0D8C17109A95}" type="slidenum">
              <a:rPr lang="en-US"/>
              <a:pPr>
                <a:defRPr/>
              </a:pPr>
              <a:t>‹#›</a:t>
            </a:fld>
            <a:endParaRPr lang="en-US"/>
          </a:p>
        </p:txBody>
      </p:sp>
      <p:sp>
        <p:nvSpPr>
          <p:cNvPr id="6"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A9B575E-3513-41AE-BA64-21D01E840531}" type="datetime2">
              <a:rPr lang="en-US"/>
              <a:pPr>
                <a:defRPr/>
              </a:pPr>
              <a:t>Tuesday, May 06, 2014</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
        <p:nvSpPr>
          <p:cNvPr id="6" name="Slide Number Placeholder 5"/>
          <p:cNvSpPr>
            <a:spLocks noGrp="1"/>
          </p:cNvSpPr>
          <p:nvPr>
            <p:ph type="sldNum" sz="quarter" idx="12"/>
          </p:nvPr>
        </p:nvSpPr>
        <p:spPr/>
        <p:txBody>
          <a:bodyPr/>
          <a:lstStyle>
            <a:lvl1pPr>
              <a:defRPr/>
            </a:lvl1pPr>
          </a:lstStyle>
          <a:p>
            <a:pPr>
              <a:defRPr/>
            </a:pPr>
            <a:r>
              <a:rPr lang="en-US"/>
              <a:t>Page </a:t>
            </a:r>
            <a:fld id="{8B5D9BC3-3DCF-4DE8-8BA9-B4B4E4DB79B9}" type="slidenum">
              <a:rPr lang="en-US"/>
              <a:pPr>
                <a:defRPr/>
              </a:pPr>
              <a:t>‹#›</a:t>
            </a:fld>
            <a:endParaRPr lang="en-US"/>
          </a:p>
        </p:txBody>
      </p:sp>
    </p:spTree>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609600"/>
            <a:ext cx="2057400" cy="5867400"/>
          </a:xfrm>
        </p:spPr>
        <p:txBody>
          <a:bodyPr vert="eaVert" anchor="b"/>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609600"/>
            <a:ext cx="6019800" cy="5867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lvl1pPr>
              <a:defRPr/>
            </a:lvl1pPr>
          </a:lstStyle>
          <a:p>
            <a:pPr>
              <a:defRPr/>
            </a:pPr>
            <a:fld id="{68631469-637D-4483-A916-D1556426A77C}" type="datetime2">
              <a:rPr lang="en-US"/>
              <a:pPr>
                <a:defRPr/>
              </a:pPr>
              <a:t>Tuesday, May 06, 2014</a:t>
            </a:fld>
            <a:endParaRPr lang="en-US" dirty="0"/>
          </a:p>
        </p:txBody>
      </p:sp>
      <p:sp>
        <p:nvSpPr>
          <p:cNvPr id="5" name="Footer Placeholder 4"/>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
        <p:nvSpPr>
          <p:cNvPr id="6" name="Slide Number Placeholder 5"/>
          <p:cNvSpPr>
            <a:spLocks noGrp="1"/>
          </p:cNvSpPr>
          <p:nvPr>
            <p:ph type="sldNum" sz="quarter" idx="12"/>
          </p:nvPr>
        </p:nvSpPr>
        <p:spPr/>
        <p:txBody>
          <a:bodyPr/>
          <a:lstStyle>
            <a:lvl1pPr>
              <a:defRPr/>
            </a:lvl1pPr>
          </a:lstStyle>
          <a:p>
            <a:pPr>
              <a:defRPr/>
            </a:pPr>
            <a:r>
              <a:rPr lang="en-US"/>
              <a:t>Page </a:t>
            </a:r>
            <a:fld id="{40B2576E-D5A5-4F39-8341-B82AA77D81E2}" type="slidenum">
              <a:rPr lang="en-US"/>
              <a:pPr>
                <a:defRPr/>
              </a:pPr>
              <a:t>‹#›</a:t>
            </a:fld>
            <a:endParaRPr lang="en-US"/>
          </a:p>
        </p:txBody>
      </p:sp>
    </p:spTree>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el 1"/>
          <p:cNvSpPr>
            <a:spLocks noGrp="1"/>
          </p:cNvSpPr>
          <p:nvPr>
            <p:ph type="title"/>
          </p:nvPr>
        </p:nvSpPr>
        <p:spPr bwMode="gray">
          <a:xfrm>
            <a:off x="468313" y="346075"/>
            <a:ext cx="7058024" cy="949325"/>
          </a:xfrm>
        </p:spPr>
        <p:txBody>
          <a:bodyPr/>
          <a:lstStyle>
            <a:lvl1pPr>
              <a:defRPr sz="2400">
                <a:solidFill>
                  <a:schemeClr val="tx1"/>
                </a:solidFill>
              </a:defRPr>
            </a:lvl1pPr>
          </a:lstStyle>
          <a:p>
            <a:r>
              <a:rPr lang="en-US" noProof="0" smtClean="0"/>
              <a:t>Click to edit Master title style</a:t>
            </a:r>
            <a:endParaRPr lang="en-US" noProof="0" dirty="0"/>
          </a:p>
        </p:txBody>
      </p:sp>
      <p:sp>
        <p:nvSpPr>
          <p:cNvPr id="3" name="Foliennummernplatzhalter 3"/>
          <p:cNvSpPr>
            <a:spLocks noGrp="1"/>
          </p:cNvSpPr>
          <p:nvPr>
            <p:ph type="sldNum" sz="quarter" idx="10"/>
          </p:nvPr>
        </p:nvSpPr>
        <p:spPr>
          <a:xfrm>
            <a:off x="360363" y="6424613"/>
            <a:ext cx="482600" cy="433387"/>
          </a:xfrm>
        </p:spPr>
        <p:txBody>
          <a:bodyPr lIns="0" tIns="0" rIns="0" bIns="0"/>
          <a:lstStyle>
            <a:lvl1pPr algn="r">
              <a:defRPr sz="800" dirty="0">
                <a:solidFill>
                  <a:srgbClr val="676767"/>
                </a:solidFill>
              </a:defRPr>
            </a:lvl1pPr>
          </a:lstStyle>
          <a:p>
            <a:pPr>
              <a:defRPr/>
            </a:pPr>
            <a:r>
              <a:rPr lang="en-US"/>
              <a:t>Page </a:t>
            </a:r>
            <a:fld id="{D81F175E-01D7-4B06-B99C-89C0C2AA6C35}" type="slidenum">
              <a:rPr lang="en-US"/>
              <a:pPr>
                <a:defRPr/>
              </a:pPr>
              <a:t>‹#›</a:t>
            </a:fld>
            <a:endParaRPr lang="en-US"/>
          </a:p>
        </p:txBody>
      </p:sp>
    </p:spTree>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3"/>
          <p:cNvSpPr>
            <a:spLocks noGrp="1"/>
          </p:cNvSpPr>
          <p:nvPr>
            <p:ph type="ftr" sz="quarter" idx="10"/>
          </p:nvPr>
        </p:nvSpPr>
        <p:spPr>
          <a:xfrm>
            <a:off x="877888" y="6424613"/>
            <a:ext cx="6002337" cy="433387"/>
          </a:xfrm>
        </p:spPr>
        <p:txBody>
          <a:bodyPr/>
          <a:lstStyle>
            <a:lvl1pPr>
              <a:defRPr>
                <a:solidFill>
                  <a:srgbClr val="676767"/>
                </a:solidFill>
              </a:defRPr>
            </a:lvl1pPr>
          </a:lstStyle>
          <a:p>
            <a:pPr>
              <a:defRPr/>
            </a:pPr>
            <a:endParaRPr lang="en-US"/>
          </a:p>
        </p:txBody>
      </p:sp>
      <p:sp>
        <p:nvSpPr>
          <p:cNvPr id="5" name="Slide Number Placeholder 4"/>
          <p:cNvSpPr>
            <a:spLocks noGrp="1"/>
          </p:cNvSpPr>
          <p:nvPr>
            <p:ph type="sldNum" sz="quarter" idx="11"/>
          </p:nvPr>
        </p:nvSpPr>
        <p:spPr/>
        <p:txBody>
          <a:bodyPr/>
          <a:lstStyle>
            <a:lvl1pPr>
              <a:defRPr>
                <a:solidFill>
                  <a:srgbClr val="676767"/>
                </a:solidFill>
              </a:defRPr>
            </a:lvl1pPr>
          </a:lstStyle>
          <a:p>
            <a:pPr>
              <a:defRPr/>
            </a:pPr>
            <a:r>
              <a:rPr lang="en-US"/>
              <a:t>Page </a:t>
            </a:r>
            <a:fld id="{0196DF19-531B-4541-AFB3-64BBF45BA052}" type="slidenum">
              <a:rPr lang="en-US"/>
              <a:pPr>
                <a:defRPr/>
              </a:pPr>
              <a:t>‹#›</a:t>
            </a:fld>
            <a:endParaRPr lang="en-US"/>
          </a:p>
        </p:txBody>
      </p:sp>
    </p:spTree>
  </p:cSld>
  <p:clrMapOvr>
    <a:masterClrMapping/>
  </p:clrMapOvr>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el 1"/>
          <p:cNvSpPr>
            <a:spLocks noGrp="1"/>
          </p:cNvSpPr>
          <p:nvPr>
            <p:ph type="title"/>
          </p:nvPr>
        </p:nvSpPr>
        <p:spPr bwMode="gray">
          <a:xfrm>
            <a:off x="468313" y="346075"/>
            <a:ext cx="7058024" cy="949325"/>
          </a:xfrm>
        </p:spPr>
        <p:txBody>
          <a:bodyPr/>
          <a:lstStyle>
            <a:lvl1pPr>
              <a:defRPr sz="2400">
                <a:solidFill>
                  <a:schemeClr val="tx1"/>
                </a:solidFill>
              </a:defRPr>
            </a:lvl1pPr>
          </a:lstStyle>
          <a:p>
            <a:r>
              <a:rPr lang="en-US" noProof="0" dirty="0" smtClean="0"/>
              <a:t>Click to edit Master title style</a:t>
            </a:r>
            <a:endParaRPr lang="en-US" noProof="0" dirty="0"/>
          </a:p>
        </p:txBody>
      </p:sp>
      <p:sp>
        <p:nvSpPr>
          <p:cNvPr id="3" name="Foliennummernplatzhalter 1"/>
          <p:cNvSpPr>
            <a:spLocks noGrp="1"/>
          </p:cNvSpPr>
          <p:nvPr>
            <p:ph type="sldNum" sz="quarter" idx="10"/>
          </p:nvPr>
        </p:nvSpPr>
        <p:spPr bwMode="gray">
          <a:xfrm>
            <a:off x="360363" y="6424613"/>
            <a:ext cx="793750" cy="433387"/>
          </a:xfrm>
        </p:spPr>
        <p:txBody>
          <a:bodyPr/>
          <a:lstStyle>
            <a:lvl1pPr marL="0" indent="0" algn="l">
              <a:buFont typeface="Arial" pitchFamily="34" charset="0"/>
              <a:buNone/>
              <a:defRPr sz="800" dirty="0" smtClean="0"/>
            </a:lvl1pPr>
          </a:lstStyle>
          <a:p>
            <a:pPr>
              <a:defRPr/>
            </a:pPr>
            <a:r>
              <a:rPr lang="en-US"/>
              <a:t>Page </a:t>
            </a:r>
            <a:fld id="{C48B66A5-4C06-477E-AF39-C31BAF8F3134}" type="slidenum">
              <a:rPr lang="en-US"/>
              <a:pPr>
                <a:defRPr/>
              </a:pPr>
              <a:t>‹#›</a:t>
            </a:fld>
            <a:endParaRPr lang="en-US"/>
          </a:p>
        </p:txBody>
      </p:sp>
    </p:spTree>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Foliennummernplatzhalter 1"/>
          <p:cNvSpPr>
            <a:spLocks noGrp="1"/>
          </p:cNvSpPr>
          <p:nvPr>
            <p:ph type="sldNum" sz="quarter" idx="10"/>
          </p:nvPr>
        </p:nvSpPr>
        <p:spPr/>
        <p:txBody>
          <a:bodyPr/>
          <a:lstStyle>
            <a:lvl1pPr>
              <a:defRPr/>
            </a:lvl1pPr>
          </a:lstStyle>
          <a:p>
            <a:pPr>
              <a:defRPr/>
            </a:pPr>
            <a:r>
              <a:rPr lang="en-US"/>
              <a:t>Page </a:t>
            </a:r>
            <a:fld id="{7274E55D-9D8A-4CF1-BF20-0232245F3932}" type="slidenum">
              <a:rPr lang="en-US"/>
              <a:pPr>
                <a:defRPr/>
              </a:pPr>
              <a:t>‹#›</a:t>
            </a:fld>
            <a:endParaRPr lang="en-US"/>
          </a:p>
        </p:txBody>
      </p:sp>
      <p:sp>
        <p:nvSpPr>
          <p:cNvPr id="4"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Foliennummernplatzhalter 1"/>
          <p:cNvSpPr>
            <a:spLocks noGrp="1"/>
          </p:cNvSpPr>
          <p:nvPr>
            <p:ph type="sldNum" sz="quarter" idx="10"/>
          </p:nvPr>
        </p:nvSpPr>
        <p:spPr/>
        <p:txBody>
          <a:bodyPr/>
          <a:lstStyle>
            <a:lvl1pPr>
              <a:defRPr/>
            </a:lvl1pPr>
          </a:lstStyle>
          <a:p>
            <a:pPr>
              <a:defRPr/>
            </a:pPr>
            <a:r>
              <a:rPr lang="en-US"/>
              <a:t>Page </a:t>
            </a:r>
            <a:fld id="{89D0F4A7-19FD-4C9B-A346-04D1BBECEFE9}" type="slidenum">
              <a:rPr lang="en-US"/>
              <a:pPr>
                <a:defRPr/>
              </a:pPr>
              <a:t>‹#›</a:t>
            </a:fld>
            <a:endParaRPr lang="en-US"/>
          </a:p>
        </p:txBody>
      </p:sp>
      <p:sp>
        <p:nvSpPr>
          <p:cNvPr id="3"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pic>
        <p:nvPicPr>
          <p:cNvPr id="4" name="Grafik 1"/>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pic>
        <p:nvPicPr>
          <p:cNvPr id="5" name="Picture 11"/>
          <p:cNvPicPr>
            <a:picLocks noChangeAspect="1" noChangeArrowheads="1"/>
          </p:cNvPicPr>
          <p:nvPr/>
        </p:nvPicPr>
        <p:blipFill>
          <a:blip r:embed="rId3" cstate="print"/>
          <a:srcRect/>
          <a:stretch>
            <a:fillRect/>
          </a:stretch>
        </p:blipFill>
        <p:spPr bwMode="gray">
          <a:xfrm>
            <a:off x="671513" y="4119563"/>
            <a:ext cx="1943100" cy="1123950"/>
          </a:xfrm>
          <a:prstGeom prst="rect">
            <a:avLst/>
          </a:prstGeom>
          <a:noFill/>
          <a:ln w="9525">
            <a:noFill/>
            <a:miter lim="800000"/>
            <a:headEnd/>
            <a:tailEnd/>
          </a:ln>
        </p:spPr>
      </p:pic>
      <p:sp>
        <p:nvSpPr>
          <p:cNvPr id="6" name="Line 12"/>
          <p:cNvSpPr>
            <a:spLocks noChangeShapeType="1"/>
          </p:cNvSpPr>
          <p:nvPr/>
        </p:nvSpPr>
        <p:spPr bwMode="gray">
          <a:xfrm>
            <a:off x="3022600" y="4122738"/>
            <a:ext cx="0" cy="1187450"/>
          </a:xfrm>
          <a:prstGeom prst="line">
            <a:avLst/>
          </a:prstGeom>
          <a:noFill/>
          <a:ln w="9525">
            <a:solidFill>
              <a:schemeClr val="accent1"/>
            </a:solidFill>
            <a:round/>
            <a:headEnd/>
            <a:tailEnd/>
          </a:ln>
          <a:effectLst/>
          <a:extLst>
            <a:ext uri="{909E8E84-426E-40DD-AFC4-6F175D3DCCD1}"/>
            <a:ext uri="{AF507438-7753-43E0-B8FC-AC1667EBCBE1}"/>
          </a:extLst>
        </p:spPr>
        <p:txBody>
          <a:bodyPr/>
          <a:lstStyle/>
          <a:p>
            <a:pPr algn="ctr">
              <a:defRPr/>
            </a:pPr>
            <a:endParaRPr lang="en-US" dirty="0"/>
          </a:p>
        </p:txBody>
      </p:sp>
      <p:pic>
        <p:nvPicPr>
          <p:cNvPr id="7" name="Grafik 13"/>
          <p:cNvPicPr>
            <a:picLocks noChangeAspect="1"/>
          </p:cNvPicPr>
          <p:nvPr userDrawn="1"/>
        </p:nvPicPr>
        <p:blipFill>
          <a:blip r:embed="rId4" cstate="print"/>
          <a:srcRect/>
          <a:stretch>
            <a:fillRect/>
          </a:stretch>
        </p:blipFill>
        <p:spPr bwMode="auto">
          <a:xfrm>
            <a:off x="0" y="0"/>
            <a:ext cx="9144000" cy="6858000"/>
          </a:xfrm>
          <a:prstGeom prst="rect">
            <a:avLst/>
          </a:prstGeom>
          <a:noFill/>
          <a:ln w="9525">
            <a:noFill/>
            <a:miter lim="800000"/>
            <a:headEnd/>
            <a:tailEnd/>
          </a:ln>
        </p:spPr>
      </p:pic>
      <p:sp>
        <p:nvSpPr>
          <p:cNvPr id="40963" name="Rectangle 3"/>
          <p:cNvSpPr>
            <a:spLocks noGrp="1" noChangeArrowheads="1"/>
          </p:cNvSpPr>
          <p:nvPr>
            <p:ph type="ctrTitle"/>
          </p:nvPr>
        </p:nvSpPr>
        <p:spPr>
          <a:xfrm>
            <a:off x="3381375" y="4497388"/>
            <a:ext cx="5286375" cy="442912"/>
          </a:xfrm>
        </p:spPr>
        <p:txBody>
          <a:bodyPr/>
          <a:lstStyle>
            <a:lvl1pPr>
              <a:defRPr/>
            </a:lvl1pPr>
          </a:lstStyle>
          <a:p>
            <a:pPr lvl="0"/>
            <a:r>
              <a:rPr lang="en-GB" noProof="0" smtClean="0"/>
              <a:t>Headline</a:t>
            </a:r>
          </a:p>
        </p:txBody>
      </p:sp>
      <p:sp>
        <p:nvSpPr>
          <p:cNvPr id="40964" name="Rectangle 4"/>
          <p:cNvSpPr>
            <a:spLocks noGrp="1" noChangeArrowheads="1"/>
          </p:cNvSpPr>
          <p:nvPr>
            <p:ph type="subTitle" idx="1"/>
          </p:nvPr>
        </p:nvSpPr>
        <p:spPr>
          <a:xfrm>
            <a:off x="3381375" y="4976813"/>
            <a:ext cx="5289550" cy="309562"/>
          </a:xfrm>
        </p:spPr>
        <p:txBody>
          <a:bodyPr/>
          <a:lstStyle>
            <a:lvl1pPr>
              <a:defRPr sz="2000"/>
            </a:lvl1pPr>
          </a:lstStyle>
          <a:p>
            <a:pPr lvl="0"/>
            <a:r>
              <a:rPr lang="en-GB" noProof="0" smtClean="0"/>
              <a:t>Subheadline</a:t>
            </a:r>
          </a:p>
        </p:txBody>
      </p:sp>
    </p:spTree>
  </p:cSld>
  <p:clrMapOvr>
    <a:masterClrMapping/>
  </p:clrMapOvr>
  <p:transition>
    <p:split orient="vert"/>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a:p>
        </p:txBody>
      </p:sp>
      <p:sp>
        <p:nvSpPr>
          <p:cNvPr id="4" name="Foliennummernplatzhalter 1"/>
          <p:cNvSpPr>
            <a:spLocks noGrp="1"/>
          </p:cNvSpPr>
          <p:nvPr>
            <p:ph type="sldNum" sz="quarter" idx="10"/>
          </p:nvPr>
        </p:nvSpPr>
        <p:spPr/>
        <p:txBody>
          <a:bodyPr/>
          <a:lstStyle>
            <a:lvl1pPr>
              <a:defRPr/>
            </a:lvl1pPr>
          </a:lstStyle>
          <a:p>
            <a:pPr>
              <a:defRPr/>
            </a:pPr>
            <a:r>
              <a:rPr lang="en-US"/>
              <a:t>Page </a:t>
            </a:r>
            <a:fld id="{4BD91693-6257-4E34-837E-E85E506608E8}" type="slidenum">
              <a:rPr lang="en-US"/>
              <a:pPr>
                <a:defRPr/>
              </a:pPr>
              <a:t>‹#›</a:t>
            </a:fld>
            <a:endParaRPr lang="en-US"/>
          </a:p>
        </p:txBody>
      </p:sp>
      <p:sp>
        <p:nvSpPr>
          <p:cNvPr id="5"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22313" y="4406900"/>
            <a:ext cx="7772400" cy="1362075"/>
          </a:xfrm>
        </p:spPr>
        <p:txBody>
          <a:bodyPr anchor="t"/>
          <a:lstStyle>
            <a:lvl1pPr algn="l">
              <a:defRPr sz="4000" b="1" cap="all"/>
            </a:lvl1pPr>
          </a:lstStyle>
          <a:p>
            <a:r>
              <a:rPr lang="de-DE" smtClean="0"/>
              <a:t>Titelmasterformat durch Klicken bearbeiten</a:t>
            </a:r>
            <a:endParaRPr lang="en-US"/>
          </a:p>
        </p:txBody>
      </p:sp>
      <p:sp>
        <p:nvSpPr>
          <p:cNvPr id="3" name="Textplatzhalt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smtClean="0"/>
              <a:t>Textmasterformat bearbeiten</a:t>
            </a:r>
          </a:p>
        </p:txBody>
      </p:sp>
      <p:sp>
        <p:nvSpPr>
          <p:cNvPr id="4" name="Foliennummernplatzhalter 1"/>
          <p:cNvSpPr>
            <a:spLocks noGrp="1"/>
          </p:cNvSpPr>
          <p:nvPr>
            <p:ph type="sldNum" sz="quarter" idx="10"/>
          </p:nvPr>
        </p:nvSpPr>
        <p:spPr/>
        <p:txBody>
          <a:bodyPr/>
          <a:lstStyle>
            <a:lvl1pPr>
              <a:defRPr/>
            </a:lvl1pPr>
          </a:lstStyle>
          <a:p>
            <a:pPr>
              <a:defRPr/>
            </a:pPr>
            <a:r>
              <a:rPr lang="en-US"/>
              <a:t>Page </a:t>
            </a:r>
            <a:fld id="{435DABF0-0BA4-4603-B6D8-282685D702DA}" type="slidenum">
              <a:rPr lang="en-US"/>
              <a:pPr>
                <a:defRPr/>
              </a:pPr>
              <a:t>‹#›</a:t>
            </a:fld>
            <a:endParaRPr lang="en-US"/>
          </a:p>
        </p:txBody>
      </p:sp>
      <p:sp>
        <p:nvSpPr>
          <p:cNvPr id="5" name="Fußzeilenplatzhalter 3"/>
          <p:cNvSpPr>
            <a:spLocks noGrp="1"/>
          </p:cNvSpPr>
          <p:nvPr>
            <p:ph type="ftr" sz="quarter" idx="11"/>
          </p:nvPr>
        </p:nvSpPr>
        <p:spPr/>
        <p:txBody>
          <a:bodyPr/>
          <a:lstStyle>
            <a:lvl1pPr>
              <a:defRPr/>
            </a:lvl1pPr>
          </a:lstStyle>
          <a:p>
            <a:pPr>
              <a:defRPr/>
            </a:pPr>
            <a:r>
              <a:rPr lang="en-US"/>
              <a:t>Bee Care Tempalte 2012 </a:t>
            </a:r>
            <a:r>
              <a:rPr lang="en-US">
                <a:sym typeface="Wingdings"/>
              </a:rPr>
              <a:t> March 2012</a:t>
            </a:r>
            <a:endParaRPr lang="en-US"/>
          </a:p>
        </p:txBody>
      </p:sp>
    </p:spTree>
  </p:cSld>
  <p:clrMapOvr>
    <a:masterClrMapping/>
  </p:clrMapOvr>
  <p:transition>
    <p:wipe/>
  </p:transition>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9.xml"/><Relationship Id="rId7"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 Id="rId9" Type="http://schemas.openxmlformats.org/officeDocument/2006/relationships/image" Target="../media/image2.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15.xml"/><Relationship Id="rId7"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 Id="rId9" Type="http://schemas.openxmlformats.org/officeDocument/2006/relationships/image" Target="../media/image2.emf"/></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21.xml"/><Relationship Id="rId7" Type="http://schemas.openxmlformats.org/officeDocument/2006/relationships/theme" Target="../theme/theme4.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5" Type="http://schemas.openxmlformats.org/officeDocument/2006/relationships/slideLayout" Target="../slideLayouts/slideLayout23.xml"/><Relationship Id="rId4" Type="http://schemas.openxmlformats.org/officeDocument/2006/relationships/slideLayout" Target="../slideLayouts/slideLayout22.xml"/><Relationship Id="rId9" Type="http://schemas.openxmlformats.org/officeDocument/2006/relationships/image" Target="../media/image2.emf"/></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27.xml"/><Relationship Id="rId7" Type="http://schemas.openxmlformats.org/officeDocument/2006/relationships/theme" Target="../theme/theme5.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5" Type="http://schemas.openxmlformats.org/officeDocument/2006/relationships/slideLayout" Target="../slideLayouts/slideLayout29.xml"/><Relationship Id="rId4" Type="http://schemas.openxmlformats.org/officeDocument/2006/relationships/slideLayout" Target="../slideLayouts/slideLayout28.xml"/><Relationship Id="rId9" Type="http://schemas.openxmlformats.org/officeDocument/2006/relationships/image" Target="../media/image2.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3" Type="http://schemas.openxmlformats.org/officeDocument/2006/relationships/slideLayout" Target="../slideLayouts/slideLayout33.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5" Type="http://schemas.openxmlformats.org/officeDocument/2006/relationships/slideLayout" Target="../slideLayouts/slideLayout35.xml"/><Relationship Id="rId15" Type="http://schemas.openxmlformats.org/officeDocument/2006/relationships/theme" Target="../theme/theme6.xml"/><Relationship Id="rId10" Type="http://schemas.openxmlformats.org/officeDocument/2006/relationships/slideLayout" Target="../slideLayouts/slideLayout40.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12" descr="bee care_ppt_080212_MB13"/>
          <p:cNvPicPr>
            <a:picLocks noChangeAspect="1" noChangeArrowheads="1"/>
          </p:cNvPicPr>
          <p:nvPr/>
        </p:nvPicPr>
        <p:blipFill>
          <a:blip r:embed="rId8" cstate="print"/>
          <a:srcRect/>
          <a:stretch>
            <a:fillRect/>
          </a:stretch>
        </p:blipFill>
        <p:spPr bwMode="auto">
          <a:xfrm>
            <a:off x="0" y="0"/>
            <a:ext cx="9144000" cy="6858000"/>
          </a:xfrm>
          <a:prstGeom prst="rect">
            <a:avLst/>
          </a:prstGeom>
          <a:noFill/>
          <a:ln w="9525">
            <a:noFill/>
            <a:miter lim="800000"/>
            <a:headEnd/>
            <a:tailEnd/>
          </a:ln>
        </p:spPr>
      </p:pic>
      <p:sp>
        <p:nvSpPr>
          <p:cNvPr id="1027" name="Rectangle 3"/>
          <p:cNvSpPr>
            <a:spLocks noGrp="1" noChangeArrowheads="1"/>
          </p:cNvSpPr>
          <p:nvPr>
            <p:ph type="title"/>
          </p:nvPr>
        </p:nvSpPr>
        <p:spPr bwMode="gray">
          <a:xfrm>
            <a:off x="466725" y="349250"/>
            <a:ext cx="7058025" cy="9493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GB" smtClean="0"/>
              <a:t>Headline</a:t>
            </a:r>
          </a:p>
        </p:txBody>
      </p:sp>
      <p:sp>
        <p:nvSpPr>
          <p:cNvPr id="1028" name="Rectangle 4"/>
          <p:cNvSpPr>
            <a:spLocks noGrp="1" noChangeArrowheads="1"/>
          </p:cNvSpPr>
          <p:nvPr>
            <p:ph type="body" idx="1"/>
          </p:nvPr>
        </p:nvSpPr>
        <p:spPr bwMode="gray">
          <a:xfrm>
            <a:off x="466725" y="1628775"/>
            <a:ext cx="8208963" cy="45354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Text in Arial 18pt</a:t>
            </a:r>
          </a:p>
          <a:p>
            <a:pPr lvl="1"/>
            <a:r>
              <a:rPr lang="en-GB" smtClean="0"/>
              <a:t>First level</a:t>
            </a:r>
          </a:p>
          <a:p>
            <a:pPr lvl="2"/>
            <a:r>
              <a:rPr lang="en-GB" smtClean="0"/>
              <a:t>Second level</a:t>
            </a:r>
          </a:p>
          <a:p>
            <a:pPr lvl="3"/>
            <a:r>
              <a:rPr lang="en-GB" smtClean="0"/>
              <a:t>Third level</a:t>
            </a:r>
          </a:p>
          <a:p>
            <a:pPr lvl="4"/>
            <a:r>
              <a:rPr lang="en-GB" smtClean="0"/>
              <a:t>Fourth level</a:t>
            </a:r>
          </a:p>
        </p:txBody>
      </p:sp>
      <p:grpSp>
        <p:nvGrpSpPr>
          <p:cNvPr id="1029" name="Group 5"/>
          <p:cNvGrpSpPr>
            <a:grpSpLocks/>
          </p:cNvGrpSpPr>
          <p:nvPr/>
        </p:nvGrpSpPr>
        <p:grpSpPr bwMode="auto">
          <a:xfrm>
            <a:off x="-3175" y="1463675"/>
            <a:ext cx="9147175" cy="5394325"/>
            <a:chOff x="-2" y="922"/>
            <a:chExt cx="5762" cy="3398"/>
          </a:xfrm>
        </p:grpSpPr>
        <p:sp>
          <p:nvSpPr>
            <p:cNvPr id="31750" name="Rectangle 6"/>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a:ext uri="{91240B29-F687-4F45-9708-019B960494DF}"/>
            </a:extLst>
          </p:spPr>
          <p:txBody>
            <a:bodyPr/>
            <a:lstStyle/>
            <a:p>
              <a:pPr algn="ctr">
                <a:defRPr/>
              </a:pPr>
              <a:endParaRPr lang="en-US" dirty="0"/>
            </a:p>
          </p:txBody>
        </p:sp>
        <p:sp>
          <p:nvSpPr>
            <p:cNvPr id="31751" name="Freeform 7"/>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a:ext uri="{91240B29-F687-4F45-9708-019B960494DF}"/>
            </a:extLst>
          </p:spPr>
          <p:txBody>
            <a:bodyPr/>
            <a:lstStyle/>
            <a:p>
              <a:pPr algn="ctr">
                <a:defRPr/>
              </a:pPr>
              <a:endParaRPr lang="en-US" dirty="0"/>
            </a:p>
          </p:txBody>
        </p:sp>
        <p:sp>
          <p:nvSpPr>
            <p:cNvPr id="31752" name="Freeform 8"/>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a:ext uri="{91240B29-F687-4F45-9708-019B960494DF}"/>
            </a:extLst>
          </p:spPr>
          <p:txBody>
            <a:bodyPr/>
            <a:lstStyle/>
            <a:p>
              <a:pPr algn="ctr">
                <a:defRPr/>
              </a:pPr>
              <a:endParaRPr lang="en-US" dirty="0"/>
            </a:p>
          </p:txBody>
        </p:sp>
        <p:sp>
          <p:nvSpPr>
            <p:cNvPr id="31753" name="Freeform 9"/>
            <p:cNvSpPr>
              <a:spLocks/>
            </p:cNvSpPr>
            <p:nvPr/>
          </p:nvSpPr>
          <p:spPr bwMode="gray">
            <a:xfrm>
              <a:off x="-2" y="3358"/>
              <a:ext cx="5762" cy="688"/>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a:ext uri="{91240B29-F687-4F45-9708-019B960494DF}"/>
            </a:extLst>
          </p:spPr>
          <p:txBody>
            <a:bodyPr/>
            <a:lstStyle/>
            <a:p>
              <a:pPr algn="ctr">
                <a:defRPr/>
              </a:pPr>
              <a:endParaRPr lang="en-US" dirty="0"/>
            </a:p>
          </p:txBody>
        </p:sp>
      </p:grpSp>
      <p:pic>
        <p:nvPicPr>
          <p:cNvPr id="1030" name="Picture 10"/>
          <p:cNvPicPr>
            <a:picLocks noChangeAspect="1" noChangeArrowheads="1"/>
          </p:cNvPicPr>
          <p:nvPr/>
        </p:nvPicPr>
        <p:blipFill>
          <a:blip r:embed="rId9" cstate="print"/>
          <a:srcRect/>
          <a:stretch>
            <a:fillRect/>
          </a:stretch>
        </p:blipFill>
        <p:spPr bwMode="gray">
          <a:xfrm>
            <a:off x="7727950" y="250825"/>
            <a:ext cx="949325" cy="949325"/>
          </a:xfrm>
          <a:prstGeom prst="rect">
            <a:avLst/>
          </a:prstGeom>
          <a:noFill/>
          <a:ln w="9525">
            <a:noFill/>
            <a:miter lim="800000"/>
            <a:headEnd/>
            <a:tailEnd/>
          </a:ln>
        </p:spPr>
      </p:pic>
      <p:sp>
        <p:nvSpPr>
          <p:cNvPr id="13" name="Foliennummernplatzhalter 1"/>
          <p:cNvSpPr>
            <a:spLocks noGrp="1"/>
          </p:cNvSpPr>
          <p:nvPr>
            <p:ph type="sldNum" sz="quarter" idx="4"/>
          </p:nvPr>
        </p:nvSpPr>
        <p:spPr bwMode="gray">
          <a:xfrm>
            <a:off x="360363" y="6424613"/>
            <a:ext cx="793750" cy="433387"/>
          </a:xfrm>
          <a:prstGeom prst="rect">
            <a:avLst/>
          </a:prstGeom>
        </p:spPr>
        <p:txBody>
          <a:bodyPr anchor="ctr"/>
          <a:lstStyle>
            <a:lvl1pPr marL="0" indent="0" algn="l">
              <a:buFont typeface="Arial" pitchFamily="34" charset="0"/>
              <a:buNone/>
              <a:defRPr sz="800" dirty="0" smtClean="0"/>
            </a:lvl1pPr>
          </a:lstStyle>
          <a:p>
            <a:pPr>
              <a:defRPr/>
            </a:pPr>
            <a:r>
              <a:rPr lang="en-US"/>
              <a:t>Page </a:t>
            </a:r>
            <a:fld id="{0D382F56-628B-4695-B73E-22A5DB711042}" type="slidenum">
              <a:rPr lang="en-US"/>
              <a:pPr>
                <a:defRPr/>
              </a:pPr>
              <a:t>‹#›</a:t>
            </a:fld>
            <a:endParaRPr lang="en-US"/>
          </a:p>
        </p:txBody>
      </p:sp>
      <p:sp>
        <p:nvSpPr>
          <p:cNvPr id="14" name="Fußzeilenplatzhalter 3"/>
          <p:cNvSpPr>
            <a:spLocks noGrp="1"/>
          </p:cNvSpPr>
          <p:nvPr>
            <p:ph type="ftr" sz="quarter" idx="3"/>
          </p:nvPr>
        </p:nvSpPr>
        <p:spPr bwMode="gray">
          <a:xfrm>
            <a:off x="1154113" y="6424613"/>
            <a:ext cx="5718175" cy="433387"/>
          </a:xfrm>
          <a:prstGeom prst="rect">
            <a:avLst/>
          </a:prstGeom>
        </p:spPr>
        <p:txBody>
          <a:bodyPr anchor="ctr"/>
          <a:lstStyle>
            <a:lvl1pPr marL="0" indent="0" algn="l">
              <a:buFont typeface="Arial" pitchFamily="34" charset="0"/>
              <a:buNone/>
              <a:defRPr sz="800" dirty="0" smtClean="0"/>
            </a:lvl1pPr>
          </a:lstStyle>
          <a:p>
            <a:pPr>
              <a:defRPr/>
            </a:pPr>
            <a:r>
              <a:rPr lang="en-US"/>
              <a:t>Bee Care Tempalte 2012 </a:t>
            </a:r>
            <a:r>
              <a:rPr lang="en-US">
                <a:sym typeface="Wingdings"/>
              </a:rPr>
              <a:t> March 2012</a:t>
            </a:r>
            <a:endParaRPr lang="en-US"/>
          </a:p>
        </p:txBody>
      </p:sp>
    </p:spTree>
  </p:cSld>
  <p:clrMap bg1="lt1" tx1="dk1" bg2="lt2" tx2="dk2" accent1="accent1" accent2="accent2" accent3="accent3" accent4="accent4" accent5="accent5" accent6="accent6" hlink="hlink" folHlink="folHlink"/>
  <p:sldLayoutIdLst>
    <p:sldLayoutId id="2147483768" r:id="rId1"/>
    <p:sldLayoutId id="2147483736" r:id="rId2"/>
    <p:sldLayoutId id="2147483737" r:id="rId3"/>
    <p:sldLayoutId id="2147483738" r:id="rId4"/>
    <p:sldLayoutId id="2147483739" r:id="rId5"/>
    <p:sldLayoutId id="2147483740" r:id="rId6"/>
  </p:sldLayoutIdLst>
  <p:transition>
    <p:wipe/>
  </p:transition>
  <p:hf hdr="0" ftr="0" dt="0"/>
  <p:txStyles>
    <p:titleStyle>
      <a:lvl1pPr algn="l" rtl="0" eaLnBrk="0" fontAlgn="base" hangingPunct="0">
        <a:spcBef>
          <a:spcPct val="0"/>
        </a:spcBef>
        <a:spcAft>
          <a:spcPct val="0"/>
        </a:spcAft>
        <a:defRPr sz="3200">
          <a:solidFill>
            <a:schemeClr val="tx1"/>
          </a:solidFill>
          <a:latin typeface="+mj-lt"/>
          <a:ea typeface="+mj-ea"/>
          <a:cs typeface="+mj-cs"/>
        </a:defRPr>
      </a:lvl1pPr>
      <a:lvl2pPr algn="l" rtl="0" eaLnBrk="0" fontAlgn="base" hangingPunct="0">
        <a:spcBef>
          <a:spcPct val="0"/>
        </a:spcBef>
        <a:spcAft>
          <a:spcPct val="0"/>
        </a:spcAft>
        <a:defRPr sz="3200">
          <a:solidFill>
            <a:schemeClr val="tx1"/>
          </a:solidFill>
          <a:latin typeface="Arial" charset="0"/>
          <a:cs typeface="Arial" charset="0"/>
        </a:defRPr>
      </a:lvl2pPr>
      <a:lvl3pPr algn="l" rtl="0" eaLnBrk="0" fontAlgn="base" hangingPunct="0">
        <a:spcBef>
          <a:spcPct val="0"/>
        </a:spcBef>
        <a:spcAft>
          <a:spcPct val="0"/>
        </a:spcAft>
        <a:defRPr sz="3200">
          <a:solidFill>
            <a:schemeClr val="tx1"/>
          </a:solidFill>
          <a:latin typeface="Arial" charset="0"/>
          <a:cs typeface="Arial" charset="0"/>
        </a:defRPr>
      </a:lvl3pPr>
      <a:lvl4pPr algn="l" rtl="0" eaLnBrk="0" fontAlgn="base" hangingPunct="0">
        <a:spcBef>
          <a:spcPct val="0"/>
        </a:spcBef>
        <a:spcAft>
          <a:spcPct val="0"/>
        </a:spcAft>
        <a:defRPr sz="3200">
          <a:solidFill>
            <a:schemeClr val="tx1"/>
          </a:solidFill>
          <a:latin typeface="Arial" charset="0"/>
          <a:cs typeface="Arial" charset="0"/>
        </a:defRPr>
      </a:lvl4pPr>
      <a:lvl5pPr algn="l" rtl="0" eaLnBrk="0" fontAlgn="base" hangingPunct="0">
        <a:spcBef>
          <a:spcPct val="0"/>
        </a:spcBef>
        <a:spcAft>
          <a:spcPct val="0"/>
        </a:spcAft>
        <a:defRPr sz="3200">
          <a:solidFill>
            <a:schemeClr val="tx1"/>
          </a:solidFill>
          <a:latin typeface="Arial" charset="0"/>
          <a:cs typeface="Arial" charset="0"/>
        </a:defRPr>
      </a:lvl5pPr>
      <a:lvl6pPr marL="457200" algn="l" rtl="0" fontAlgn="base">
        <a:spcBef>
          <a:spcPct val="0"/>
        </a:spcBef>
        <a:spcAft>
          <a:spcPct val="0"/>
        </a:spcAft>
        <a:defRPr sz="3200">
          <a:solidFill>
            <a:schemeClr val="tx1"/>
          </a:solidFill>
          <a:latin typeface="Arial" charset="0"/>
          <a:cs typeface="Arial" charset="0"/>
        </a:defRPr>
      </a:lvl6pPr>
      <a:lvl7pPr marL="914400" algn="l" rtl="0" fontAlgn="base">
        <a:spcBef>
          <a:spcPct val="0"/>
        </a:spcBef>
        <a:spcAft>
          <a:spcPct val="0"/>
        </a:spcAft>
        <a:defRPr sz="3200">
          <a:solidFill>
            <a:schemeClr val="tx1"/>
          </a:solidFill>
          <a:latin typeface="Arial" charset="0"/>
          <a:cs typeface="Arial" charset="0"/>
        </a:defRPr>
      </a:lvl7pPr>
      <a:lvl8pPr marL="1371600" algn="l" rtl="0" fontAlgn="base">
        <a:spcBef>
          <a:spcPct val="0"/>
        </a:spcBef>
        <a:spcAft>
          <a:spcPct val="0"/>
        </a:spcAft>
        <a:defRPr sz="3200">
          <a:solidFill>
            <a:schemeClr val="tx1"/>
          </a:solidFill>
          <a:latin typeface="Arial" charset="0"/>
          <a:cs typeface="Arial" charset="0"/>
        </a:defRPr>
      </a:lvl8pPr>
      <a:lvl9pPr marL="1828800" algn="l" rtl="0" fontAlgn="base">
        <a:spcBef>
          <a:spcPct val="0"/>
        </a:spcBef>
        <a:spcAft>
          <a:spcPct val="0"/>
        </a:spcAft>
        <a:defRPr sz="3200">
          <a:solidFill>
            <a:schemeClr val="tx1"/>
          </a:solidFill>
          <a:latin typeface="Arial" charset="0"/>
          <a:cs typeface="Arial" charset="0"/>
        </a:defRPr>
      </a:lvl9pPr>
    </p:titleStyle>
    <p:bodyStyle>
      <a:lvl1pPr algn="l" rtl="0" eaLnBrk="0" fontAlgn="base" hangingPunct="0">
        <a:spcBef>
          <a:spcPts val="300"/>
        </a:spcBef>
        <a:spcAft>
          <a:spcPts val="600"/>
        </a:spcAft>
        <a:defRPr>
          <a:solidFill>
            <a:schemeClr val="tx1"/>
          </a:solidFill>
          <a:latin typeface="+mn-lt"/>
          <a:ea typeface="+mn-ea"/>
          <a:cs typeface="+mn-cs"/>
        </a:defRPr>
      </a:lvl1pPr>
      <a:lvl2pPr marL="271463"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2pPr>
      <a:lvl3pPr marL="542925"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3pPr>
      <a:lvl4pPr marL="809625" indent="-265113" algn="l" rtl="0" eaLnBrk="0" fontAlgn="base" hangingPunct="0">
        <a:spcBef>
          <a:spcPts val="300"/>
        </a:spcBef>
        <a:spcAft>
          <a:spcPts val="600"/>
        </a:spcAft>
        <a:buClr>
          <a:schemeClr val="accent2"/>
        </a:buClr>
        <a:buSzPct val="110000"/>
        <a:buChar char="•"/>
        <a:defRPr>
          <a:solidFill>
            <a:schemeClr val="tx1"/>
          </a:solidFill>
          <a:latin typeface="+mn-lt"/>
          <a:cs typeface="+mn-cs"/>
        </a:defRPr>
      </a:lvl4pPr>
      <a:lvl5pPr marL="1081088"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5pPr>
      <a:lvl6pPr marL="1538288" indent="-269875" algn="l" rtl="0" fontAlgn="base">
        <a:spcBef>
          <a:spcPts val="300"/>
        </a:spcBef>
        <a:spcAft>
          <a:spcPts val="600"/>
        </a:spcAft>
        <a:buClr>
          <a:schemeClr val="accent2"/>
        </a:buClr>
        <a:buSzPct val="110000"/>
        <a:buChar char="•"/>
        <a:defRPr>
          <a:solidFill>
            <a:schemeClr val="tx1"/>
          </a:solidFill>
          <a:latin typeface="+mn-lt"/>
          <a:cs typeface="+mn-cs"/>
        </a:defRPr>
      </a:lvl6pPr>
      <a:lvl7pPr marL="1995488" indent="-269875" algn="l" rtl="0" fontAlgn="base">
        <a:spcBef>
          <a:spcPts val="300"/>
        </a:spcBef>
        <a:spcAft>
          <a:spcPts val="600"/>
        </a:spcAft>
        <a:buClr>
          <a:schemeClr val="accent2"/>
        </a:buClr>
        <a:buSzPct val="110000"/>
        <a:buChar char="•"/>
        <a:defRPr>
          <a:solidFill>
            <a:schemeClr val="tx1"/>
          </a:solidFill>
          <a:latin typeface="+mn-lt"/>
          <a:cs typeface="+mn-cs"/>
        </a:defRPr>
      </a:lvl7pPr>
      <a:lvl8pPr marL="2452688" indent="-269875" algn="l" rtl="0" fontAlgn="base">
        <a:spcBef>
          <a:spcPts val="300"/>
        </a:spcBef>
        <a:spcAft>
          <a:spcPts val="600"/>
        </a:spcAft>
        <a:buClr>
          <a:schemeClr val="accent2"/>
        </a:buClr>
        <a:buSzPct val="110000"/>
        <a:buChar char="•"/>
        <a:defRPr>
          <a:solidFill>
            <a:schemeClr val="tx1"/>
          </a:solidFill>
          <a:latin typeface="+mn-lt"/>
          <a:cs typeface="+mn-cs"/>
        </a:defRPr>
      </a:lvl8pPr>
      <a:lvl9pPr marL="2909888" indent="-269875" algn="l" rtl="0" fontAlgn="base">
        <a:spcBef>
          <a:spcPts val="300"/>
        </a:spcBef>
        <a:spcAft>
          <a:spcPts val="600"/>
        </a:spcAft>
        <a:buClr>
          <a:schemeClr val="accent2"/>
        </a:buClr>
        <a:buSzPct val="110000"/>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8194" name="Picture 2" descr="bee care_ppt_080212_MB13"/>
          <p:cNvPicPr>
            <a:picLocks noChangeAspect="1" noChangeArrowheads="1"/>
          </p:cNvPicPr>
          <p:nvPr/>
        </p:nvPicPr>
        <p:blipFill>
          <a:blip r:embed="rId8" cstate="print"/>
          <a:srcRect/>
          <a:stretch>
            <a:fillRect/>
          </a:stretch>
        </p:blipFill>
        <p:spPr bwMode="auto">
          <a:xfrm>
            <a:off x="0" y="0"/>
            <a:ext cx="9144000" cy="6858000"/>
          </a:xfrm>
          <a:prstGeom prst="rect">
            <a:avLst/>
          </a:prstGeom>
          <a:noFill/>
          <a:ln w="9525">
            <a:noFill/>
            <a:miter lim="800000"/>
            <a:headEnd/>
            <a:tailEnd/>
          </a:ln>
        </p:spPr>
      </p:pic>
      <p:sp>
        <p:nvSpPr>
          <p:cNvPr id="8195" name="Rectangle 3"/>
          <p:cNvSpPr>
            <a:spLocks noGrp="1" noChangeArrowheads="1"/>
          </p:cNvSpPr>
          <p:nvPr>
            <p:ph type="title"/>
          </p:nvPr>
        </p:nvSpPr>
        <p:spPr bwMode="gray">
          <a:xfrm>
            <a:off x="466725" y="349250"/>
            <a:ext cx="7058025" cy="9493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GB" smtClean="0"/>
              <a:t>Headline</a:t>
            </a:r>
          </a:p>
        </p:txBody>
      </p:sp>
      <p:sp>
        <p:nvSpPr>
          <p:cNvPr id="8196" name="Rectangle 4"/>
          <p:cNvSpPr>
            <a:spLocks noGrp="1" noChangeArrowheads="1"/>
          </p:cNvSpPr>
          <p:nvPr>
            <p:ph type="body" idx="1"/>
          </p:nvPr>
        </p:nvSpPr>
        <p:spPr bwMode="gray">
          <a:xfrm>
            <a:off x="466725" y="1628775"/>
            <a:ext cx="8208963" cy="45354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Text in Arial 18pt</a:t>
            </a:r>
          </a:p>
          <a:p>
            <a:pPr lvl="1"/>
            <a:r>
              <a:rPr lang="en-GB" smtClean="0"/>
              <a:t>First level</a:t>
            </a:r>
          </a:p>
          <a:p>
            <a:pPr lvl="2"/>
            <a:r>
              <a:rPr lang="en-GB" smtClean="0"/>
              <a:t>Second level</a:t>
            </a:r>
          </a:p>
          <a:p>
            <a:pPr lvl="3"/>
            <a:r>
              <a:rPr lang="en-GB" smtClean="0"/>
              <a:t>Third level</a:t>
            </a:r>
          </a:p>
          <a:p>
            <a:pPr lvl="4"/>
            <a:r>
              <a:rPr lang="en-GB" smtClean="0"/>
              <a:t>Fourth level</a:t>
            </a:r>
          </a:p>
        </p:txBody>
      </p:sp>
      <p:grpSp>
        <p:nvGrpSpPr>
          <p:cNvPr id="8197" name="Group 5"/>
          <p:cNvGrpSpPr>
            <a:grpSpLocks/>
          </p:cNvGrpSpPr>
          <p:nvPr/>
        </p:nvGrpSpPr>
        <p:grpSpPr bwMode="auto">
          <a:xfrm>
            <a:off x="-3175" y="1463675"/>
            <a:ext cx="9147175" cy="5394325"/>
            <a:chOff x="-2" y="922"/>
            <a:chExt cx="5762" cy="3398"/>
          </a:xfrm>
        </p:grpSpPr>
        <p:sp>
          <p:nvSpPr>
            <p:cNvPr id="39942" name="Rectangle 6"/>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a:ext uri="{91240B29-F687-4F45-9708-019B960494DF}"/>
            </a:extLst>
          </p:spPr>
          <p:txBody>
            <a:bodyPr/>
            <a:lstStyle/>
            <a:p>
              <a:pPr algn="ctr">
                <a:defRPr/>
              </a:pPr>
              <a:endParaRPr lang="en-US" dirty="0"/>
            </a:p>
          </p:txBody>
        </p:sp>
        <p:sp>
          <p:nvSpPr>
            <p:cNvPr id="39943" name="Freeform 7"/>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a:ext uri="{91240B29-F687-4F45-9708-019B960494DF}"/>
            </a:extLst>
          </p:spPr>
          <p:txBody>
            <a:bodyPr/>
            <a:lstStyle/>
            <a:p>
              <a:pPr algn="ctr">
                <a:defRPr/>
              </a:pPr>
              <a:endParaRPr lang="en-US" dirty="0"/>
            </a:p>
          </p:txBody>
        </p:sp>
        <p:sp>
          <p:nvSpPr>
            <p:cNvPr id="39944" name="Freeform 8"/>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a:ext uri="{91240B29-F687-4F45-9708-019B960494DF}"/>
            </a:extLst>
          </p:spPr>
          <p:txBody>
            <a:bodyPr/>
            <a:lstStyle/>
            <a:p>
              <a:pPr algn="ctr">
                <a:defRPr/>
              </a:pPr>
              <a:endParaRPr lang="en-US" dirty="0"/>
            </a:p>
          </p:txBody>
        </p:sp>
        <p:sp>
          <p:nvSpPr>
            <p:cNvPr id="39945" name="Freeform 9"/>
            <p:cNvSpPr>
              <a:spLocks/>
            </p:cNvSpPr>
            <p:nvPr/>
          </p:nvSpPr>
          <p:spPr bwMode="gray">
            <a:xfrm>
              <a:off x="-2" y="3358"/>
              <a:ext cx="5762" cy="688"/>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a:ext uri="{91240B29-F687-4F45-9708-019B960494DF}"/>
            </a:extLst>
          </p:spPr>
          <p:txBody>
            <a:bodyPr/>
            <a:lstStyle/>
            <a:p>
              <a:pPr algn="ctr">
                <a:defRPr/>
              </a:pPr>
              <a:endParaRPr lang="en-US" dirty="0"/>
            </a:p>
          </p:txBody>
        </p:sp>
      </p:grpSp>
      <p:pic>
        <p:nvPicPr>
          <p:cNvPr id="8198" name="Picture 10"/>
          <p:cNvPicPr>
            <a:picLocks noChangeAspect="1" noChangeArrowheads="1"/>
          </p:cNvPicPr>
          <p:nvPr/>
        </p:nvPicPr>
        <p:blipFill>
          <a:blip r:embed="rId9" cstate="print"/>
          <a:srcRect/>
          <a:stretch>
            <a:fillRect/>
          </a:stretch>
        </p:blipFill>
        <p:spPr bwMode="gray">
          <a:xfrm>
            <a:off x="7727950" y="250825"/>
            <a:ext cx="949325" cy="949325"/>
          </a:xfrm>
          <a:prstGeom prst="rect">
            <a:avLst/>
          </a:prstGeom>
          <a:noFill/>
          <a:ln w="9525">
            <a:noFill/>
            <a:miter lim="800000"/>
            <a:headEnd/>
            <a:tailEnd/>
          </a:ln>
        </p:spPr>
      </p:pic>
      <p:sp>
        <p:nvSpPr>
          <p:cNvPr id="12" name="Foliennummernplatzhalter 1"/>
          <p:cNvSpPr>
            <a:spLocks noGrp="1"/>
          </p:cNvSpPr>
          <p:nvPr>
            <p:ph type="sldNum" sz="quarter" idx="4"/>
          </p:nvPr>
        </p:nvSpPr>
        <p:spPr bwMode="gray">
          <a:xfrm>
            <a:off x="360363" y="6424613"/>
            <a:ext cx="793750" cy="433387"/>
          </a:xfrm>
          <a:prstGeom prst="rect">
            <a:avLst/>
          </a:prstGeom>
        </p:spPr>
        <p:txBody>
          <a:bodyPr anchor="ctr"/>
          <a:lstStyle>
            <a:lvl1pPr marL="0" indent="0" algn="l">
              <a:buFont typeface="Arial" pitchFamily="34" charset="0"/>
              <a:buNone/>
              <a:defRPr sz="800" dirty="0" smtClean="0"/>
            </a:lvl1pPr>
          </a:lstStyle>
          <a:p>
            <a:pPr>
              <a:defRPr/>
            </a:pPr>
            <a:r>
              <a:rPr lang="en-US"/>
              <a:t>Page </a:t>
            </a:r>
            <a:fld id="{25084F12-1FB3-4044-AA5D-C7D6036177D1}" type="slidenum">
              <a:rPr lang="en-US"/>
              <a:pPr>
                <a:defRPr/>
              </a:pPr>
              <a:t>‹#›</a:t>
            </a:fld>
            <a:endParaRPr lang="en-US"/>
          </a:p>
        </p:txBody>
      </p:sp>
      <p:sp>
        <p:nvSpPr>
          <p:cNvPr id="13" name="Fußzeilenplatzhalter 3"/>
          <p:cNvSpPr>
            <a:spLocks noGrp="1"/>
          </p:cNvSpPr>
          <p:nvPr>
            <p:ph type="ftr" sz="quarter" idx="3"/>
          </p:nvPr>
        </p:nvSpPr>
        <p:spPr bwMode="gray">
          <a:xfrm>
            <a:off x="1154113" y="6424613"/>
            <a:ext cx="5718175" cy="433387"/>
          </a:xfrm>
          <a:prstGeom prst="rect">
            <a:avLst/>
          </a:prstGeom>
        </p:spPr>
        <p:txBody>
          <a:bodyPr anchor="ctr"/>
          <a:lstStyle>
            <a:lvl1pPr marL="0" indent="0" algn="l">
              <a:buFont typeface="Arial" pitchFamily="34" charset="0"/>
              <a:buNone/>
              <a:defRPr sz="800" dirty="0" smtClean="0"/>
            </a:lvl1pPr>
          </a:lstStyle>
          <a:p>
            <a:pPr>
              <a:defRPr/>
            </a:pPr>
            <a:r>
              <a:rPr lang="en-US"/>
              <a:t>Bee Care Tempalte 2012 </a:t>
            </a:r>
            <a:r>
              <a:rPr lang="en-US">
                <a:sym typeface="Wingdings"/>
              </a:rPr>
              <a:t> March 2012</a:t>
            </a:r>
            <a:endParaRPr lang="en-US"/>
          </a:p>
        </p:txBody>
      </p:sp>
    </p:spTree>
  </p:cSld>
  <p:clrMap bg1="lt1" tx1="dk1" bg2="lt2" tx2="dk2" accent1="accent1" accent2="accent2" accent3="accent3" accent4="accent4" accent5="accent5" accent6="accent6" hlink="hlink" folHlink="folHlink"/>
  <p:sldLayoutIdLst>
    <p:sldLayoutId id="2147483769" r:id="rId1"/>
    <p:sldLayoutId id="2147483741" r:id="rId2"/>
    <p:sldLayoutId id="2147483742" r:id="rId3"/>
    <p:sldLayoutId id="2147483743" r:id="rId4"/>
    <p:sldLayoutId id="2147483744" r:id="rId5"/>
    <p:sldLayoutId id="2147483745" r:id="rId6"/>
  </p:sldLayoutIdLst>
  <p:transition>
    <p:wipe/>
  </p:transition>
  <p:hf hdr="0" ftr="0" dt="0"/>
  <p:txStyles>
    <p:titleStyle>
      <a:lvl1pPr algn="l" rtl="0" eaLnBrk="0" fontAlgn="base" hangingPunct="0">
        <a:spcBef>
          <a:spcPct val="0"/>
        </a:spcBef>
        <a:spcAft>
          <a:spcPct val="0"/>
        </a:spcAft>
        <a:defRPr sz="3200">
          <a:solidFill>
            <a:schemeClr val="tx1"/>
          </a:solidFill>
          <a:latin typeface="+mj-lt"/>
          <a:ea typeface="+mj-ea"/>
          <a:cs typeface="+mj-cs"/>
        </a:defRPr>
      </a:lvl1pPr>
      <a:lvl2pPr algn="l" rtl="0" eaLnBrk="0" fontAlgn="base" hangingPunct="0">
        <a:spcBef>
          <a:spcPct val="0"/>
        </a:spcBef>
        <a:spcAft>
          <a:spcPct val="0"/>
        </a:spcAft>
        <a:defRPr sz="3200">
          <a:solidFill>
            <a:schemeClr val="tx1"/>
          </a:solidFill>
          <a:latin typeface="Arial" charset="0"/>
          <a:cs typeface="Arial" charset="0"/>
        </a:defRPr>
      </a:lvl2pPr>
      <a:lvl3pPr algn="l" rtl="0" eaLnBrk="0" fontAlgn="base" hangingPunct="0">
        <a:spcBef>
          <a:spcPct val="0"/>
        </a:spcBef>
        <a:spcAft>
          <a:spcPct val="0"/>
        </a:spcAft>
        <a:defRPr sz="3200">
          <a:solidFill>
            <a:schemeClr val="tx1"/>
          </a:solidFill>
          <a:latin typeface="Arial" charset="0"/>
          <a:cs typeface="Arial" charset="0"/>
        </a:defRPr>
      </a:lvl3pPr>
      <a:lvl4pPr algn="l" rtl="0" eaLnBrk="0" fontAlgn="base" hangingPunct="0">
        <a:spcBef>
          <a:spcPct val="0"/>
        </a:spcBef>
        <a:spcAft>
          <a:spcPct val="0"/>
        </a:spcAft>
        <a:defRPr sz="3200">
          <a:solidFill>
            <a:schemeClr val="tx1"/>
          </a:solidFill>
          <a:latin typeface="Arial" charset="0"/>
          <a:cs typeface="Arial" charset="0"/>
        </a:defRPr>
      </a:lvl4pPr>
      <a:lvl5pPr algn="l" rtl="0" eaLnBrk="0" fontAlgn="base" hangingPunct="0">
        <a:spcBef>
          <a:spcPct val="0"/>
        </a:spcBef>
        <a:spcAft>
          <a:spcPct val="0"/>
        </a:spcAft>
        <a:defRPr sz="3200">
          <a:solidFill>
            <a:schemeClr val="tx1"/>
          </a:solidFill>
          <a:latin typeface="Arial" charset="0"/>
          <a:cs typeface="Arial" charset="0"/>
        </a:defRPr>
      </a:lvl5pPr>
      <a:lvl6pPr marL="457200" algn="l" rtl="0" fontAlgn="base">
        <a:spcBef>
          <a:spcPct val="0"/>
        </a:spcBef>
        <a:spcAft>
          <a:spcPct val="0"/>
        </a:spcAft>
        <a:defRPr sz="3200">
          <a:solidFill>
            <a:schemeClr val="tx1"/>
          </a:solidFill>
          <a:latin typeface="Arial" charset="0"/>
          <a:cs typeface="Arial" charset="0"/>
        </a:defRPr>
      </a:lvl6pPr>
      <a:lvl7pPr marL="914400" algn="l" rtl="0" fontAlgn="base">
        <a:spcBef>
          <a:spcPct val="0"/>
        </a:spcBef>
        <a:spcAft>
          <a:spcPct val="0"/>
        </a:spcAft>
        <a:defRPr sz="3200">
          <a:solidFill>
            <a:schemeClr val="tx1"/>
          </a:solidFill>
          <a:latin typeface="Arial" charset="0"/>
          <a:cs typeface="Arial" charset="0"/>
        </a:defRPr>
      </a:lvl7pPr>
      <a:lvl8pPr marL="1371600" algn="l" rtl="0" fontAlgn="base">
        <a:spcBef>
          <a:spcPct val="0"/>
        </a:spcBef>
        <a:spcAft>
          <a:spcPct val="0"/>
        </a:spcAft>
        <a:defRPr sz="3200">
          <a:solidFill>
            <a:schemeClr val="tx1"/>
          </a:solidFill>
          <a:latin typeface="Arial" charset="0"/>
          <a:cs typeface="Arial" charset="0"/>
        </a:defRPr>
      </a:lvl8pPr>
      <a:lvl9pPr marL="1828800" algn="l" rtl="0" fontAlgn="base">
        <a:spcBef>
          <a:spcPct val="0"/>
        </a:spcBef>
        <a:spcAft>
          <a:spcPct val="0"/>
        </a:spcAft>
        <a:defRPr sz="3200">
          <a:solidFill>
            <a:schemeClr val="tx1"/>
          </a:solidFill>
          <a:latin typeface="Arial" charset="0"/>
          <a:cs typeface="Arial" charset="0"/>
        </a:defRPr>
      </a:lvl9pPr>
    </p:titleStyle>
    <p:bodyStyle>
      <a:lvl1pPr algn="l" rtl="0" eaLnBrk="0" fontAlgn="base" hangingPunct="0">
        <a:spcBef>
          <a:spcPts val="300"/>
        </a:spcBef>
        <a:spcAft>
          <a:spcPts val="600"/>
        </a:spcAft>
        <a:defRPr>
          <a:solidFill>
            <a:schemeClr val="tx1"/>
          </a:solidFill>
          <a:latin typeface="+mn-lt"/>
          <a:ea typeface="+mn-ea"/>
          <a:cs typeface="+mn-cs"/>
        </a:defRPr>
      </a:lvl1pPr>
      <a:lvl2pPr marL="271463"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2pPr>
      <a:lvl3pPr marL="542925"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3pPr>
      <a:lvl4pPr marL="809625" indent="-265113" algn="l" rtl="0" eaLnBrk="0" fontAlgn="base" hangingPunct="0">
        <a:spcBef>
          <a:spcPts val="300"/>
        </a:spcBef>
        <a:spcAft>
          <a:spcPts val="600"/>
        </a:spcAft>
        <a:buClr>
          <a:schemeClr val="accent2"/>
        </a:buClr>
        <a:buSzPct val="110000"/>
        <a:buChar char="•"/>
        <a:defRPr>
          <a:solidFill>
            <a:schemeClr val="tx1"/>
          </a:solidFill>
          <a:latin typeface="+mn-lt"/>
          <a:cs typeface="+mn-cs"/>
        </a:defRPr>
      </a:lvl4pPr>
      <a:lvl5pPr marL="1081088"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5pPr>
      <a:lvl6pPr marL="1538288" indent="-269875" algn="l" rtl="0" fontAlgn="base">
        <a:spcBef>
          <a:spcPts val="300"/>
        </a:spcBef>
        <a:spcAft>
          <a:spcPts val="600"/>
        </a:spcAft>
        <a:buClr>
          <a:schemeClr val="accent2"/>
        </a:buClr>
        <a:buSzPct val="110000"/>
        <a:buChar char="•"/>
        <a:defRPr>
          <a:solidFill>
            <a:schemeClr val="tx1"/>
          </a:solidFill>
          <a:latin typeface="+mn-lt"/>
          <a:cs typeface="+mn-cs"/>
        </a:defRPr>
      </a:lvl6pPr>
      <a:lvl7pPr marL="1995488" indent="-269875" algn="l" rtl="0" fontAlgn="base">
        <a:spcBef>
          <a:spcPts val="300"/>
        </a:spcBef>
        <a:spcAft>
          <a:spcPts val="600"/>
        </a:spcAft>
        <a:buClr>
          <a:schemeClr val="accent2"/>
        </a:buClr>
        <a:buSzPct val="110000"/>
        <a:buChar char="•"/>
        <a:defRPr>
          <a:solidFill>
            <a:schemeClr val="tx1"/>
          </a:solidFill>
          <a:latin typeface="+mn-lt"/>
          <a:cs typeface="+mn-cs"/>
        </a:defRPr>
      </a:lvl7pPr>
      <a:lvl8pPr marL="2452688" indent="-269875" algn="l" rtl="0" fontAlgn="base">
        <a:spcBef>
          <a:spcPts val="300"/>
        </a:spcBef>
        <a:spcAft>
          <a:spcPts val="600"/>
        </a:spcAft>
        <a:buClr>
          <a:schemeClr val="accent2"/>
        </a:buClr>
        <a:buSzPct val="110000"/>
        <a:buChar char="•"/>
        <a:defRPr>
          <a:solidFill>
            <a:schemeClr val="tx1"/>
          </a:solidFill>
          <a:latin typeface="+mn-lt"/>
          <a:cs typeface="+mn-cs"/>
        </a:defRPr>
      </a:lvl8pPr>
      <a:lvl9pPr marL="2909888" indent="-269875" algn="l" rtl="0" fontAlgn="base">
        <a:spcBef>
          <a:spcPts val="300"/>
        </a:spcBef>
        <a:spcAft>
          <a:spcPts val="600"/>
        </a:spcAft>
        <a:buClr>
          <a:schemeClr val="accent2"/>
        </a:buClr>
        <a:buSzPct val="110000"/>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5362" name="Picture 2" descr="bee care_ppt_080212_MB13"/>
          <p:cNvPicPr>
            <a:picLocks noChangeAspect="1" noChangeArrowheads="1"/>
          </p:cNvPicPr>
          <p:nvPr/>
        </p:nvPicPr>
        <p:blipFill>
          <a:blip r:embed="rId8" cstate="print"/>
          <a:srcRect/>
          <a:stretch>
            <a:fillRect/>
          </a:stretch>
        </p:blipFill>
        <p:spPr bwMode="auto">
          <a:xfrm>
            <a:off x="0" y="0"/>
            <a:ext cx="9144000" cy="6858000"/>
          </a:xfrm>
          <a:prstGeom prst="rect">
            <a:avLst/>
          </a:prstGeom>
          <a:noFill/>
          <a:ln w="9525">
            <a:noFill/>
            <a:miter lim="800000"/>
            <a:headEnd/>
            <a:tailEnd/>
          </a:ln>
        </p:spPr>
      </p:pic>
      <p:sp>
        <p:nvSpPr>
          <p:cNvPr id="15363" name="Rectangle 3"/>
          <p:cNvSpPr>
            <a:spLocks noGrp="1" noChangeArrowheads="1"/>
          </p:cNvSpPr>
          <p:nvPr>
            <p:ph type="title"/>
          </p:nvPr>
        </p:nvSpPr>
        <p:spPr bwMode="gray">
          <a:xfrm>
            <a:off x="466725" y="349250"/>
            <a:ext cx="7058025" cy="9493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GB" smtClean="0"/>
              <a:t>Headline</a:t>
            </a:r>
          </a:p>
        </p:txBody>
      </p:sp>
      <p:sp>
        <p:nvSpPr>
          <p:cNvPr id="15364" name="Rectangle 4"/>
          <p:cNvSpPr>
            <a:spLocks noGrp="1" noChangeArrowheads="1"/>
          </p:cNvSpPr>
          <p:nvPr>
            <p:ph type="body" idx="1"/>
          </p:nvPr>
        </p:nvSpPr>
        <p:spPr bwMode="gray">
          <a:xfrm>
            <a:off x="466725" y="1628775"/>
            <a:ext cx="8208963" cy="45354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Text in Arial 18pt</a:t>
            </a:r>
          </a:p>
          <a:p>
            <a:pPr lvl="1"/>
            <a:r>
              <a:rPr lang="en-GB" smtClean="0"/>
              <a:t>First level</a:t>
            </a:r>
          </a:p>
          <a:p>
            <a:pPr lvl="2"/>
            <a:r>
              <a:rPr lang="en-GB" smtClean="0"/>
              <a:t>Second level</a:t>
            </a:r>
          </a:p>
          <a:p>
            <a:pPr lvl="3"/>
            <a:r>
              <a:rPr lang="en-GB" smtClean="0"/>
              <a:t>Third level</a:t>
            </a:r>
          </a:p>
          <a:p>
            <a:pPr lvl="4"/>
            <a:r>
              <a:rPr lang="en-GB" smtClean="0"/>
              <a:t>Fourth level</a:t>
            </a:r>
          </a:p>
        </p:txBody>
      </p:sp>
      <p:grpSp>
        <p:nvGrpSpPr>
          <p:cNvPr id="15365" name="Group 5"/>
          <p:cNvGrpSpPr>
            <a:grpSpLocks/>
          </p:cNvGrpSpPr>
          <p:nvPr/>
        </p:nvGrpSpPr>
        <p:grpSpPr bwMode="auto">
          <a:xfrm>
            <a:off x="-3175" y="1463675"/>
            <a:ext cx="9147175" cy="5394325"/>
            <a:chOff x="-2" y="922"/>
            <a:chExt cx="5762" cy="3398"/>
          </a:xfrm>
        </p:grpSpPr>
        <p:sp>
          <p:nvSpPr>
            <p:cNvPr id="39942" name="Rectangle 6"/>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a:ext uri="{91240B29-F687-4F45-9708-019B960494DF}"/>
            </a:extLst>
          </p:spPr>
          <p:txBody>
            <a:bodyPr/>
            <a:lstStyle/>
            <a:p>
              <a:pPr algn="ctr">
                <a:defRPr/>
              </a:pPr>
              <a:endParaRPr lang="en-US" dirty="0"/>
            </a:p>
          </p:txBody>
        </p:sp>
        <p:sp>
          <p:nvSpPr>
            <p:cNvPr id="39943" name="Freeform 7"/>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a:ext uri="{91240B29-F687-4F45-9708-019B960494DF}"/>
            </a:extLst>
          </p:spPr>
          <p:txBody>
            <a:bodyPr/>
            <a:lstStyle/>
            <a:p>
              <a:pPr algn="ctr">
                <a:defRPr/>
              </a:pPr>
              <a:endParaRPr lang="en-US" dirty="0"/>
            </a:p>
          </p:txBody>
        </p:sp>
        <p:sp>
          <p:nvSpPr>
            <p:cNvPr id="39944" name="Freeform 8"/>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a:ext uri="{91240B29-F687-4F45-9708-019B960494DF}"/>
            </a:extLst>
          </p:spPr>
          <p:txBody>
            <a:bodyPr/>
            <a:lstStyle/>
            <a:p>
              <a:pPr algn="ctr">
                <a:defRPr/>
              </a:pPr>
              <a:endParaRPr lang="en-US" dirty="0"/>
            </a:p>
          </p:txBody>
        </p:sp>
        <p:sp>
          <p:nvSpPr>
            <p:cNvPr id="39945" name="Freeform 9"/>
            <p:cNvSpPr>
              <a:spLocks/>
            </p:cNvSpPr>
            <p:nvPr/>
          </p:nvSpPr>
          <p:spPr bwMode="gray">
            <a:xfrm>
              <a:off x="-2" y="3358"/>
              <a:ext cx="5762" cy="688"/>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a:ext uri="{91240B29-F687-4F45-9708-019B960494DF}"/>
            </a:extLst>
          </p:spPr>
          <p:txBody>
            <a:bodyPr/>
            <a:lstStyle/>
            <a:p>
              <a:pPr algn="ctr">
                <a:defRPr/>
              </a:pPr>
              <a:endParaRPr lang="en-US" dirty="0"/>
            </a:p>
          </p:txBody>
        </p:sp>
      </p:grpSp>
      <p:pic>
        <p:nvPicPr>
          <p:cNvPr id="15366" name="Picture 10"/>
          <p:cNvPicPr>
            <a:picLocks noChangeAspect="1" noChangeArrowheads="1"/>
          </p:cNvPicPr>
          <p:nvPr/>
        </p:nvPicPr>
        <p:blipFill>
          <a:blip r:embed="rId9" cstate="print"/>
          <a:srcRect/>
          <a:stretch>
            <a:fillRect/>
          </a:stretch>
        </p:blipFill>
        <p:spPr bwMode="gray">
          <a:xfrm>
            <a:off x="7727950" y="250825"/>
            <a:ext cx="949325" cy="949325"/>
          </a:xfrm>
          <a:prstGeom prst="rect">
            <a:avLst/>
          </a:prstGeom>
          <a:noFill/>
          <a:ln w="9525">
            <a:noFill/>
            <a:miter lim="800000"/>
            <a:headEnd/>
            <a:tailEnd/>
          </a:ln>
        </p:spPr>
      </p:pic>
      <p:sp>
        <p:nvSpPr>
          <p:cNvPr id="12" name="Foliennummernplatzhalter 1"/>
          <p:cNvSpPr>
            <a:spLocks noGrp="1"/>
          </p:cNvSpPr>
          <p:nvPr>
            <p:ph type="sldNum" sz="quarter" idx="4"/>
          </p:nvPr>
        </p:nvSpPr>
        <p:spPr bwMode="gray">
          <a:xfrm>
            <a:off x="360363" y="6424613"/>
            <a:ext cx="793750" cy="433387"/>
          </a:xfrm>
          <a:prstGeom prst="rect">
            <a:avLst/>
          </a:prstGeom>
        </p:spPr>
        <p:txBody>
          <a:bodyPr anchor="ctr"/>
          <a:lstStyle>
            <a:lvl1pPr marL="0" indent="0" algn="l">
              <a:buFont typeface="Arial" pitchFamily="34" charset="0"/>
              <a:buNone/>
              <a:defRPr sz="800" dirty="0" smtClean="0"/>
            </a:lvl1pPr>
          </a:lstStyle>
          <a:p>
            <a:pPr>
              <a:defRPr/>
            </a:pPr>
            <a:r>
              <a:rPr lang="en-US"/>
              <a:t>Page </a:t>
            </a:r>
            <a:fld id="{F4A5599F-4F36-4327-8249-AAFC1E5A3627}" type="slidenum">
              <a:rPr lang="en-US"/>
              <a:pPr>
                <a:defRPr/>
              </a:pPr>
              <a:t>‹#›</a:t>
            </a:fld>
            <a:endParaRPr lang="en-US"/>
          </a:p>
        </p:txBody>
      </p:sp>
      <p:sp>
        <p:nvSpPr>
          <p:cNvPr id="13" name="Fußzeilenplatzhalter 3"/>
          <p:cNvSpPr>
            <a:spLocks noGrp="1"/>
          </p:cNvSpPr>
          <p:nvPr>
            <p:ph type="ftr" sz="quarter" idx="3"/>
          </p:nvPr>
        </p:nvSpPr>
        <p:spPr bwMode="gray">
          <a:xfrm>
            <a:off x="1154113" y="6424613"/>
            <a:ext cx="5718175" cy="433387"/>
          </a:xfrm>
          <a:prstGeom prst="rect">
            <a:avLst/>
          </a:prstGeom>
        </p:spPr>
        <p:txBody>
          <a:bodyPr anchor="ctr"/>
          <a:lstStyle>
            <a:lvl1pPr marL="0" indent="0" algn="l">
              <a:buFont typeface="Arial" pitchFamily="34" charset="0"/>
              <a:buNone/>
              <a:defRPr sz="800" dirty="0" smtClean="0"/>
            </a:lvl1pPr>
          </a:lstStyle>
          <a:p>
            <a:pPr>
              <a:defRPr/>
            </a:pPr>
            <a:r>
              <a:rPr lang="en-US"/>
              <a:t>Bee Care Tempalte 2012 </a:t>
            </a:r>
            <a:r>
              <a:rPr lang="en-US">
                <a:sym typeface="Wingdings"/>
              </a:rPr>
              <a:t> March 2012</a:t>
            </a:r>
            <a:endParaRPr lang="en-US"/>
          </a:p>
        </p:txBody>
      </p:sp>
    </p:spTree>
  </p:cSld>
  <p:clrMap bg1="lt1" tx1="dk1" bg2="lt2" tx2="dk2" accent1="accent1" accent2="accent2" accent3="accent3" accent4="accent4" accent5="accent5" accent6="accent6" hlink="hlink" folHlink="folHlink"/>
  <p:sldLayoutIdLst>
    <p:sldLayoutId id="2147483770" r:id="rId1"/>
    <p:sldLayoutId id="2147483746" r:id="rId2"/>
    <p:sldLayoutId id="2147483747" r:id="rId3"/>
    <p:sldLayoutId id="2147483748" r:id="rId4"/>
    <p:sldLayoutId id="2147483749" r:id="rId5"/>
    <p:sldLayoutId id="2147483750" r:id="rId6"/>
  </p:sldLayoutIdLst>
  <p:transition>
    <p:wipe/>
  </p:transition>
  <p:hf hdr="0" ftr="0" dt="0"/>
  <p:txStyles>
    <p:titleStyle>
      <a:lvl1pPr algn="l" rtl="0" eaLnBrk="0" fontAlgn="base" hangingPunct="0">
        <a:spcBef>
          <a:spcPct val="0"/>
        </a:spcBef>
        <a:spcAft>
          <a:spcPct val="0"/>
        </a:spcAft>
        <a:defRPr sz="3200">
          <a:solidFill>
            <a:schemeClr val="tx1"/>
          </a:solidFill>
          <a:latin typeface="+mj-lt"/>
          <a:ea typeface="+mj-ea"/>
          <a:cs typeface="+mj-cs"/>
        </a:defRPr>
      </a:lvl1pPr>
      <a:lvl2pPr algn="l" rtl="0" eaLnBrk="0" fontAlgn="base" hangingPunct="0">
        <a:spcBef>
          <a:spcPct val="0"/>
        </a:spcBef>
        <a:spcAft>
          <a:spcPct val="0"/>
        </a:spcAft>
        <a:defRPr sz="3200">
          <a:solidFill>
            <a:schemeClr val="tx1"/>
          </a:solidFill>
          <a:latin typeface="Arial" charset="0"/>
          <a:cs typeface="Arial" charset="0"/>
        </a:defRPr>
      </a:lvl2pPr>
      <a:lvl3pPr algn="l" rtl="0" eaLnBrk="0" fontAlgn="base" hangingPunct="0">
        <a:spcBef>
          <a:spcPct val="0"/>
        </a:spcBef>
        <a:spcAft>
          <a:spcPct val="0"/>
        </a:spcAft>
        <a:defRPr sz="3200">
          <a:solidFill>
            <a:schemeClr val="tx1"/>
          </a:solidFill>
          <a:latin typeface="Arial" charset="0"/>
          <a:cs typeface="Arial" charset="0"/>
        </a:defRPr>
      </a:lvl3pPr>
      <a:lvl4pPr algn="l" rtl="0" eaLnBrk="0" fontAlgn="base" hangingPunct="0">
        <a:spcBef>
          <a:spcPct val="0"/>
        </a:spcBef>
        <a:spcAft>
          <a:spcPct val="0"/>
        </a:spcAft>
        <a:defRPr sz="3200">
          <a:solidFill>
            <a:schemeClr val="tx1"/>
          </a:solidFill>
          <a:latin typeface="Arial" charset="0"/>
          <a:cs typeface="Arial" charset="0"/>
        </a:defRPr>
      </a:lvl4pPr>
      <a:lvl5pPr algn="l" rtl="0" eaLnBrk="0" fontAlgn="base" hangingPunct="0">
        <a:spcBef>
          <a:spcPct val="0"/>
        </a:spcBef>
        <a:spcAft>
          <a:spcPct val="0"/>
        </a:spcAft>
        <a:defRPr sz="3200">
          <a:solidFill>
            <a:schemeClr val="tx1"/>
          </a:solidFill>
          <a:latin typeface="Arial" charset="0"/>
          <a:cs typeface="Arial" charset="0"/>
        </a:defRPr>
      </a:lvl5pPr>
      <a:lvl6pPr marL="457200" algn="l" rtl="0" fontAlgn="base">
        <a:spcBef>
          <a:spcPct val="0"/>
        </a:spcBef>
        <a:spcAft>
          <a:spcPct val="0"/>
        </a:spcAft>
        <a:defRPr sz="3200">
          <a:solidFill>
            <a:schemeClr val="tx1"/>
          </a:solidFill>
          <a:latin typeface="Arial" charset="0"/>
          <a:cs typeface="Arial" charset="0"/>
        </a:defRPr>
      </a:lvl6pPr>
      <a:lvl7pPr marL="914400" algn="l" rtl="0" fontAlgn="base">
        <a:spcBef>
          <a:spcPct val="0"/>
        </a:spcBef>
        <a:spcAft>
          <a:spcPct val="0"/>
        </a:spcAft>
        <a:defRPr sz="3200">
          <a:solidFill>
            <a:schemeClr val="tx1"/>
          </a:solidFill>
          <a:latin typeface="Arial" charset="0"/>
          <a:cs typeface="Arial" charset="0"/>
        </a:defRPr>
      </a:lvl7pPr>
      <a:lvl8pPr marL="1371600" algn="l" rtl="0" fontAlgn="base">
        <a:spcBef>
          <a:spcPct val="0"/>
        </a:spcBef>
        <a:spcAft>
          <a:spcPct val="0"/>
        </a:spcAft>
        <a:defRPr sz="3200">
          <a:solidFill>
            <a:schemeClr val="tx1"/>
          </a:solidFill>
          <a:latin typeface="Arial" charset="0"/>
          <a:cs typeface="Arial" charset="0"/>
        </a:defRPr>
      </a:lvl8pPr>
      <a:lvl9pPr marL="1828800" algn="l" rtl="0" fontAlgn="base">
        <a:spcBef>
          <a:spcPct val="0"/>
        </a:spcBef>
        <a:spcAft>
          <a:spcPct val="0"/>
        </a:spcAft>
        <a:defRPr sz="3200">
          <a:solidFill>
            <a:schemeClr val="tx1"/>
          </a:solidFill>
          <a:latin typeface="Arial" charset="0"/>
          <a:cs typeface="Arial" charset="0"/>
        </a:defRPr>
      </a:lvl9pPr>
    </p:titleStyle>
    <p:bodyStyle>
      <a:lvl1pPr algn="l" rtl="0" eaLnBrk="0" fontAlgn="base" hangingPunct="0">
        <a:spcBef>
          <a:spcPts val="300"/>
        </a:spcBef>
        <a:spcAft>
          <a:spcPts val="600"/>
        </a:spcAft>
        <a:defRPr>
          <a:solidFill>
            <a:schemeClr val="tx1"/>
          </a:solidFill>
          <a:latin typeface="+mn-lt"/>
          <a:ea typeface="+mn-ea"/>
          <a:cs typeface="+mn-cs"/>
        </a:defRPr>
      </a:lvl1pPr>
      <a:lvl2pPr marL="271463"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2pPr>
      <a:lvl3pPr marL="542925"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3pPr>
      <a:lvl4pPr marL="809625" indent="-265113" algn="l" rtl="0" eaLnBrk="0" fontAlgn="base" hangingPunct="0">
        <a:spcBef>
          <a:spcPts val="300"/>
        </a:spcBef>
        <a:spcAft>
          <a:spcPts val="600"/>
        </a:spcAft>
        <a:buClr>
          <a:schemeClr val="accent2"/>
        </a:buClr>
        <a:buSzPct val="110000"/>
        <a:buChar char="•"/>
        <a:defRPr>
          <a:solidFill>
            <a:schemeClr val="tx1"/>
          </a:solidFill>
          <a:latin typeface="+mn-lt"/>
          <a:cs typeface="+mn-cs"/>
        </a:defRPr>
      </a:lvl4pPr>
      <a:lvl5pPr marL="1081088"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5pPr>
      <a:lvl6pPr marL="1538288" indent="-269875" algn="l" rtl="0" fontAlgn="base">
        <a:spcBef>
          <a:spcPts val="300"/>
        </a:spcBef>
        <a:spcAft>
          <a:spcPts val="600"/>
        </a:spcAft>
        <a:buClr>
          <a:schemeClr val="accent2"/>
        </a:buClr>
        <a:buSzPct val="110000"/>
        <a:buChar char="•"/>
        <a:defRPr>
          <a:solidFill>
            <a:schemeClr val="tx1"/>
          </a:solidFill>
          <a:latin typeface="+mn-lt"/>
          <a:cs typeface="+mn-cs"/>
        </a:defRPr>
      </a:lvl6pPr>
      <a:lvl7pPr marL="1995488" indent="-269875" algn="l" rtl="0" fontAlgn="base">
        <a:spcBef>
          <a:spcPts val="300"/>
        </a:spcBef>
        <a:spcAft>
          <a:spcPts val="600"/>
        </a:spcAft>
        <a:buClr>
          <a:schemeClr val="accent2"/>
        </a:buClr>
        <a:buSzPct val="110000"/>
        <a:buChar char="•"/>
        <a:defRPr>
          <a:solidFill>
            <a:schemeClr val="tx1"/>
          </a:solidFill>
          <a:latin typeface="+mn-lt"/>
          <a:cs typeface="+mn-cs"/>
        </a:defRPr>
      </a:lvl7pPr>
      <a:lvl8pPr marL="2452688" indent="-269875" algn="l" rtl="0" fontAlgn="base">
        <a:spcBef>
          <a:spcPts val="300"/>
        </a:spcBef>
        <a:spcAft>
          <a:spcPts val="600"/>
        </a:spcAft>
        <a:buClr>
          <a:schemeClr val="accent2"/>
        </a:buClr>
        <a:buSzPct val="110000"/>
        <a:buChar char="•"/>
        <a:defRPr>
          <a:solidFill>
            <a:schemeClr val="tx1"/>
          </a:solidFill>
          <a:latin typeface="+mn-lt"/>
          <a:cs typeface="+mn-cs"/>
        </a:defRPr>
      </a:lvl8pPr>
      <a:lvl9pPr marL="2909888" indent="-269875" algn="l" rtl="0" fontAlgn="base">
        <a:spcBef>
          <a:spcPts val="300"/>
        </a:spcBef>
        <a:spcAft>
          <a:spcPts val="600"/>
        </a:spcAft>
        <a:buClr>
          <a:schemeClr val="accent2"/>
        </a:buClr>
        <a:buSzPct val="110000"/>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2530" name="Picture 2" descr="bee care_ppt_080212_MB13"/>
          <p:cNvPicPr>
            <a:picLocks noChangeAspect="1" noChangeArrowheads="1"/>
          </p:cNvPicPr>
          <p:nvPr/>
        </p:nvPicPr>
        <p:blipFill>
          <a:blip r:embed="rId8" cstate="print"/>
          <a:srcRect/>
          <a:stretch>
            <a:fillRect/>
          </a:stretch>
        </p:blipFill>
        <p:spPr bwMode="auto">
          <a:xfrm>
            <a:off x="0" y="0"/>
            <a:ext cx="9144000" cy="6858000"/>
          </a:xfrm>
          <a:prstGeom prst="rect">
            <a:avLst/>
          </a:prstGeom>
          <a:noFill/>
          <a:ln w="9525">
            <a:noFill/>
            <a:miter lim="800000"/>
            <a:headEnd/>
            <a:tailEnd/>
          </a:ln>
        </p:spPr>
      </p:pic>
      <p:sp>
        <p:nvSpPr>
          <p:cNvPr id="22531" name="Rectangle 3"/>
          <p:cNvSpPr>
            <a:spLocks noGrp="1" noChangeArrowheads="1"/>
          </p:cNvSpPr>
          <p:nvPr>
            <p:ph type="title"/>
          </p:nvPr>
        </p:nvSpPr>
        <p:spPr bwMode="gray">
          <a:xfrm>
            <a:off x="466725" y="349250"/>
            <a:ext cx="7058025" cy="9493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GB" smtClean="0"/>
              <a:t>Headline</a:t>
            </a:r>
          </a:p>
        </p:txBody>
      </p:sp>
      <p:sp>
        <p:nvSpPr>
          <p:cNvPr id="22532" name="Rectangle 4"/>
          <p:cNvSpPr>
            <a:spLocks noGrp="1" noChangeArrowheads="1"/>
          </p:cNvSpPr>
          <p:nvPr>
            <p:ph type="body" idx="1"/>
          </p:nvPr>
        </p:nvSpPr>
        <p:spPr bwMode="gray">
          <a:xfrm>
            <a:off x="466725" y="1628775"/>
            <a:ext cx="8208963" cy="45354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Text in Arial 18pt</a:t>
            </a:r>
          </a:p>
          <a:p>
            <a:pPr lvl="1"/>
            <a:r>
              <a:rPr lang="en-GB" smtClean="0"/>
              <a:t>First level</a:t>
            </a:r>
          </a:p>
          <a:p>
            <a:pPr lvl="2"/>
            <a:r>
              <a:rPr lang="en-GB" smtClean="0"/>
              <a:t>Second level</a:t>
            </a:r>
          </a:p>
          <a:p>
            <a:pPr lvl="3"/>
            <a:r>
              <a:rPr lang="en-GB" smtClean="0"/>
              <a:t>Third level</a:t>
            </a:r>
          </a:p>
          <a:p>
            <a:pPr lvl="4"/>
            <a:r>
              <a:rPr lang="en-GB" smtClean="0"/>
              <a:t>Fourth level</a:t>
            </a:r>
          </a:p>
        </p:txBody>
      </p:sp>
      <p:grpSp>
        <p:nvGrpSpPr>
          <p:cNvPr id="22533" name="Group 5"/>
          <p:cNvGrpSpPr>
            <a:grpSpLocks/>
          </p:cNvGrpSpPr>
          <p:nvPr/>
        </p:nvGrpSpPr>
        <p:grpSpPr bwMode="auto">
          <a:xfrm>
            <a:off x="-3175" y="1463675"/>
            <a:ext cx="9147175" cy="5394325"/>
            <a:chOff x="-2" y="922"/>
            <a:chExt cx="5762" cy="3398"/>
          </a:xfrm>
        </p:grpSpPr>
        <p:sp>
          <p:nvSpPr>
            <p:cNvPr id="39942" name="Rectangle 6"/>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a:ext uri="{91240B29-F687-4F45-9708-019B960494DF}"/>
            </a:extLst>
          </p:spPr>
          <p:txBody>
            <a:bodyPr/>
            <a:lstStyle/>
            <a:p>
              <a:pPr algn="ctr">
                <a:defRPr/>
              </a:pPr>
              <a:endParaRPr lang="en-US" dirty="0"/>
            </a:p>
          </p:txBody>
        </p:sp>
        <p:sp>
          <p:nvSpPr>
            <p:cNvPr id="39943" name="Freeform 7"/>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a:ext uri="{91240B29-F687-4F45-9708-019B960494DF}"/>
            </a:extLst>
          </p:spPr>
          <p:txBody>
            <a:bodyPr/>
            <a:lstStyle/>
            <a:p>
              <a:pPr algn="ctr">
                <a:defRPr/>
              </a:pPr>
              <a:endParaRPr lang="en-US" dirty="0"/>
            </a:p>
          </p:txBody>
        </p:sp>
        <p:sp>
          <p:nvSpPr>
            <p:cNvPr id="39944" name="Freeform 8"/>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a:ext uri="{91240B29-F687-4F45-9708-019B960494DF}"/>
            </a:extLst>
          </p:spPr>
          <p:txBody>
            <a:bodyPr/>
            <a:lstStyle/>
            <a:p>
              <a:pPr algn="ctr">
                <a:defRPr/>
              </a:pPr>
              <a:endParaRPr lang="en-US" dirty="0"/>
            </a:p>
          </p:txBody>
        </p:sp>
        <p:sp>
          <p:nvSpPr>
            <p:cNvPr id="39945" name="Freeform 9"/>
            <p:cNvSpPr>
              <a:spLocks/>
            </p:cNvSpPr>
            <p:nvPr/>
          </p:nvSpPr>
          <p:spPr bwMode="gray">
            <a:xfrm>
              <a:off x="-2" y="3358"/>
              <a:ext cx="5762" cy="688"/>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a:ext uri="{91240B29-F687-4F45-9708-019B960494DF}"/>
            </a:extLst>
          </p:spPr>
          <p:txBody>
            <a:bodyPr/>
            <a:lstStyle/>
            <a:p>
              <a:pPr algn="ctr">
                <a:defRPr/>
              </a:pPr>
              <a:endParaRPr lang="en-US" dirty="0"/>
            </a:p>
          </p:txBody>
        </p:sp>
      </p:grpSp>
      <p:pic>
        <p:nvPicPr>
          <p:cNvPr id="22534" name="Picture 10"/>
          <p:cNvPicPr>
            <a:picLocks noChangeAspect="1" noChangeArrowheads="1"/>
          </p:cNvPicPr>
          <p:nvPr/>
        </p:nvPicPr>
        <p:blipFill>
          <a:blip r:embed="rId9" cstate="print"/>
          <a:srcRect/>
          <a:stretch>
            <a:fillRect/>
          </a:stretch>
        </p:blipFill>
        <p:spPr bwMode="gray">
          <a:xfrm>
            <a:off x="7727950" y="250825"/>
            <a:ext cx="949325" cy="949325"/>
          </a:xfrm>
          <a:prstGeom prst="rect">
            <a:avLst/>
          </a:prstGeom>
          <a:noFill/>
          <a:ln w="9525">
            <a:noFill/>
            <a:miter lim="800000"/>
            <a:headEnd/>
            <a:tailEnd/>
          </a:ln>
        </p:spPr>
      </p:pic>
      <p:sp>
        <p:nvSpPr>
          <p:cNvPr id="12" name="Foliennummernplatzhalter 1"/>
          <p:cNvSpPr>
            <a:spLocks noGrp="1"/>
          </p:cNvSpPr>
          <p:nvPr>
            <p:ph type="sldNum" sz="quarter" idx="4"/>
          </p:nvPr>
        </p:nvSpPr>
        <p:spPr bwMode="gray">
          <a:xfrm>
            <a:off x="360363" y="6424613"/>
            <a:ext cx="793750" cy="433387"/>
          </a:xfrm>
          <a:prstGeom prst="rect">
            <a:avLst/>
          </a:prstGeom>
        </p:spPr>
        <p:txBody>
          <a:bodyPr anchor="ctr"/>
          <a:lstStyle>
            <a:lvl1pPr marL="0" indent="0" algn="l">
              <a:buFont typeface="Arial" pitchFamily="34" charset="0"/>
              <a:buNone/>
              <a:defRPr sz="800" dirty="0" smtClean="0"/>
            </a:lvl1pPr>
          </a:lstStyle>
          <a:p>
            <a:pPr>
              <a:defRPr/>
            </a:pPr>
            <a:r>
              <a:rPr lang="en-US"/>
              <a:t>Page </a:t>
            </a:r>
            <a:fld id="{9E8CA7CC-2F06-4313-8A3D-510D5C7711E1}" type="slidenum">
              <a:rPr lang="en-US"/>
              <a:pPr>
                <a:defRPr/>
              </a:pPr>
              <a:t>‹#›</a:t>
            </a:fld>
            <a:endParaRPr lang="en-US"/>
          </a:p>
        </p:txBody>
      </p:sp>
      <p:sp>
        <p:nvSpPr>
          <p:cNvPr id="13" name="Fußzeilenplatzhalter 3"/>
          <p:cNvSpPr>
            <a:spLocks noGrp="1"/>
          </p:cNvSpPr>
          <p:nvPr>
            <p:ph type="ftr" sz="quarter" idx="3"/>
          </p:nvPr>
        </p:nvSpPr>
        <p:spPr bwMode="gray">
          <a:xfrm>
            <a:off x="1154113" y="6424613"/>
            <a:ext cx="5718175" cy="433387"/>
          </a:xfrm>
          <a:prstGeom prst="rect">
            <a:avLst/>
          </a:prstGeom>
        </p:spPr>
        <p:txBody>
          <a:bodyPr anchor="ctr"/>
          <a:lstStyle>
            <a:lvl1pPr marL="0" indent="0" algn="l">
              <a:buFont typeface="Arial" pitchFamily="34" charset="0"/>
              <a:buNone/>
              <a:defRPr sz="800" dirty="0" smtClean="0"/>
            </a:lvl1pPr>
          </a:lstStyle>
          <a:p>
            <a:pPr>
              <a:defRPr/>
            </a:pPr>
            <a:r>
              <a:rPr lang="en-US"/>
              <a:t>Bee Care Tempalte 2012 </a:t>
            </a:r>
            <a:r>
              <a:rPr lang="en-US">
                <a:sym typeface="Wingdings"/>
              </a:rPr>
              <a:t> March 2012</a:t>
            </a:r>
            <a:endParaRPr lang="en-US"/>
          </a:p>
        </p:txBody>
      </p:sp>
    </p:spTree>
  </p:cSld>
  <p:clrMap bg1="lt1" tx1="dk1" bg2="lt2" tx2="dk2" accent1="accent1" accent2="accent2" accent3="accent3" accent4="accent4" accent5="accent5" accent6="accent6" hlink="hlink" folHlink="folHlink"/>
  <p:sldLayoutIdLst>
    <p:sldLayoutId id="2147483771" r:id="rId1"/>
    <p:sldLayoutId id="2147483751" r:id="rId2"/>
    <p:sldLayoutId id="2147483752" r:id="rId3"/>
    <p:sldLayoutId id="2147483753" r:id="rId4"/>
    <p:sldLayoutId id="2147483754" r:id="rId5"/>
    <p:sldLayoutId id="2147483755" r:id="rId6"/>
  </p:sldLayoutIdLst>
  <p:transition>
    <p:wipe/>
  </p:transition>
  <p:hf hdr="0" ftr="0" dt="0"/>
  <p:txStyles>
    <p:titleStyle>
      <a:lvl1pPr algn="l" rtl="0" eaLnBrk="0" fontAlgn="base" hangingPunct="0">
        <a:spcBef>
          <a:spcPct val="0"/>
        </a:spcBef>
        <a:spcAft>
          <a:spcPct val="0"/>
        </a:spcAft>
        <a:defRPr sz="3200">
          <a:solidFill>
            <a:schemeClr val="tx1"/>
          </a:solidFill>
          <a:latin typeface="+mj-lt"/>
          <a:ea typeface="+mj-ea"/>
          <a:cs typeface="+mj-cs"/>
        </a:defRPr>
      </a:lvl1pPr>
      <a:lvl2pPr algn="l" rtl="0" eaLnBrk="0" fontAlgn="base" hangingPunct="0">
        <a:spcBef>
          <a:spcPct val="0"/>
        </a:spcBef>
        <a:spcAft>
          <a:spcPct val="0"/>
        </a:spcAft>
        <a:defRPr sz="3200">
          <a:solidFill>
            <a:schemeClr val="tx1"/>
          </a:solidFill>
          <a:latin typeface="Arial" charset="0"/>
          <a:cs typeface="Arial" charset="0"/>
        </a:defRPr>
      </a:lvl2pPr>
      <a:lvl3pPr algn="l" rtl="0" eaLnBrk="0" fontAlgn="base" hangingPunct="0">
        <a:spcBef>
          <a:spcPct val="0"/>
        </a:spcBef>
        <a:spcAft>
          <a:spcPct val="0"/>
        </a:spcAft>
        <a:defRPr sz="3200">
          <a:solidFill>
            <a:schemeClr val="tx1"/>
          </a:solidFill>
          <a:latin typeface="Arial" charset="0"/>
          <a:cs typeface="Arial" charset="0"/>
        </a:defRPr>
      </a:lvl3pPr>
      <a:lvl4pPr algn="l" rtl="0" eaLnBrk="0" fontAlgn="base" hangingPunct="0">
        <a:spcBef>
          <a:spcPct val="0"/>
        </a:spcBef>
        <a:spcAft>
          <a:spcPct val="0"/>
        </a:spcAft>
        <a:defRPr sz="3200">
          <a:solidFill>
            <a:schemeClr val="tx1"/>
          </a:solidFill>
          <a:latin typeface="Arial" charset="0"/>
          <a:cs typeface="Arial" charset="0"/>
        </a:defRPr>
      </a:lvl4pPr>
      <a:lvl5pPr algn="l" rtl="0" eaLnBrk="0" fontAlgn="base" hangingPunct="0">
        <a:spcBef>
          <a:spcPct val="0"/>
        </a:spcBef>
        <a:spcAft>
          <a:spcPct val="0"/>
        </a:spcAft>
        <a:defRPr sz="3200">
          <a:solidFill>
            <a:schemeClr val="tx1"/>
          </a:solidFill>
          <a:latin typeface="Arial" charset="0"/>
          <a:cs typeface="Arial" charset="0"/>
        </a:defRPr>
      </a:lvl5pPr>
      <a:lvl6pPr marL="457200" algn="l" rtl="0" fontAlgn="base">
        <a:spcBef>
          <a:spcPct val="0"/>
        </a:spcBef>
        <a:spcAft>
          <a:spcPct val="0"/>
        </a:spcAft>
        <a:defRPr sz="3200">
          <a:solidFill>
            <a:schemeClr val="tx1"/>
          </a:solidFill>
          <a:latin typeface="Arial" charset="0"/>
          <a:cs typeface="Arial" charset="0"/>
        </a:defRPr>
      </a:lvl6pPr>
      <a:lvl7pPr marL="914400" algn="l" rtl="0" fontAlgn="base">
        <a:spcBef>
          <a:spcPct val="0"/>
        </a:spcBef>
        <a:spcAft>
          <a:spcPct val="0"/>
        </a:spcAft>
        <a:defRPr sz="3200">
          <a:solidFill>
            <a:schemeClr val="tx1"/>
          </a:solidFill>
          <a:latin typeface="Arial" charset="0"/>
          <a:cs typeface="Arial" charset="0"/>
        </a:defRPr>
      </a:lvl7pPr>
      <a:lvl8pPr marL="1371600" algn="l" rtl="0" fontAlgn="base">
        <a:spcBef>
          <a:spcPct val="0"/>
        </a:spcBef>
        <a:spcAft>
          <a:spcPct val="0"/>
        </a:spcAft>
        <a:defRPr sz="3200">
          <a:solidFill>
            <a:schemeClr val="tx1"/>
          </a:solidFill>
          <a:latin typeface="Arial" charset="0"/>
          <a:cs typeface="Arial" charset="0"/>
        </a:defRPr>
      </a:lvl8pPr>
      <a:lvl9pPr marL="1828800" algn="l" rtl="0" fontAlgn="base">
        <a:spcBef>
          <a:spcPct val="0"/>
        </a:spcBef>
        <a:spcAft>
          <a:spcPct val="0"/>
        </a:spcAft>
        <a:defRPr sz="3200">
          <a:solidFill>
            <a:schemeClr val="tx1"/>
          </a:solidFill>
          <a:latin typeface="Arial" charset="0"/>
          <a:cs typeface="Arial" charset="0"/>
        </a:defRPr>
      </a:lvl9pPr>
    </p:titleStyle>
    <p:bodyStyle>
      <a:lvl1pPr algn="l" rtl="0" eaLnBrk="0" fontAlgn="base" hangingPunct="0">
        <a:spcBef>
          <a:spcPts val="300"/>
        </a:spcBef>
        <a:spcAft>
          <a:spcPts val="600"/>
        </a:spcAft>
        <a:defRPr>
          <a:solidFill>
            <a:schemeClr val="tx1"/>
          </a:solidFill>
          <a:latin typeface="+mn-lt"/>
          <a:ea typeface="+mn-ea"/>
          <a:cs typeface="+mn-cs"/>
        </a:defRPr>
      </a:lvl1pPr>
      <a:lvl2pPr marL="271463"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2pPr>
      <a:lvl3pPr marL="542925"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3pPr>
      <a:lvl4pPr marL="809625" indent="-265113" algn="l" rtl="0" eaLnBrk="0" fontAlgn="base" hangingPunct="0">
        <a:spcBef>
          <a:spcPts val="300"/>
        </a:spcBef>
        <a:spcAft>
          <a:spcPts val="600"/>
        </a:spcAft>
        <a:buClr>
          <a:schemeClr val="accent2"/>
        </a:buClr>
        <a:buSzPct val="110000"/>
        <a:buChar char="•"/>
        <a:defRPr>
          <a:solidFill>
            <a:schemeClr val="tx1"/>
          </a:solidFill>
          <a:latin typeface="+mn-lt"/>
          <a:cs typeface="+mn-cs"/>
        </a:defRPr>
      </a:lvl4pPr>
      <a:lvl5pPr marL="1081088"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5pPr>
      <a:lvl6pPr marL="1538288" indent="-269875" algn="l" rtl="0" fontAlgn="base">
        <a:spcBef>
          <a:spcPts val="300"/>
        </a:spcBef>
        <a:spcAft>
          <a:spcPts val="600"/>
        </a:spcAft>
        <a:buClr>
          <a:schemeClr val="accent2"/>
        </a:buClr>
        <a:buSzPct val="110000"/>
        <a:buChar char="•"/>
        <a:defRPr>
          <a:solidFill>
            <a:schemeClr val="tx1"/>
          </a:solidFill>
          <a:latin typeface="+mn-lt"/>
          <a:cs typeface="+mn-cs"/>
        </a:defRPr>
      </a:lvl6pPr>
      <a:lvl7pPr marL="1995488" indent="-269875" algn="l" rtl="0" fontAlgn="base">
        <a:spcBef>
          <a:spcPts val="300"/>
        </a:spcBef>
        <a:spcAft>
          <a:spcPts val="600"/>
        </a:spcAft>
        <a:buClr>
          <a:schemeClr val="accent2"/>
        </a:buClr>
        <a:buSzPct val="110000"/>
        <a:buChar char="•"/>
        <a:defRPr>
          <a:solidFill>
            <a:schemeClr val="tx1"/>
          </a:solidFill>
          <a:latin typeface="+mn-lt"/>
          <a:cs typeface="+mn-cs"/>
        </a:defRPr>
      </a:lvl7pPr>
      <a:lvl8pPr marL="2452688" indent="-269875" algn="l" rtl="0" fontAlgn="base">
        <a:spcBef>
          <a:spcPts val="300"/>
        </a:spcBef>
        <a:spcAft>
          <a:spcPts val="600"/>
        </a:spcAft>
        <a:buClr>
          <a:schemeClr val="accent2"/>
        </a:buClr>
        <a:buSzPct val="110000"/>
        <a:buChar char="•"/>
        <a:defRPr>
          <a:solidFill>
            <a:schemeClr val="tx1"/>
          </a:solidFill>
          <a:latin typeface="+mn-lt"/>
          <a:cs typeface="+mn-cs"/>
        </a:defRPr>
      </a:lvl8pPr>
      <a:lvl9pPr marL="2909888" indent="-269875" algn="l" rtl="0" fontAlgn="base">
        <a:spcBef>
          <a:spcPts val="300"/>
        </a:spcBef>
        <a:spcAft>
          <a:spcPts val="600"/>
        </a:spcAft>
        <a:buClr>
          <a:schemeClr val="accent2"/>
        </a:buClr>
        <a:buSzPct val="110000"/>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9698" name="Picture 2" descr="bee care_ppt_080212_MB13"/>
          <p:cNvPicPr>
            <a:picLocks noChangeAspect="1" noChangeArrowheads="1"/>
          </p:cNvPicPr>
          <p:nvPr/>
        </p:nvPicPr>
        <p:blipFill>
          <a:blip r:embed="rId8" cstate="print"/>
          <a:srcRect/>
          <a:stretch>
            <a:fillRect/>
          </a:stretch>
        </p:blipFill>
        <p:spPr bwMode="auto">
          <a:xfrm>
            <a:off x="0" y="0"/>
            <a:ext cx="9144000" cy="6858000"/>
          </a:xfrm>
          <a:prstGeom prst="rect">
            <a:avLst/>
          </a:prstGeom>
          <a:noFill/>
          <a:ln w="9525">
            <a:noFill/>
            <a:miter lim="800000"/>
            <a:headEnd/>
            <a:tailEnd/>
          </a:ln>
        </p:spPr>
      </p:pic>
      <p:sp>
        <p:nvSpPr>
          <p:cNvPr id="29699" name="Rectangle 3"/>
          <p:cNvSpPr>
            <a:spLocks noGrp="1" noChangeArrowheads="1"/>
          </p:cNvSpPr>
          <p:nvPr>
            <p:ph type="title"/>
          </p:nvPr>
        </p:nvSpPr>
        <p:spPr bwMode="gray">
          <a:xfrm>
            <a:off x="466725" y="349250"/>
            <a:ext cx="7058025" cy="9493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GB" smtClean="0"/>
              <a:t>Headline</a:t>
            </a:r>
          </a:p>
        </p:txBody>
      </p:sp>
      <p:sp>
        <p:nvSpPr>
          <p:cNvPr id="29700" name="Rectangle 4"/>
          <p:cNvSpPr>
            <a:spLocks noGrp="1" noChangeArrowheads="1"/>
          </p:cNvSpPr>
          <p:nvPr>
            <p:ph type="body" idx="1"/>
          </p:nvPr>
        </p:nvSpPr>
        <p:spPr bwMode="gray">
          <a:xfrm>
            <a:off x="466725" y="1628775"/>
            <a:ext cx="8208963" cy="453548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smtClean="0"/>
              <a:t>Text in Arial 18pt</a:t>
            </a:r>
          </a:p>
          <a:p>
            <a:pPr lvl="1"/>
            <a:r>
              <a:rPr lang="en-GB" smtClean="0"/>
              <a:t>First level</a:t>
            </a:r>
          </a:p>
          <a:p>
            <a:pPr lvl="2"/>
            <a:r>
              <a:rPr lang="en-GB" smtClean="0"/>
              <a:t>Second level</a:t>
            </a:r>
          </a:p>
          <a:p>
            <a:pPr lvl="3"/>
            <a:r>
              <a:rPr lang="en-GB" smtClean="0"/>
              <a:t>Third level</a:t>
            </a:r>
          </a:p>
          <a:p>
            <a:pPr lvl="4"/>
            <a:r>
              <a:rPr lang="en-GB" smtClean="0"/>
              <a:t>Fourth level</a:t>
            </a:r>
          </a:p>
        </p:txBody>
      </p:sp>
      <p:grpSp>
        <p:nvGrpSpPr>
          <p:cNvPr id="29701" name="Group 5"/>
          <p:cNvGrpSpPr>
            <a:grpSpLocks/>
          </p:cNvGrpSpPr>
          <p:nvPr/>
        </p:nvGrpSpPr>
        <p:grpSpPr bwMode="auto">
          <a:xfrm>
            <a:off x="-3175" y="1463675"/>
            <a:ext cx="9147175" cy="5394325"/>
            <a:chOff x="-2" y="922"/>
            <a:chExt cx="5762" cy="3398"/>
          </a:xfrm>
        </p:grpSpPr>
        <p:sp>
          <p:nvSpPr>
            <p:cNvPr id="39942" name="Rectangle 6"/>
            <p:cNvSpPr>
              <a:spLocks noChangeArrowheads="1"/>
            </p:cNvSpPr>
            <p:nvPr/>
          </p:nvSpPr>
          <p:spPr bwMode="gray">
            <a:xfrm>
              <a:off x="5680" y="922"/>
              <a:ext cx="80" cy="2000"/>
            </a:xfrm>
            <a:prstGeom prst="rect">
              <a:avLst/>
            </a:prstGeom>
            <a:gradFill rotWithShape="1">
              <a:gsLst>
                <a:gs pos="0">
                  <a:srgbClr val="FFFFFF"/>
                </a:gs>
                <a:gs pos="100000">
                  <a:srgbClr val="D9D9D9"/>
                </a:gs>
              </a:gsLst>
              <a:lin ang="5400000" scaled="1"/>
            </a:gradFill>
            <a:ln>
              <a:noFill/>
            </a:ln>
            <a:extLst>
              <a:ext uri="{91240B29-F687-4F45-9708-019B960494DF}"/>
            </a:extLst>
          </p:spPr>
          <p:txBody>
            <a:bodyPr/>
            <a:lstStyle/>
            <a:p>
              <a:pPr algn="ctr">
                <a:defRPr/>
              </a:pPr>
              <a:endParaRPr lang="en-US" dirty="0"/>
            </a:p>
          </p:txBody>
        </p:sp>
        <p:sp>
          <p:nvSpPr>
            <p:cNvPr id="39943" name="Freeform 7"/>
            <p:cNvSpPr>
              <a:spLocks/>
            </p:cNvSpPr>
            <p:nvPr/>
          </p:nvSpPr>
          <p:spPr bwMode="gray">
            <a:xfrm>
              <a:off x="-2" y="3792"/>
              <a:ext cx="5762" cy="528"/>
            </a:xfrm>
            <a:custGeom>
              <a:avLst/>
              <a:gdLst>
                <a:gd name="T0" fmla="*/ 5762 w 5762"/>
                <a:gd name="T1" fmla="*/ 528 h 528"/>
                <a:gd name="T2" fmla="*/ 5762 w 5762"/>
                <a:gd name="T3" fmla="*/ 0 h 528"/>
                <a:gd name="T4" fmla="*/ 5678 w 5762"/>
                <a:gd name="T5" fmla="*/ 0 h 528"/>
                <a:gd name="T6" fmla="*/ 5678 w 5762"/>
                <a:gd name="T7" fmla="*/ 251 h 528"/>
                <a:gd name="T8" fmla="*/ 2 w 5762"/>
                <a:gd name="T9" fmla="*/ 251 h 528"/>
                <a:gd name="T10" fmla="*/ 0 w 5762"/>
                <a:gd name="T11" fmla="*/ 528 h 528"/>
                <a:gd name="T12" fmla="*/ 5762 w 5762"/>
                <a:gd name="T13" fmla="*/ 528 h 528"/>
              </a:gdLst>
              <a:ahLst/>
              <a:cxnLst>
                <a:cxn ang="0">
                  <a:pos x="T0" y="T1"/>
                </a:cxn>
                <a:cxn ang="0">
                  <a:pos x="T2" y="T3"/>
                </a:cxn>
                <a:cxn ang="0">
                  <a:pos x="T4" y="T5"/>
                </a:cxn>
                <a:cxn ang="0">
                  <a:pos x="T6" y="T7"/>
                </a:cxn>
                <a:cxn ang="0">
                  <a:pos x="T8" y="T9"/>
                </a:cxn>
                <a:cxn ang="0">
                  <a:pos x="T10" y="T11"/>
                </a:cxn>
                <a:cxn ang="0">
                  <a:pos x="T12" y="T13"/>
                </a:cxn>
              </a:cxnLst>
              <a:rect l="0" t="0" r="r" b="b"/>
              <a:pathLst>
                <a:path w="5762" h="528">
                  <a:moveTo>
                    <a:pt x="5762" y="528"/>
                  </a:moveTo>
                  <a:lnTo>
                    <a:pt x="5762" y="0"/>
                  </a:lnTo>
                  <a:lnTo>
                    <a:pt x="5678" y="0"/>
                  </a:lnTo>
                  <a:lnTo>
                    <a:pt x="5678" y="251"/>
                  </a:lnTo>
                  <a:lnTo>
                    <a:pt x="2" y="251"/>
                  </a:lnTo>
                  <a:lnTo>
                    <a:pt x="0" y="528"/>
                  </a:lnTo>
                  <a:lnTo>
                    <a:pt x="5762" y="528"/>
                  </a:lnTo>
                  <a:close/>
                </a:path>
              </a:pathLst>
            </a:custGeom>
            <a:gradFill rotWithShape="1">
              <a:gsLst>
                <a:gs pos="0">
                  <a:srgbClr val="BFBFBF"/>
                </a:gs>
                <a:gs pos="100000">
                  <a:srgbClr val="FFFFFF"/>
                </a:gs>
              </a:gsLst>
              <a:lin ang="5400000" scaled="1"/>
            </a:gradFill>
            <a:ln>
              <a:noFill/>
            </a:ln>
            <a:extLst>
              <a:ext uri="{91240B29-F687-4F45-9708-019B960494DF}"/>
            </a:extLst>
          </p:spPr>
          <p:txBody>
            <a:bodyPr/>
            <a:lstStyle/>
            <a:p>
              <a:pPr algn="ctr">
                <a:defRPr/>
              </a:pPr>
              <a:endParaRPr lang="en-US" dirty="0"/>
            </a:p>
          </p:txBody>
        </p:sp>
        <p:sp>
          <p:nvSpPr>
            <p:cNvPr id="39944" name="Freeform 8"/>
            <p:cNvSpPr>
              <a:spLocks/>
            </p:cNvSpPr>
            <p:nvPr/>
          </p:nvSpPr>
          <p:spPr bwMode="gray">
            <a:xfrm>
              <a:off x="-2" y="922"/>
              <a:ext cx="5762" cy="2442"/>
            </a:xfrm>
            <a:custGeom>
              <a:avLst/>
              <a:gdLst>
                <a:gd name="T0" fmla="*/ 6709 w 6803"/>
                <a:gd name="T1" fmla="*/ 2360 h 2884"/>
                <a:gd name="T2" fmla="*/ 6709 w 6803"/>
                <a:gd name="T3" fmla="*/ 0 h 2884"/>
                <a:gd name="T4" fmla="*/ 0 w 6803"/>
                <a:gd name="T5" fmla="*/ 0 h 2884"/>
                <a:gd name="T6" fmla="*/ 0 w 6803"/>
                <a:gd name="T7" fmla="*/ 7 h 2884"/>
                <a:gd name="T8" fmla="*/ 6701 w 6803"/>
                <a:gd name="T9" fmla="*/ 7 h 2884"/>
                <a:gd name="T10" fmla="*/ 6701 w 6803"/>
                <a:gd name="T11" fmla="*/ 2884 h 2884"/>
                <a:gd name="T12" fmla="*/ 6803 w 6803"/>
                <a:gd name="T13" fmla="*/ 2884 h 2884"/>
                <a:gd name="T14" fmla="*/ 6803 w 6803"/>
                <a:gd name="T15" fmla="*/ 2360 h 2884"/>
                <a:gd name="T16" fmla="*/ 6709 w 6803"/>
                <a:gd name="T17" fmla="*/ 2360 h 2884"/>
                <a:gd name="T18" fmla="*/ 6709 w 6803"/>
                <a:gd name="T19" fmla="*/ 2360 h 2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2884">
                  <a:moveTo>
                    <a:pt x="6709" y="2360"/>
                  </a:moveTo>
                  <a:lnTo>
                    <a:pt x="6709" y="0"/>
                  </a:lnTo>
                  <a:lnTo>
                    <a:pt x="0" y="0"/>
                  </a:lnTo>
                  <a:lnTo>
                    <a:pt x="0" y="7"/>
                  </a:lnTo>
                  <a:lnTo>
                    <a:pt x="6701" y="7"/>
                  </a:lnTo>
                  <a:lnTo>
                    <a:pt x="6701" y="2884"/>
                  </a:lnTo>
                  <a:lnTo>
                    <a:pt x="6803" y="2884"/>
                  </a:lnTo>
                  <a:lnTo>
                    <a:pt x="6803" y="2360"/>
                  </a:lnTo>
                  <a:lnTo>
                    <a:pt x="6709" y="2360"/>
                  </a:lnTo>
                  <a:lnTo>
                    <a:pt x="6709" y="2360"/>
                  </a:lnTo>
                  <a:close/>
                </a:path>
              </a:pathLst>
            </a:custGeom>
            <a:solidFill>
              <a:srgbClr val="6BC200"/>
            </a:solidFill>
            <a:ln>
              <a:noFill/>
            </a:ln>
            <a:extLst>
              <a:ext uri="{91240B29-F687-4F45-9708-019B960494DF}"/>
            </a:extLst>
          </p:spPr>
          <p:txBody>
            <a:bodyPr/>
            <a:lstStyle/>
            <a:p>
              <a:pPr algn="ctr">
                <a:defRPr/>
              </a:pPr>
              <a:endParaRPr lang="en-US" dirty="0"/>
            </a:p>
          </p:txBody>
        </p:sp>
        <p:sp>
          <p:nvSpPr>
            <p:cNvPr id="39945" name="Freeform 9"/>
            <p:cNvSpPr>
              <a:spLocks/>
            </p:cNvSpPr>
            <p:nvPr/>
          </p:nvSpPr>
          <p:spPr bwMode="gray">
            <a:xfrm>
              <a:off x="-2" y="3358"/>
              <a:ext cx="5762" cy="688"/>
            </a:xfrm>
            <a:custGeom>
              <a:avLst/>
              <a:gdLst>
                <a:gd name="T0" fmla="*/ 6803 w 6803"/>
                <a:gd name="T1" fmla="*/ 0 h 812"/>
                <a:gd name="T2" fmla="*/ 6701 w 6803"/>
                <a:gd name="T3" fmla="*/ 0 h 812"/>
                <a:gd name="T4" fmla="*/ 6701 w 6803"/>
                <a:gd name="T5" fmla="*/ 805 h 812"/>
                <a:gd name="T6" fmla="*/ 0 w 6803"/>
                <a:gd name="T7" fmla="*/ 805 h 812"/>
                <a:gd name="T8" fmla="*/ 0 w 6803"/>
                <a:gd name="T9" fmla="*/ 812 h 812"/>
                <a:gd name="T10" fmla="*/ 6709 w 6803"/>
                <a:gd name="T11" fmla="*/ 812 h 812"/>
                <a:gd name="T12" fmla="*/ 6709 w 6803"/>
                <a:gd name="T13" fmla="*/ 522 h 812"/>
                <a:gd name="T14" fmla="*/ 6803 w 6803"/>
                <a:gd name="T15" fmla="*/ 522 h 812"/>
                <a:gd name="T16" fmla="*/ 6803 w 6803"/>
                <a:gd name="T17" fmla="*/ 0 h 812"/>
                <a:gd name="T18" fmla="*/ 6803 w 6803"/>
                <a:gd name="T19" fmla="*/ 0 h 8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03" h="812">
                  <a:moveTo>
                    <a:pt x="6803" y="0"/>
                  </a:moveTo>
                  <a:lnTo>
                    <a:pt x="6701" y="0"/>
                  </a:lnTo>
                  <a:lnTo>
                    <a:pt x="6701" y="805"/>
                  </a:lnTo>
                  <a:lnTo>
                    <a:pt x="0" y="805"/>
                  </a:lnTo>
                  <a:lnTo>
                    <a:pt x="0" y="812"/>
                  </a:lnTo>
                  <a:lnTo>
                    <a:pt x="6709" y="812"/>
                  </a:lnTo>
                  <a:lnTo>
                    <a:pt x="6709" y="522"/>
                  </a:lnTo>
                  <a:lnTo>
                    <a:pt x="6803" y="522"/>
                  </a:lnTo>
                  <a:lnTo>
                    <a:pt x="6803" y="0"/>
                  </a:lnTo>
                  <a:lnTo>
                    <a:pt x="6803" y="0"/>
                  </a:lnTo>
                  <a:close/>
                </a:path>
              </a:pathLst>
            </a:custGeom>
            <a:solidFill>
              <a:srgbClr val="0090C5"/>
            </a:solidFill>
            <a:ln>
              <a:noFill/>
            </a:ln>
            <a:extLst>
              <a:ext uri="{91240B29-F687-4F45-9708-019B960494DF}"/>
            </a:extLst>
          </p:spPr>
          <p:txBody>
            <a:bodyPr/>
            <a:lstStyle/>
            <a:p>
              <a:pPr algn="ctr">
                <a:defRPr/>
              </a:pPr>
              <a:endParaRPr lang="en-US" dirty="0"/>
            </a:p>
          </p:txBody>
        </p:sp>
      </p:grpSp>
      <p:pic>
        <p:nvPicPr>
          <p:cNvPr id="29702" name="Picture 10"/>
          <p:cNvPicPr>
            <a:picLocks noChangeAspect="1" noChangeArrowheads="1"/>
          </p:cNvPicPr>
          <p:nvPr/>
        </p:nvPicPr>
        <p:blipFill>
          <a:blip r:embed="rId9" cstate="print"/>
          <a:srcRect/>
          <a:stretch>
            <a:fillRect/>
          </a:stretch>
        </p:blipFill>
        <p:spPr bwMode="gray">
          <a:xfrm>
            <a:off x="7727950" y="250825"/>
            <a:ext cx="949325" cy="949325"/>
          </a:xfrm>
          <a:prstGeom prst="rect">
            <a:avLst/>
          </a:prstGeom>
          <a:noFill/>
          <a:ln w="9525">
            <a:noFill/>
            <a:miter lim="800000"/>
            <a:headEnd/>
            <a:tailEnd/>
          </a:ln>
        </p:spPr>
      </p:pic>
      <p:sp>
        <p:nvSpPr>
          <p:cNvPr id="12" name="Foliennummernplatzhalter 1"/>
          <p:cNvSpPr>
            <a:spLocks noGrp="1"/>
          </p:cNvSpPr>
          <p:nvPr>
            <p:ph type="sldNum" sz="quarter" idx="4"/>
          </p:nvPr>
        </p:nvSpPr>
        <p:spPr bwMode="gray">
          <a:xfrm>
            <a:off x="360363" y="6424613"/>
            <a:ext cx="793750" cy="433387"/>
          </a:xfrm>
          <a:prstGeom prst="rect">
            <a:avLst/>
          </a:prstGeom>
        </p:spPr>
        <p:txBody>
          <a:bodyPr anchor="ctr"/>
          <a:lstStyle>
            <a:lvl1pPr marL="0" indent="0" algn="l">
              <a:buFont typeface="Arial" pitchFamily="34" charset="0"/>
              <a:buNone/>
              <a:defRPr sz="800" dirty="0" smtClean="0"/>
            </a:lvl1pPr>
          </a:lstStyle>
          <a:p>
            <a:pPr>
              <a:defRPr/>
            </a:pPr>
            <a:r>
              <a:rPr lang="en-US"/>
              <a:t>Page </a:t>
            </a:r>
            <a:fld id="{E8F9DF72-4582-446F-B622-ACBC6D045E67}" type="slidenum">
              <a:rPr lang="en-US"/>
              <a:pPr>
                <a:defRPr/>
              </a:pPr>
              <a:t>‹#›</a:t>
            </a:fld>
            <a:endParaRPr lang="en-US"/>
          </a:p>
        </p:txBody>
      </p:sp>
      <p:sp>
        <p:nvSpPr>
          <p:cNvPr id="13" name="Fußzeilenplatzhalter 3"/>
          <p:cNvSpPr>
            <a:spLocks noGrp="1"/>
          </p:cNvSpPr>
          <p:nvPr>
            <p:ph type="ftr" sz="quarter" idx="3"/>
          </p:nvPr>
        </p:nvSpPr>
        <p:spPr bwMode="gray">
          <a:xfrm>
            <a:off x="1154113" y="6424613"/>
            <a:ext cx="5718175" cy="433387"/>
          </a:xfrm>
          <a:prstGeom prst="rect">
            <a:avLst/>
          </a:prstGeom>
        </p:spPr>
        <p:txBody>
          <a:bodyPr anchor="ctr"/>
          <a:lstStyle>
            <a:lvl1pPr marL="0" indent="0" algn="l">
              <a:buFont typeface="Arial" pitchFamily="34" charset="0"/>
              <a:buNone/>
              <a:defRPr sz="800" dirty="0" smtClean="0"/>
            </a:lvl1pPr>
          </a:lstStyle>
          <a:p>
            <a:pPr>
              <a:defRPr/>
            </a:pPr>
            <a:r>
              <a:rPr lang="en-US"/>
              <a:t>Bee Care Tempalte 2012 </a:t>
            </a:r>
            <a:r>
              <a:rPr lang="en-US">
                <a:sym typeface="Wingdings"/>
              </a:rPr>
              <a:t> March 2012</a:t>
            </a:r>
            <a:endParaRPr lang="en-US"/>
          </a:p>
        </p:txBody>
      </p:sp>
    </p:spTree>
  </p:cSld>
  <p:clrMap bg1="lt1" tx1="dk1" bg2="lt2" tx2="dk2" accent1="accent1" accent2="accent2" accent3="accent3" accent4="accent4" accent5="accent5" accent6="accent6" hlink="hlink" folHlink="folHlink"/>
  <p:sldLayoutIdLst>
    <p:sldLayoutId id="2147483772" r:id="rId1"/>
    <p:sldLayoutId id="2147483756" r:id="rId2"/>
    <p:sldLayoutId id="2147483757" r:id="rId3"/>
    <p:sldLayoutId id="2147483758" r:id="rId4"/>
    <p:sldLayoutId id="2147483759" r:id="rId5"/>
    <p:sldLayoutId id="2147483760" r:id="rId6"/>
  </p:sldLayoutIdLst>
  <p:transition>
    <p:wipe/>
  </p:transition>
  <p:hf hdr="0" ftr="0" dt="0"/>
  <p:txStyles>
    <p:titleStyle>
      <a:lvl1pPr algn="l" rtl="0" eaLnBrk="0" fontAlgn="base" hangingPunct="0">
        <a:spcBef>
          <a:spcPct val="0"/>
        </a:spcBef>
        <a:spcAft>
          <a:spcPct val="0"/>
        </a:spcAft>
        <a:defRPr sz="3200">
          <a:solidFill>
            <a:schemeClr val="tx1"/>
          </a:solidFill>
          <a:latin typeface="+mj-lt"/>
          <a:ea typeface="+mj-ea"/>
          <a:cs typeface="+mj-cs"/>
        </a:defRPr>
      </a:lvl1pPr>
      <a:lvl2pPr algn="l" rtl="0" eaLnBrk="0" fontAlgn="base" hangingPunct="0">
        <a:spcBef>
          <a:spcPct val="0"/>
        </a:spcBef>
        <a:spcAft>
          <a:spcPct val="0"/>
        </a:spcAft>
        <a:defRPr sz="3200">
          <a:solidFill>
            <a:schemeClr val="tx1"/>
          </a:solidFill>
          <a:latin typeface="Arial" charset="0"/>
          <a:cs typeface="Arial" charset="0"/>
        </a:defRPr>
      </a:lvl2pPr>
      <a:lvl3pPr algn="l" rtl="0" eaLnBrk="0" fontAlgn="base" hangingPunct="0">
        <a:spcBef>
          <a:spcPct val="0"/>
        </a:spcBef>
        <a:spcAft>
          <a:spcPct val="0"/>
        </a:spcAft>
        <a:defRPr sz="3200">
          <a:solidFill>
            <a:schemeClr val="tx1"/>
          </a:solidFill>
          <a:latin typeface="Arial" charset="0"/>
          <a:cs typeface="Arial" charset="0"/>
        </a:defRPr>
      </a:lvl3pPr>
      <a:lvl4pPr algn="l" rtl="0" eaLnBrk="0" fontAlgn="base" hangingPunct="0">
        <a:spcBef>
          <a:spcPct val="0"/>
        </a:spcBef>
        <a:spcAft>
          <a:spcPct val="0"/>
        </a:spcAft>
        <a:defRPr sz="3200">
          <a:solidFill>
            <a:schemeClr val="tx1"/>
          </a:solidFill>
          <a:latin typeface="Arial" charset="0"/>
          <a:cs typeface="Arial" charset="0"/>
        </a:defRPr>
      </a:lvl4pPr>
      <a:lvl5pPr algn="l" rtl="0" eaLnBrk="0" fontAlgn="base" hangingPunct="0">
        <a:spcBef>
          <a:spcPct val="0"/>
        </a:spcBef>
        <a:spcAft>
          <a:spcPct val="0"/>
        </a:spcAft>
        <a:defRPr sz="3200">
          <a:solidFill>
            <a:schemeClr val="tx1"/>
          </a:solidFill>
          <a:latin typeface="Arial" charset="0"/>
          <a:cs typeface="Arial" charset="0"/>
        </a:defRPr>
      </a:lvl5pPr>
      <a:lvl6pPr marL="457200" algn="l" rtl="0" fontAlgn="base">
        <a:spcBef>
          <a:spcPct val="0"/>
        </a:spcBef>
        <a:spcAft>
          <a:spcPct val="0"/>
        </a:spcAft>
        <a:defRPr sz="3200">
          <a:solidFill>
            <a:schemeClr val="tx1"/>
          </a:solidFill>
          <a:latin typeface="Arial" charset="0"/>
          <a:cs typeface="Arial" charset="0"/>
        </a:defRPr>
      </a:lvl6pPr>
      <a:lvl7pPr marL="914400" algn="l" rtl="0" fontAlgn="base">
        <a:spcBef>
          <a:spcPct val="0"/>
        </a:spcBef>
        <a:spcAft>
          <a:spcPct val="0"/>
        </a:spcAft>
        <a:defRPr sz="3200">
          <a:solidFill>
            <a:schemeClr val="tx1"/>
          </a:solidFill>
          <a:latin typeface="Arial" charset="0"/>
          <a:cs typeface="Arial" charset="0"/>
        </a:defRPr>
      </a:lvl7pPr>
      <a:lvl8pPr marL="1371600" algn="l" rtl="0" fontAlgn="base">
        <a:spcBef>
          <a:spcPct val="0"/>
        </a:spcBef>
        <a:spcAft>
          <a:spcPct val="0"/>
        </a:spcAft>
        <a:defRPr sz="3200">
          <a:solidFill>
            <a:schemeClr val="tx1"/>
          </a:solidFill>
          <a:latin typeface="Arial" charset="0"/>
          <a:cs typeface="Arial" charset="0"/>
        </a:defRPr>
      </a:lvl8pPr>
      <a:lvl9pPr marL="1828800" algn="l" rtl="0" fontAlgn="base">
        <a:spcBef>
          <a:spcPct val="0"/>
        </a:spcBef>
        <a:spcAft>
          <a:spcPct val="0"/>
        </a:spcAft>
        <a:defRPr sz="3200">
          <a:solidFill>
            <a:schemeClr val="tx1"/>
          </a:solidFill>
          <a:latin typeface="Arial" charset="0"/>
          <a:cs typeface="Arial" charset="0"/>
        </a:defRPr>
      </a:lvl9pPr>
    </p:titleStyle>
    <p:bodyStyle>
      <a:lvl1pPr algn="l" rtl="0" eaLnBrk="0" fontAlgn="base" hangingPunct="0">
        <a:spcBef>
          <a:spcPts val="300"/>
        </a:spcBef>
        <a:spcAft>
          <a:spcPts val="600"/>
        </a:spcAft>
        <a:defRPr>
          <a:solidFill>
            <a:schemeClr val="tx1"/>
          </a:solidFill>
          <a:latin typeface="+mn-lt"/>
          <a:ea typeface="+mn-ea"/>
          <a:cs typeface="+mn-cs"/>
        </a:defRPr>
      </a:lvl1pPr>
      <a:lvl2pPr marL="271463"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2pPr>
      <a:lvl3pPr marL="542925"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3pPr>
      <a:lvl4pPr marL="809625" indent="-265113" algn="l" rtl="0" eaLnBrk="0" fontAlgn="base" hangingPunct="0">
        <a:spcBef>
          <a:spcPts val="300"/>
        </a:spcBef>
        <a:spcAft>
          <a:spcPts val="600"/>
        </a:spcAft>
        <a:buClr>
          <a:schemeClr val="accent2"/>
        </a:buClr>
        <a:buSzPct val="110000"/>
        <a:buChar char="•"/>
        <a:defRPr>
          <a:solidFill>
            <a:schemeClr val="tx1"/>
          </a:solidFill>
          <a:latin typeface="+mn-lt"/>
          <a:cs typeface="+mn-cs"/>
        </a:defRPr>
      </a:lvl4pPr>
      <a:lvl5pPr marL="1081088" indent="-269875" algn="l" rtl="0" eaLnBrk="0" fontAlgn="base" hangingPunct="0">
        <a:spcBef>
          <a:spcPts val="300"/>
        </a:spcBef>
        <a:spcAft>
          <a:spcPts val="600"/>
        </a:spcAft>
        <a:buClr>
          <a:schemeClr val="accent2"/>
        </a:buClr>
        <a:buSzPct val="110000"/>
        <a:buChar char="•"/>
        <a:defRPr>
          <a:solidFill>
            <a:schemeClr val="tx1"/>
          </a:solidFill>
          <a:latin typeface="+mn-lt"/>
          <a:cs typeface="+mn-cs"/>
        </a:defRPr>
      </a:lvl5pPr>
      <a:lvl6pPr marL="1538288" indent="-269875" algn="l" rtl="0" fontAlgn="base">
        <a:spcBef>
          <a:spcPts val="300"/>
        </a:spcBef>
        <a:spcAft>
          <a:spcPts val="600"/>
        </a:spcAft>
        <a:buClr>
          <a:schemeClr val="accent2"/>
        </a:buClr>
        <a:buSzPct val="110000"/>
        <a:buChar char="•"/>
        <a:defRPr>
          <a:solidFill>
            <a:schemeClr val="tx1"/>
          </a:solidFill>
          <a:latin typeface="+mn-lt"/>
          <a:cs typeface="+mn-cs"/>
        </a:defRPr>
      </a:lvl6pPr>
      <a:lvl7pPr marL="1995488" indent="-269875" algn="l" rtl="0" fontAlgn="base">
        <a:spcBef>
          <a:spcPts val="300"/>
        </a:spcBef>
        <a:spcAft>
          <a:spcPts val="600"/>
        </a:spcAft>
        <a:buClr>
          <a:schemeClr val="accent2"/>
        </a:buClr>
        <a:buSzPct val="110000"/>
        <a:buChar char="•"/>
        <a:defRPr>
          <a:solidFill>
            <a:schemeClr val="tx1"/>
          </a:solidFill>
          <a:latin typeface="+mn-lt"/>
          <a:cs typeface="+mn-cs"/>
        </a:defRPr>
      </a:lvl7pPr>
      <a:lvl8pPr marL="2452688" indent="-269875" algn="l" rtl="0" fontAlgn="base">
        <a:spcBef>
          <a:spcPts val="300"/>
        </a:spcBef>
        <a:spcAft>
          <a:spcPts val="600"/>
        </a:spcAft>
        <a:buClr>
          <a:schemeClr val="accent2"/>
        </a:buClr>
        <a:buSzPct val="110000"/>
        <a:buChar char="•"/>
        <a:defRPr>
          <a:solidFill>
            <a:schemeClr val="tx1"/>
          </a:solidFill>
          <a:latin typeface="+mn-lt"/>
          <a:cs typeface="+mn-cs"/>
        </a:defRPr>
      </a:lvl8pPr>
      <a:lvl9pPr marL="2909888" indent="-269875" algn="l" rtl="0" fontAlgn="base">
        <a:spcBef>
          <a:spcPts val="300"/>
        </a:spcBef>
        <a:spcAft>
          <a:spcPts val="600"/>
        </a:spcAft>
        <a:buClr>
          <a:schemeClr val="accent2"/>
        </a:buClr>
        <a:buSzPct val="110000"/>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0" y="220663"/>
            <a:ext cx="9144000" cy="2286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2" name="Title Placeholder 1"/>
          <p:cNvSpPr>
            <a:spLocks noGrp="1"/>
          </p:cNvSpPr>
          <p:nvPr>
            <p:ph type="title"/>
          </p:nvPr>
        </p:nvSpPr>
        <p:spPr>
          <a:xfrm>
            <a:off x="457200" y="533400"/>
            <a:ext cx="8229600" cy="9906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6868" name="Text Placeholder 2"/>
          <p:cNvSpPr>
            <a:spLocks noGrp="1"/>
          </p:cNvSpPr>
          <p:nvPr>
            <p:ph type="body" idx="1"/>
          </p:nvPr>
        </p:nvSpPr>
        <p:spPr bwMode="auto">
          <a:xfrm>
            <a:off x="457200" y="1600200"/>
            <a:ext cx="8229600" cy="4876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Rectangle 6"/>
          <p:cNvSpPr/>
          <p:nvPr/>
        </p:nvSpPr>
        <p:spPr>
          <a:xfrm>
            <a:off x="0" y="0"/>
            <a:ext cx="9144000" cy="3651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4" name="Date Placeholder 3"/>
          <p:cNvSpPr>
            <a:spLocks noGrp="1"/>
          </p:cNvSpPr>
          <p:nvPr>
            <p:ph type="dt" sz="half" idx="2"/>
          </p:nvPr>
        </p:nvSpPr>
        <p:spPr>
          <a:xfrm>
            <a:off x="457200" y="19050"/>
            <a:ext cx="2895600" cy="328613"/>
          </a:xfrm>
          <a:prstGeom prst="rect">
            <a:avLst/>
          </a:prstGeom>
        </p:spPr>
        <p:txBody>
          <a:bodyPr vert="horz" lIns="91440" tIns="45720" rIns="91440" bIns="45720" rtlCol="0" anchor="ctr"/>
          <a:lstStyle>
            <a:lvl1pPr algn="l">
              <a:defRPr sz="1200" smtClean="0">
                <a:solidFill>
                  <a:srgbClr val="FFFFFF"/>
                </a:solidFill>
              </a:defRPr>
            </a:lvl1pPr>
          </a:lstStyle>
          <a:p>
            <a:pPr>
              <a:defRPr/>
            </a:pPr>
            <a:fld id="{7F3B46D1-F1DB-43CB-952D-B0268C6FFC24}" type="datetime2">
              <a:rPr lang="en-US"/>
              <a:pPr>
                <a:defRPr/>
              </a:pPr>
              <a:t>Tuesday, May 06, 2014</a:t>
            </a:fld>
            <a:endParaRPr lang="en-US" dirty="0"/>
          </a:p>
        </p:txBody>
      </p:sp>
      <p:sp>
        <p:nvSpPr>
          <p:cNvPr id="5" name="Footer Placeholder 4"/>
          <p:cNvSpPr>
            <a:spLocks noGrp="1"/>
          </p:cNvSpPr>
          <p:nvPr>
            <p:ph type="ftr" sz="quarter" idx="3"/>
          </p:nvPr>
        </p:nvSpPr>
        <p:spPr>
          <a:xfrm>
            <a:off x="3429000" y="19050"/>
            <a:ext cx="4114800" cy="328613"/>
          </a:xfrm>
          <a:prstGeom prst="rect">
            <a:avLst/>
          </a:prstGeom>
        </p:spPr>
        <p:txBody>
          <a:bodyPr vert="horz" lIns="91440" tIns="45720" rIns="91440" bIns="45720" rtlCol="0" anchor="ctr"/>
          <a:lstStyle>
            <a:lvl1pPr algn="ctr">
              <a:defRPr sz="1200" dirty="0" smtClean="0">
                <a:solidFill>
                  <a:srgbClr val="FFFFFF"/>
                </a:solidFill>
              </a:defRPr>
            </a:lvl1pPr>
          </a:lstStyle>
          <a:p>
            <a:pPr>
              <a:defRPr/>
            </a:pPr>
            <a:r>
              <a:rPr lang="en-US"/>
              <a:t>Bee Care Tempalte 2012 </a:t>
            </a:r>
            <a:r>
              <a:rPr lang="en-US">
                <a:sym typeface="Wingdings"/>
              </a:rPr>
              <a:t> March 2012</a:t>
            </a:r>
            <a:endParaRPr lang="en-US"/>
          </a:p>
        </p:txBody>
      </p:sp>
      <p:sp>
        <p:nvSpPr>
          <p:cNvPr id="6" name="Slide Number Placeholder 5"/>
          <p:cNvSpPr>
            <a:spLocks noGrp="1"/>
          </p:cNvSpPr>
          <p:nvPr>
            <p:ph type="sldNum" sz="quarter" idx="4"/>
          </p:nvPr>
        </p:nvSpPr>
        <p:spPr>
          <a:xfrm>
            <a:off x="7620000" y="19050"/>
            <a:ext cx="1066800" cy="328613"/>
          </a:xfrm>
          <a:prstGeom prst="rect">
            <a:avLst/>
          </a:prstGeom>
        </p:spPr>
        <p:txBody>
          <a:bodyPr vert="horz" lIns="91440" tIns="45720" rIns="91440" bIns="45720" rtlCol="0" anchor="ctr"/>
          <a:lstStyle>
            <a:lvl1pPr algn="l">
              <a:defRPr sz="1400" b="1" dirty="0" smtClean="0">
                <a:solidFill>
                  <a:srgbClr val="FFFFFF"/>
                </a:solidFill>
              </a:defRPr>
            </a:lvl1pPr>
          </a:lstStyle>
          <a:p>
            <a:pPr>
              <a:defRPr/>
            </a:pPr>
            <a:r>
              <a:rPr lang="en-US"/>
              <a:t>Page </a:t>
            </a:r>
            <a:fld id="{70CA12A4-C782-404E-A8E4-C1F1EEA3285E}"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773" r:id="rId1"/>
    <p:sldLayoutId id="2147483761" r:id="rId2"/>
    <p:sldLayoutId id="2147483774" r:id="rId3"/>
    <p:sldLayoutId id="2147483762" r:id="rId4"/>
    <p:sldLayoutId id="2147483775" r:id="rId5"/>
    <p:sldLayoutId id="2147483763" r:id="rId6"/>
    <p:sldLayoutId id="2147483764" r:id="rId7"/>
    <p:sldLayoutId id="2147483776" r:id="rId8"/>
    <p:sldLayoutId id="2147483765" r:id="rId9"/>
    <p:sldLayoutId id="2147483766" r:id="rId10"/>
    <p:sldLayoutId id="2147483767" r:id="rId11"/>
    <p:sldLayoutId id="2147483777" r:id="rId12"/>
    <p:sldLayoutId id="2147483778" r:id="rId13"/>
    <p:sldLayoutId id="2147483779" r:id="rId14"/>
  </p:sldLayoutIdLst>
  <p:transition>
    <p:wipe/>
  </p:transition>
  <p:timing>
    <p:tnLst>
      <p:par>
        <p:cTn id="1" dur="indefinite" restart="never" nodeType="tmRoot"/>
      </p:par>
    </p:tnLst>
  </p:timing>
  <p:hf hdr="0" ftr="0" dt="0"/>
  <p:txStyles>
    <p:titleStyle>
      <a:lvl1pPr algn="l" rtl="0" fontAlgn="base">
        <a:spcBef>
          <a:spcPct val="0"/>
        </a:spcBef>
        <a:spcAft>
          <a:spcPct val="0"/>
        </a:spcAft>
        <a:defRPr sz="4000" kern="1200" spc="-100">
          <a:solidFill>
            <a:schemeClr val="tx2"/>
          </a:solidFill>
          <a:latin typeface="+mj-lt"/>
          <a:ea typeface="+mj-ea"/>
          <a:cs typeface="+mj-cs"/>
        </a:defRPr>
      </a:lvl1pPr>
      <a:lvl2pPr algn="l" rtl="0" fontAlgn="base">
        <a:spcBef>
          <a:spcPct val="0"/>
        </a:spcBef>
        <a:spcAft>
          <a:spcPct val="0"/>
        </a:spcAft>
        <a:defRPr sz="4000">
          <a:solidFill>
            <a:schemeClr val="tx2"/>
          </a:solidFill>
          <a:latin typeface="Arial" charset="0"/>
        </a:defRPr>
      </a:lvl2pPr>
      <a:lvl3pPr algn="l" rtl="0" fontAlgn="base">
        <a:spcBef>
          <a:spcPct val="0"/>
        </a:spcBef>
        <a:spcAft>
          <a:spcPct val="0"/>
        </a:spcAft>
        <a:defRPr sz="4000">
          <a:solidFill>
            <a:schemeClr val="tx2"/>
          </a:solidFill>
          <a:latin typeface="Arial" charset="0"/>
        </a:defRPr>
      </a:lvl3pPr>
      <a:lvl4pPr algn="l" rtl="0" fontAlgn="base">
        <a:spcBef>
          <a:spcPct val="0"/>
        </a:spcBef>
        <a:spcAft>
          <a:spcPct val="0"/>
        </a:spcAft>
        <a:defRPr sz="4000">
          <a:solidFill>
            <a:schemeClr val="tx2"/>
          </a:solidFill>
          <a:latin typeface="Arial" charset="0"/>
        </a:defRPr>
      </a:lvl4pPr>
      <a:lvl5pPr algn="l" rtl="0" fontAlgn="base">
        <a:spcBef>
          <a:spcPct val="0"/>
        </a:spcBef>
        <a:spcAft>
          <a:spcPct val="0"/>
        </a:spcAft>
        <a:defRPr sz="4000">
          <a:solidFill>
            <a:schemeClr val="tx2"/>
          </a:solidFill>
          <a:latin typeface="Arial" charset="0"/>
        </a:defRPr>
      </a:lvl5pPr>
      <a:lvl6pPr marL="457200" algn="l" rtl="0" fontAlgn="base">
        <a:spcBef>
          <a:spcPct val="0"/>
        </a:spcBef>
        <a:spcAft>
          <a:spcPct val="0"/>
        </a:spcAft>
        <a:defRPr sz="4000">
          <a:solidFill>
            <a:schemeClr val="tx2"/>
          </a:solidFill>
          <a:latin typeface="Arial" charset="0"/>
        </a:defRPr>
      </a:lvl6pPr>
      <a:lvl7pPr marL="914400" algn="l" rtl="0" fontAlgn="base">
        <a:spcBef>
          <a:spcPct val="0"/>
        </a:spcBef>
        <a:spcAft>
          <a:spcPct val="0"/>
        </a:spcAft>
        <a:defRPr sz="4000">
          <a:solidFill>
            <a:schemeClr val="tx2"/>
          </a:solidFill>
          <a:latin typeface="Arial" charset="0"/>
        </a:defRPr>
      </a:lvl7pPr>
      <a:lvl8pPr marL="1371600" algn="l" rtl="0" fontAlgn="base">
        <a:spcBef>
          <a:spcPct val="0"/>
        </a:spcBef>
        <a:spcAft>
          <a:spcPct val="0"/>
        </a:spcAft>
        <a:defRPr sz="4000">
          <a:solidFill>
            <a:schemeClr val="tx2"/>
          </a:solidFill>
          <a:latin typeface="Arial" charset="0"/>
        </a:defRPr>
      </a:lvl8pPr>
      <a:lvl9pPr marL="1828800" algn="l" rtl="0" fontAlgn="base">
        <a:spcBef>
          <a:spcPct val="0"/>
        </a:spcBef>
        <a:spcAft>
          <a:spcPct val="0"/>
        </a:spcAft>
        <a:defRPr sz="4000">
          <a:solidFill>
            <a:schemeClr val="tx2"/>
          </a:solidFill>
          <a:latin typeface="Arial" charset="0"/>
        </a:defRPr>
      </a:lvl9pPr>
    </p:titleStyle>
    <p:bodyStyle>
      <a:lvl1pPr marL="182563" indent="-182563" algn="l" rtl="0" fontAlgn="base">
        <a:spcBef>
          <a:spcPct val="20000"/>
        </a:spcBef>
        <a:spcAft>
          <a:spcPct val="0"/>
        </a:spcAft>
        <a:buClr>
          <a:schemeClr val="accent1"/>
        </a:buClr>
        <a:buSzPct val="85000"/>
        <a:buFont typeface="Arial" charset="0"/>
        <a:buChar char="•"/>
        <a:defRPr sz="2400" kern="1200">
          <a:solidFill>
            <a:schemeClr val="tx1"/>
          </a:solidFill>
          <a:latin typeface="+mn-lt"/>
          <a:ea typeface="+mn-ea"/>
          <a:cs typeface="+mn-cs"/>
        </a:defRPr>
      </a:lvl1pPr>
      <a:lvl2pPr marL="457200" indent="-182563" algn="l" rtl="0" fontAlgn="base">
        <a:spcBef>
          <a:spcPct val="20000"/>
        </a:spcBef>
        <a:spcAft>
          <a:spcPct val="0"/>
        </a:spcAft>
        <a:buClr>
          <a:schemeClr val="accent1"/>
        </a:buClr>
        <a:buSzPct val="85000"/>
        <a:buFont typeface="Arial" charset="0"/>
        <a:buChar char="•"/>
        <a:defRPr sz="2000" kern="1200">
          <a:solidFill>
            <a:schemeClr val="tx1"/>
          </a:solidFill>
          <a:latin typeface="+mn-lt"/>
          <a:ea typeface="+mn-ea"/>
          <a:cs typeface="+mn-cs"/>
        </a:defRPr>
      </a:lvl2pPr>
      <a:lvl3pPr marL="730250" indent="-182563" algn="l" rtl="0" fontAlgn="base">
        <a:spcBef>
          <a:spcPct val="20000"/>
        </a:spcBef>
        <a:spcAft>
          <a:spcPct val="0"/>
        </a:spcAft>
        <a:buClr>
          <a:schemeClr val="accent1"/>
        </a:buClr>
        <a:buSzPct val="90000"/>
        <a:buFont typeface="Arial" charset="0"/>
        <a:buChar char="•"/>
        <a:defRPr kern="1200">
          <a:solidFill>
            <a:schemeClr val="tx1"/>
          </a:solidFill>
          <a:latin typeface="+mn-lt"/>
          <a:ea typeface="+mn-ea"/>
          <a:cs typeface="+mn-cs"/>
        </a:defRPr>
      </a:lvl3pPr>
      <a:lvl4pPr marL="1004888" indent="-182563" algn="l" rtl="0" fontAlgn="base">
        <a:spcBef>
          <a:spcPct val="20000"/>
        </a:spcBef>
        <a:spcAft>
          <a:spcPct val="0"/>
        </a:spcAft>
        <a:buClr>
          <a:schemeClr val="accent1"/>
        </a:buClr>
        <a:buFont typeface="Arial" charset="0"/>
        <a:buChar char="•"/>
        <a:defRPr sz="1600" kern="1200">
          <a:solidFill>
            <a:schemeClr val="tx1"/>
          </a:solidFill>
          <a:latin typeface="+mn-lt"/>
          <a:ea typeface="+mn-ea"/>
          <a:cs typeface="+mn-cs"/>
        </a:defRPr>
      </a:lvl4pPr>
      <a:lvl5pPr marL="1187450" indent="-136525" algn="l" rtl="0" fontAlgn="base">
        <a:spcBef>
          <a:spcPct val="20000"/>
        </a:spcBef>
        <a:spcAft>
          <a:spcPct val="0"/>
        </a:spcAft>
        <a:buClr>
          <a:schemeClr val="accent1"/>
        </a:buClr>
        <a:buSzPct val="100000"/>
        <a:buFont typeface="Arial" charset="0"/>
        <a:buChar char="•"/>
        <a:defRPr sz="1400" kern="1200">
          <a:solidFill>
            <a:schemeClr val="tx1"/>
          </a:solidFill>
          <a:latin typeface="+mn-lt"/>
          <a:ea typeface="+mn-ea"/>
          <a:cs typeface="+mn-cs"/>
        </a:defRPr>
      </a:lvl5pPr>
      <a:lvl6pPr marL="137160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6pPr>
      <a:lvl7pPr marL="155448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7pPr>
      <a:lvl8pPr marL="173736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8pPr>
      <a:lvl9pPr marL="1920240" indent="-182880" algn="l" defTabSz="914400" rtl="0" eaLnBrk="1" latinLnBrk="0" hangingPunct="1">
        <a:spcBef>
          <a:spcPct val="20000"/>
        </a:spcBef>
        <a:buClr>
          <a:schemeClr val="accent1"/>
        </a:buClr>
        <a:buFont typeface="Arial" pitchFamily="34" charset="0"/>
        <a:buChar char="•"/>
        <a:defRPr sz="13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31.xml"/><Relationship Id="rId5" Type="http://schemas.openxmlformats.org/officeDocument/2006/relationships/image" Target="../media/image13.jpeg"/><Relationship Id="rId4" Type="http://schemas.openxmlformats.org/officeDocument/2006/relationships/image" Target="../media/image12.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2.xml"/></Relationships>
</file>

<file path=ppt/slides/_rels/slide12.xml.rels><?xml version="1.0" encoding="UTF-8" standalone="yes"?>
<Relationships xmlns="http://schemas.openxmlformats.org/package/2006/relationships"><Relationship Id="rId3" Type="http://schemas.openxmlformats.org/officeDocument/2006/relationships/image" Target="../media/image30.jpeg"/><Relationship Id="rId7" Type="http://schemas.openxmlformats.org/officeDocument/2006/relationships/image" Target="../media/image34.jpeg"/><Relationship Id="rId2" Type="http://schemas.openxmlformats.org/officeDocument/2006/relationships/notesSlide" Target="../notesSlides/notesSlide12.xml"/><Relationship Id="rId1" Type="http://schemas.openxmlformats.org/officeDocument/2006/relationships/slideLayout" Target="../slideLayouts/slideLayout32.xml"/><Relationship Id="rId6" Type="http://schemas.openxmlformats.org/officeDocument/2006/relationships/image" Target="../media/image33.jpeg"/><Relationship Id="rId5" Type="http://schemas.openxmlformats.org/officeDocument/2006/relationships/image" Target="../media/image32.png"/><Relationship Id="rId4" Type="http://schemas.openxmlformats.org/officeDocument/2006/relationships/image" Target="../media/image31.jpe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32.xml"/></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6.xml"/><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32.xml"/></Relationships>
</file>

<file path=ppt/slides/_rels/slide1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18.xml"/><Relationship Id="rId1" Type="http://schemas.openxmlformats.org/officeDocument/2006/relationships/slideLayout" Target="../slideLayouts/slideLayout34.xml"/><Relationship Id="rId4" Type="http://schemas.openxmlformats.org/officeDocument/2006/relationships/image" Target="../media/image39.jpeg"/></Relationships>
</file>

<file path=ppt/slides/_rels/slide19.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9.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2.xml"/><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41.jpeg"/><Relationship Id="rId7" Type="http://schemas.openxmlformats.org/officeDocument/2006/relationships/image" Target="../media/image45.jpeg"/><Relationship Id="rId2" Type="http://schemas.openxmlformats.org/officeDocument/2006/relationships/notesSlide" Target="../notesSlides/notesSlide20.xml"/><Relationship Id="rId1" Type="http://schemas.openxmlformats.org/officeDocument/2006/relationships/slideLayout" Target="../slideLayouts/slideLayout36.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24.xml"/><Relationship Id="rId1" Type="http://schemas.openxmlformats.org/officeDocument/2006/relationships/slideLayout" Target="../slideLayouts/slideLayout37.xml"/><Relationship Id="rId4" Type="http://schemas.openxmlformats.org/officeDocument/2006/relationships/image" Target="../media/image48.jpeg"/></Relationships>
</file>

<file path=ppt/slides/_rels/slide2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5.xml"/><Relationship Id="rId1" Type="http://schemas.openxmlformats.org/officeDocument/2006/relationships/slideLayout" Target="../slideLayouts/slideLayout3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2.xml"/><Relationship Id="rId1" Type="http://schemas.openxmlformats.org/officeDocument/2006/relationships/vmlDrawing" Target="../drawings/vmlDrawing1.vml"/><Relationship Id="rId4" Type="http://schemas.openxmlformats.org/officeDocument/2006/relationships/oleObject" Target="../embeddings/Microsoft_Office_Excel_Chart1.xls"/></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2.png"/><Relationship Id="rId18" Type="http://schemas.openxmlformats.org/officeDocument/2006/relationships/image" Target="../media/image27.png"/><Relationship Id="rId3" Type="http://schemas.openxmlformats.org/officeDocument/2006/relationships/tags" Target="../tags/tag3.xml"/><Relationship Id="rId7" Type="http://schemas.openxmlformats.org/officeDocument/2006/relationships/notesSlide" Target="../notesSlides/notesSlide6.xml"/><Relationship Id="rId12" Type="http://schemas.openxmlformats.org/officeDocument/2006/relationships/image" Target="../media/image21.png"/><Relationship Id="rId17" Type="http://schemas.openxmlformats.org/officeDocument/2006/relationships/image" Target="../media/image26.png"/><Relationship Id="rId2" Type="http://schemas.openxmlformats.org/officeDocument/2006/relationships/tags" Target="../tags/tag2.xml"/><Relationship Id="rId16" Type="http://schemas.openxmlformats.org/officeDocument/2006/relationships/image" Target="../media/image25.png"/><Relationship Id="rId1" Type="http://schemas.openxmlformats.org/officeDocument/2006/relationships/tags" Target="../tags/tag1.xml"/><Relationship Id="rId6" Type="http://schemas.openxmlformats.org/officeDocument/2006/relationships/slideLayout" Target="../slideLayouts/slideLayout42.xml"/><Relationship Id="rId11" Type="http://schemas.openxmlformats.org/officeDocument/2006/relationships/image" Target="../media/image20.jpeg"/><Relationship Id="rId5" Type="http://schemas.openxmlformats.org/officeDocument/2006/relationships/tags" Target="../tags/tag5.xml"/><Relationship Id="rId15" Type="http://schemas.openxmlformats.org/officeDocument/2006/relationships/image" Target="../media/image24.png"/><Relationship Id="rId10" Type="http://schemas.openxmlformats.org/officeDocument/2006/relationships/image" Target="../media/image19.png"/><Relationship Id="rId19" Type="http://schemas.openxmlformats.org/officeDocument/2006/relationships/hyperlink" Target="http://action.panna.org/p/dia/action/public/?action_KEY=9948" TargetMode="External"/><Relationship Id="rId4" Type="http://schemas.openxmlformats.org/officeDocument/2006/relationships/tags" Target="../tags/tag4.xml"/><Relationship Id="rId9" Type="http://schemas.openxmlformats.org/officeDocument/2006/relationships/image" Target="../media/image18.png"/><Relationship Id="rId14" Type="http://schemas.openxmlformats.org/officeDocument/2006/relationships/image" Target="../media/image23.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_rels/slide8.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8.xml"/><Relationship Id="rId1" Type="http://schemas.openxmlformats.org/officeDocument/2006/relationships/slideLayout" Target="../slideLayouts/slideLayout34.xml"/></Relationships>
</file>

<file path=ppt/slides/_rels/slide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9.xml"/><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6"/>
          <p:cNvSpPr>
            <a:spLocks noGrp="1" noChangeArrowheads="1"/>
          </p:cNvSpPr>
          <p:nvPr>
            <p:ph type="ctrTitle"/>
          </p:nvPr>
        </p:nvSpPr>
        <p:spPr>
          <a:xfrm>
            <a:off x="685800" y="3757613"/>
            <a:ext cx="7848600" cy="1927225"/>
          </a:xfrm>
        </p:spPr>
        <p:txBody>
          <a:bodyPr/>
          <a:lstStyle/>
          <a:p>
            <a:pPr fontAlgn="auto">
              <a:spcAft>
                <a:spcPts val="0"/>
              </a:spcAft>
              <a:defRPr/>
            </a:pPr>
            <a:r>
              <a:rPr lang="fr-FR" sz="3200" b="1" dirty="0" smtClean="0"/>
              <a:t>Bee</a:t>
            </a:r>
            <a:r>
              <a:rPr lang="fr-FR" b="1" dirty="0" smtClean="0"/>
              <a:t> </a:t>
            </a:r>
            <a:r>
              <a:rPr lang="fr-FR" sz="3200" b="1" dirty="0" smtClean="0"/>
              <a:t>Health Update,</a:t>
            </a:r>
            <a:br>
              <a:rPr lang="fr-FR" sz="3200" b="1" dirty="0" smtClean="0"/>
            </a:br>
            <a:r>
              <a:rPr lang="fr-FR" sz="3200" b="1" dirty="0" smtClean="0"/>
              <a:t>Pollinator Hazard Language Changes					PCOC</a:t>
            </a:r>
            <a:endParaRPr lang="en-GB" sz="3200" b="1" dirty="0" smtClean="0"/>
          </a:p>
        </p:txBody>
      </p:sp>
      <p:pic>
        <p:nvPicPr>
          <p:cNvPr id="54274" name="Picture 17" descr="C:\Users\moyqo\Pictures\honey nut cheerios bee.jpg"/>
          <p:cNvPicPr>
            <a:picLocks noChangeAspect="1" noChangeArrowheads="1"/>
          </p:cNvPicPr>
          <p:nvPr/>
        </p:nvPicPr>
        <p:blipFill>
          <a:blip r:embed="rId3" cstate="print"/>
          <a:srcRect/>
          <a:stretch>
            <a:fillRect/>
          </a:stretch>
        </p:blipFill>
        <p:spPr bwMode="auto">
          <a:xfrm>
            <a:off x="0" y="95250"/>
            <a:ext cx="3697288" cy="3787775"/>
          </a:xfrm>
          <a:prstGeom prst="rect">
            <a:avLst/>
          </a:prstGeom>
          <a:noFill/>
          <a:ln w="9525">
            <a:noFill/>
            <a:miter lim="800000"/>
            <a:headEnd/>
            <a:tailEnd/>
          </a:ln>
        </p:spPr>
      </p:pic>
      <p:pic>
        <p:nvPicPr>
          <p:cNvPr id="54275" name="Picture 18" descr="C:\Users\moyqo\Pictures\winnie-the-pooh-bee-honey-walt-disney-poster-wm632.jpg"/>
          <p:cNvPicPr>
            <a:picLocks noChangeAspect="1" noChangeArrowheads="1"/>
          </p:cNvPicPr>
          <p:nvPr/>
        </p:nvPicPr>
        <p:blipFill>
          <a:blip r:embed="rId4" cstate="print"/>
          <a:srcRect/>
          <a:stretch>
            <a:fillRect/>
          </a:stretch>
        </p:blipFill>
        <p:spPr bwMode="auto">
          <a:xfrm>
            <a:off x="3697288" y="149225"/>
            <a:ext cx="3586162" cy="3584575"/>
          </a:xfrm>
          <a:prstGeom prst="rect">
            <a:avLst/>
          </a:prstGeom>
          <a:noFill/>
          <a:ln w="9525">
            <a:noFill/>
            <a:miter lim="800000"/>
            <a:headEnd/>
            <a:tailEnd/>
          </a:ln>
        </p:spPr>
      </p:pic>
      <p:pic>
        <p:nvPicPr>
          <p:cNvPr id="54276" name="Picture 19" descr="C:\Users\moyqo\Pictures\Jerry-Bee-bee.jpg"/>
          <p:cNvPicPr>
            <a:picLocks noChangeAspect="1" noChangeArrowheads="1"/>
          </p:cNvPicPr>
          <p:nvPr/>
        </p:nvPicPr>
        <p:blipFill>
          <a:blip r:embed="rId5" cstate="print"/>
          <a:srcRect/>
          <a:stretch>
            <a:fillRect/>
          </a:stretch>
        </p:blipFill>
        <p:spPr bwMode="auto">
          <a:xfrm>
            <a:off x="7283450" y="792163"/>
            <a:ext cx="1828800" cy="1858962"/>
          </a:xfrm>
          <a:prstGeom prst="rect">
            <a:avLst/>
          </a:prstGeom>
          <a:noFill/>
          <a:ln w="9525">
            <a:noFill/>
            <a:miter lim="800000"/>
            <a:headEnd/>
            <a:tailEnd/>
          </a:ln>
        </p:spPr>
      </p:pic>
      <p:sp>
        <p:nvSpPr>
          <p:cNvPr id="54277" name="TextBox 3"/>
          <p:cNvSpPr txBox="1">
            <a:spLocks noChangeArrowheads="1"/>
          </p:cNvSpPr>
          <p:nvPr/>
        </p:nvSpPr>
        <p:spPr bwMode="auto">
          <a:xfrm>
            <a:off x="2784475" y="6032500"/>
            <a:ext cx="5922963" cy="338138"/>
          </a:xfrm>
          <a:prstGeom prst="rect">
            <a:avLst/>
          </a:prstGeom>
          <a:noFill/>
          <a:ln w="9525">
            <a:noFill/>
            <a:miter lim="800000"/>
            <a:headEnd/>
            <a:tailEnd/>
          </a:ln>
        </p:spPr>
        <p:txBody>
          <a:bodyPr>
            <a:spAutoFit/>
          </a:bodyPr>
          <a:lstStyle/>
          <a:p>
            <a:pPr algn="ctr"/>
            <a:r>
              <a:rPr lang="en-US" sz="1600" b="1">
                <a:solidFill>
                  <a:srgbClr val="00B050"/>
                </a:solidFill>
              </a:rPr>
              <a:t>Content Courtesy of Bayer Environmental Science, © 2013</a:t>
            </a:r>
          </a:p>
        </p:txBody>
      </p:sp>
    </p:spTree>
  </p:cSld>
  <p:clrMapOvr>
    <a:masterClrMapping/>
  </p:clrMapOvr>
  <p:transition>
    <p:wip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auto">
              <a:spcAft>
                <a:spcPts val="0"/>
              </a:spcAft>
              <a:defRPr/>
            </a:pPr>
            <a:r>
              <a:rPr lang="en-US" dirty="0" smtClean="0"/>
              <a:t>Political Fallout</a:t>
            </a:r>
            <a:endParaRPr lang="en-US" dirty="0"/>
          </a:p>
        </p:txBody>
      </p:sp>
      <p:sp>
        <p:nvSpPr>
          <p:cNvPr id="3" name="Content Placeholder 2"/>
          <p:cNvSpPr>
            <a:spLocks noGrp="1"/>
          </p:cNvSpPr>
          <p:nvPr>
            <p:ph idx="1"/>
          </p:nvPr>
        </p:nvSpPr>
        <p:spPr/>
        <p:txBody>
          <a:bodyPr rtlCol="0">
            <a:normAutofit fontScale="92500" lnSpcReduction="10000"/>
          </a:bodyPr>
          <a:lstStyle/>
          <a:p>
            <a:pPr marL="342900" indent="-342900" fontAlgn="auto">
              <a:spcAft>
                <a:spcPts val="0"/>
              </a:spcAft>
              <a:buFont typeface="Arial" pitchFamily="34" charset="0"/>
              <a:buChar char="•"/>
              <a:defRPr/>
            </a:pPr>
            <a:r>
              <a:rPr lang="en-US" sz="2000" dirty="0" smtClean="0"/>
              <a:t>2012: Shortly after </a:t>
            </a:r>
            <a:r>
              <a:rPr lang="en-US" sz="2000" i="1" dirty="0" smtClean="0"/>
              <a:t>Science</a:t>
            </a:r>
            <a:r>
              <a:rPr lang="en-US" sz="2000" dirty="0" smtClean="0"/>
              <a:t> articles, USEPA receives a petition from a group of NGO’s and small number of beekeepers challenging (with no new arguments or data) the registration of clothiadin-containing products.</a:t>
            </a:r>
          </a:p>
          <a:p>
            <a:pPr marL="342900" indent="-342900" fontAlgn="auto">
              <a:spcAft>
                <a:spcPts val="0"/>
              </a:spcAft>
              <a:buFont typeface="Arial" pitchFamily="34" charset="0"/>
              <a:buChar char="•"/>
              <a:defRPr/>
            </a:pPr>
            <a:r>
              <a:rPr lang="en-US" sz="2000" dirty="0" smtClean="0"/>
              <a:t>EPA conclusions to challenge: </a:t>
            </a:r>
            <a:r>
              <a:rPr lang="en-US" sz="2000" dirty="0"/>
              <a:t>There has been no demonstrated effect on bee colony health associated with the appropriate use of clothianidin in the environment. In fact, the EPA commented recently (February 18, 2011) on clothianidin, affirming that the Agency is “not aware of any data that reasonably demonstrates that bee colonies are subject to elevated losses due to chronic exposure to this pesticide</a:t>
            </a:r>
            <a:r>
              <a:rPr lang="en-US" sz="2000" dirty="0" smtClean="0"/>
              <a:t>.”</a:t>
            </a:r>
          </a:p>
          <a:p>
            <a:pPr marL="342900" indent="-342900" fontAlgn="auto">
              <a:spcAft>
                <a:spcPts val="0"/>
              </a:spcAft>
              <a:buFont typeface="Arial" pitchFamily="34" charset="0"/>
              <a:buChar char="•"/>
              <a:defRPr/>
            </a:pPr>
            <a:r>
              <a:rPr lang="en-US" sz="2000" dirty="0" smtClean="0"/>
              <a:t>2013: European Food Safety Authority proposed a 2 year moratorium of application of NNIC’s in crops attractive to bees* ignoring science-based studies indicating no significant hazard when products used as directed</a:t>
            </a:r>
          </a:p>
          <a:p>
            <a:pPr marL="182880" indent="-182880" algn="ctr" fontAlgn="auto">
              <a:spcAft>
                <a:spcPts val="0"/>
              </a:spcAft>
              <a:buFont typeface="Arial" pitchFamily="34" charset="0"/>
              <a:buChar char="•"/>
              <a:defRPr/>
            </a:pPr>
            <a:r>
              <a:rPr lang="en-US" sz="2000" i="1" dirty="0" smtClean="0"/>
              <a:t>*Authorizations for non-crop uses not affected by this measure</a:t>
            </a:r>
          </a:p>
          <a:p>
            <a:pPr marL="182880" indent="-182880" fontAlgn="auto">
              <a:spcAft>
                <a:spcPts val="0"/>
              </a:spcAft>
              <a:buFont typeface="Arial" pitchFamily="34" charset="0"/>
              <a:buChar char="•"/>
              <a:defRPr/>
            </a:pPr>
            <a:r>
              <a:rPr lang="en-US" sz="2000" dirty="0" smtClean="0"/>
              <a:t> </a:t>
            </a:r>
          </a:p>
          <a:p>
            <a:pPr marL="182880" indent="-182880" fontAlgn="auto">
              <a:spcAft>
                <a:spcPts val="0"/>
              </a:spcAft>
              <a:buFont typeface="Arial" pitchFamily="34" charset="0"/>
              <a:buChar char="•"/>
              <a:defRPr/>
            </a:pPr>
            <a:endParaRPr lang="en-US" dirty="0"/>
          </a:p>
          <a:p>
            <a:pPr marL="182880" indent="-182880" fontAlgn="auto">
              <a:spcAft>
                <a:spcPts val="0"/>
              </a:spcAft>
              <a:buFont typeface="Arial" pitchFamily="34" charset="0"/>
              <a:buChar char="•"/>
              <a:defRPr/>
            </a:pPr>
            <a:endParaRPr lang="en-US" dirty="0"/>
          </a:p>
        </p:txBody>
      </p:sp>
    </p:spTree>
  </p:cSld>
  <p:clrMapOvr>
    <a:masterClrMapping/>
  </p:clrMapOvr>
  <p:transition>
    <p:wip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auto">
              <a:spcAft>
                <a:spcPts val="0"/>
              </a:spcAft>
              <a:defRPr/>
            </a:pPr>
            <a:r>
              <a:rPr lang="en-US" dirty="0" smtClean="0"/>
              <a:t>Political forces pushing EPA</a:t>
            </a:r>
            <a:endParaRPr lang="en-US" dirty="0"/>
          </a:p>
        </p:txBody>
      </p:sp>
      <p:sp>
        <p:nvSpPr>
          <p:cNvPr id="74754" name="Content Placeholder 2"/>
          <p:cNvSpPr>
            <a:spLocks noGrp="1"/>
          </p:cNvSpPr>
          <p:nvPr>
            <p:ph idx="1"/>
          </p:nvPr>
        </p:nvSpPr>
        <p:spPr/>
        <p:txBody>
          <a:bodyPr/>
          <a:lstStyle/>
          <a:p>
            <a:r>
              <a:rPr lang="en-US" smtClean="0"/>
              <a:t>Europe – banned ES uses of all CNIs in March</a:t>
            </a:r>
          </a:p>
          <a:p>
            <a:pPr lvl="1"/>
            <a:r>
              <a:rPr lang="en-US" smtClean="0"/>
              <a:t>EPA responded by saying they are working through Reg Review before acting</a:t>
            </a:r>
          </a:p>
          <a:p>
            <a:pPr lvl="1"/>
            <a:r>
              <a:rPr lang="en-US" smtClean="0"/>
              <a:t>No evidence of CNI pollinator tie</a:t>
            </a:r>
          </a:p>
          <a:p>
            <a:pPr lvl="1"/>
            <a:r>
              <a:rPr lang="en-US" smtClean="0"/>
              <a:t>Joint USDA / EPA statement in May</a:t>
            </a:r>
          </a:p>
          <a:p>
            <a:pPr lvl="2"/>
            <a:r>
              <a:rPr lang="en-US" smtClean="0"/>
              <a:t>Neonics not sole cause of declining pollinator health</a:t>
            </a:r>
          </a:p>
          <a:p>
            <a:pPr lvl="2"/>
            <a:r>
              <a:rPr lang="en-US" smtClean="0"/>
              <a:t>Varroa Mite have biggest impact</a:t>
            </a:r>
          </a:p>
          <a:p>
            <a:pPr lvl="2"/>
            <a:r>
              <a:rPr lang="en-US" smtClean="0"/>
              <a:t>Pyrethroids could be having greater impact than neonics</a:t>
            </a:r>
          </a:p>
          <a:p>
            <a:r>
              <a:rPr lang="en-US" smtClean="0"/>
              <a:t>Activists continue to hammer big boxes to ban CNIs from their stores</a:t>
            </a:r>
          </a:p>
          <a:p>
            <a:pPr lvl="1"/>
            <a:r>
              <a:rPr lang="en-US" smtClean="0"/>
              <a:t>Pushing study which shows that plants sold there have CNI residues</a:t>
            </a:r>
          </a:p>
          <a:p>
            <a:endParaRPr lang="en-US" smtClean="0"/>
          </a:p>
        </p:txBody>
      </p:sp>
    </p:spTree>
  </p:cSld>
  <p:clrMapOvr>
    <a:masterClrMapping/>
  </p:clrMapOvr>
  <p:transition>
    <p:wip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auto">
              <a:spcAft>
                <a:spcPts val="0"/>
              </a:spcAft>
              <a:defRPr/>
            </a:pPr>
            <a:r>
              <a:rPr lang="en-US" dirty="0" smtClean="0"/>
              <a:t>What Has Happened Since May?</a:t>
            </a:r>
            <a:endParaRPr lang="en-US" dirty="0"/>
          </a:p>
        </p:txBody>
      </p:sp>
      <p:sp>
        <p:nvSpPr>
          <p:cNvPr id="3" name="Content Placeholder 2"/>
          <p:cNvSpPr>
            <a:spLocks noGrp="1"/>
          </p:cNvSpPr>
          <p:nvPr>
            <p:ph idx="1"/>
          </p:nvPr>
        </p:nvSpPr>
        <p:spPr/>
        <p:txBody>
          <a:bodyPr rtlCol="0">
            <a:normAutofit lnSpcReduction="10000"/>
          </a:bodyPr>
          <a:lstStyle/>
          <a:p>
            <a:pPr marL="182880" indent="-182880" fontAlgn="auto">
              <a:spcAft>
                <a:spcPts val="0"/>
              </a:spcAft>
              <a:buFont typeface="Arial" pitchFamily="34" charset="0"/>
              <a:buChar char="•"/>
              <a:defRPr/>
            </a:pPr>
            <a:r>
              <a:rPr lang="en-US" b="1" dirty="0" smtClean="0"/>
              <a:t>June 15 – “</a:t>
            </a:r>
            <a:r>
              <a:rPr lang="en-US" b="1" cap="all" dirty="0" smtClean="0"/>
              <a:t>Bumblebeeocalypse!</a:t>
            </a:r>
            <a:r>
              <a:rPr lang="en-US" b="1" dirty="0" smtClean="0"/>
              <a:t>” </a:t>
            </a:r>
          </a:p>
          <a:p>
            <a:pPr lvl="1" indent="-182880" fontAlgn="auto">
              <a:spcAft>
                <a:spcPts val="0"/>
              </a:spcAft>
              <a:buFont typeface="Arial" pitchFamily="34" charset="0"/>
              <a:buChar char="•"/>
              <a:defRPr/>
            </a:pPr>
            <a:r>
              <a:rPr lang="en-US" dirty="0" smtClean="0"/>
              <a:t>Safari (Valent Dinotefuran) misused on flowering Linden trees </a:t>
            </a:r>
          </a:p>
          <a:p>
            <a:pPr lvl="1" indent="-182880" fontAlgn="auto">
              <a:spcAft>
                <a:spcPts val="0"/>
              </a:spcAft>
              <a:buFont typeface="Arial" pitchFamily="34" charset="0"/>
              <a:buChar char="•"/>
              <a:defRPr/>
            </a:pPr>
            <a:r>
              <a:rPr lang="en-US" dirty="0" smtClean="0"/>
              <a:t>in Wilsonville, OR Target store parking lot</a:t>
            </a:r>
          </a:p>
          <a:p>
            <a:pPr lvl="1" indent="-182880" fontAlgn="auto">
              <a:spcAft>
                <a:spcPts val="0"/>
              </a:spcAft>
              <a:buFont typeface="Arial" pitchFamily="34" charset="0"/>
              <a:buChar char="•"/>
              <a:defRPr/>
            </a:pPr>
            <a:r>
              <a:rPr lang="en-US" dirty="0" smtClean="0"/>
              <a:t>50,000 Bumble bees killed, or 300 full colony populations</a:t>
            </a:r>
          </a:p>
          <a:p>
            <a:pPr lvl="1" indent="-182880" fontAlgn="auto">
              <a:spcAft>
                <a:spcPts val="0"/>
              </a:spcAft>
              <a:buFont typeface="Arial" pitchFamily="34" charset="0"/>
              <a:buChar char="•"/>
              <a:defRPr/>
            </a:pPr>
            <a:r>
              <a:rPr lang="en-US" dirty="0" smtClean="0"/>
              <a:t>Trees then covered with netting to prevent access</a:t>
            </a:r>
          </a:p>
          <a:p>
            <a:pPr lvl="1" indent="-182880" fontAlgn="auto">
              <a:spcAft>
                <a:spcPts val="0"/>
              </a:spcAft>
              <a:buFont typeface="Arial" pitchFamily="34" charset="0"/>
              <a:buChar char="•"/>
              <a:defRPr/>
            </a:pPr>
            <a:r>
              <a:rPr lang="en-US" dirty="0" smtClean="0"/>
              <a:t>Activists took full advantage</a:t>
            </a:r>
          </a:p>
          <a:p>
            <a:pPr marL="731520" lvl="2" indent="-182880" fontAlgn="auto">
              <a:spcAft>
                <a:spcPts val="0"/>
              </a:spcAft>
              <a:buFont typeface="Arial" pitchFamily="34" charset="0"/>
              <a:buChar char="•"/>
              <a:defRPr/>
            </a:pPr>
            <a:r>
              <a:rPr lang="en-US" dirty="0" smtClean="0"/>
              <a:t>“Funeral Service” for fallen apian comrades</a:t>
            </a:r>
          </a:p>
          <a:p>
            <a:pPr marL="731520" lvl="2" indent="-182880" fontAlgn="auto">
              <a:spcAft>
                <a:spcPts val="0"/>
              </a:spcAft>
              <a:buFont typeface="Arial" pitchFamily="34" charset="0"/>
              <a:buChar char="•"/>
              <a:defRPr/>
            </a:pPr>
            <a:r>
              <a:rPr lang="en-US" dirty="0" smtClean="0"/>
              <a:t>Immediate call for ban on all NNIs</a:t>
            </a:r>
          </a:p>
          <a:p>
            <a:pPr marL="731520" lvl="2" indent="-182880" fontAlgn="auto">
              <a:spcAft>
                <a:spcPts val="0"/>
              </a:spcAft>
              <a:buFont typeface="Arial" pitchFamily="34" charset="0"/>
              <a:buChar char="•"/>
              <a:defRPr/>
            </a:pPr>
            <a:r>
              <a:rPr lang="en-US" dirty="0" smtClean="0"/>
              <a:t>Continuous barrage of local &amp; state legislation to ban NNIs</a:t>
            </a:r>
          </a:p>
          <a:p>
            <a:pPr marL="182880" indent="-182880" fontAlgn="auto">
              <a:spcAft>
                <a:spcPts val="0"/>
              </a:spcAft>
              <a:buFont typeface="Arial" pitchFamily="34" charset="0"/>
              <a:buChar char="•"/>
              <a:defRPr/>
            </a:pPr>
            <a:r>
              <a:rPr lang="en-US" dirty="0" smtClean="0"/>
              <a:t>July 1 - ODA bans spraying of Dinotefuran products in Oregon (6 mos)</a:t>
            </a:r>
          </a:p>
          <a:p>
            <a:pPr marL="182880" indent="-182880" fontAlgn="auto">
              <a:spcAft>
                <a:spcPts val="0"/>
              </a:spcAft>
              <a:buFont typeface="Arial" pitchFamily="34" charset="0"/>
              <a:buChar char="•"/>
              <a:defRPr/>
            </a:pPr>
            <a:r>
              <a:rPr lang="en-US" dirty="0" smtClean="0"/>
              <a:t>Further incidents in Oregon in July with Dinotefuran and Imidacloprid</a:t>
            </a:r>
          </a:p>
        </p:txBody>
      </p:sp>
      <p:pic>
        <p:nvPicPr>
          <p:cNvPr id="7" name="Picture 8" descr="https://utahpests.usu.edu/plugins/work/blogger/18/images/2013/07-05-2013/bee_kill.jpg"/>
          <p:cNvPicPr>
            <a:picLocks noChangeAspect="1" noChangeArrowheads="1"/>
          </p:cNvPicPr>
          <p:nvPr/>
        </p:nvPicPr>
        <p:blipFill>
          <a:blip r:embed="rId3" cstate="print"/>
          <a:srcRect/>
          <a:stretch>
            <a:fillRect/>
          </a:stretch>
        </p:blipFill>
        <p:spPr bwMode="auto">
          <a:xfrm>
            <a:off x="285750" y="441325"/>
            <a:ext cx="8085138" cy="6064250"/>
          </a:xfrm>
          <a:prstGeom prst="rect">
            <a:avLst/>
          </a:prstGeom>
          <a:noFill/>
          <a:ln w="9525">
            <a:noFill/>
            <a:miter lim="800000"/>
            <a:headEnd/>
            <a:tailEnd/>
          </a:ln>
        </p:spPr>
      </p:pic>
      <p:pic>
        <p:nvPicPr>
          <p:cNvPr id="8" name="Picture 16" descr="https://utahpests.usu.edu/plugins/work/blogger/18/images/2013/07-05-2013/netted_trees.jpg"/>
          <p:cNvPicPr>
            <a:picLocks noChangeAspect="1" noChangeArrowheads="1"/>
          </p:cNvPicPr>
          <p:nvPr/>
        </p:nvPicPr>
        <p:blipFill>
          <a:blip r:embed="rId4" cstate="print"/>
          <a:srcRect/>
          <a:stretch>
            <a:fillRect/>
          </a:stretch>
        </p:blipFill>
        <p:spPr bwMode="auto">
          <a:xfrm>
            <a:off x="285750" y="871538"/>
            <a:ext cx="8707438" cy="5205412"/>
          </a:xfrm>
          <a:prstGeom prst="rect">
            <a:avLst/>
          </a:prstGeom>
          <a:noFill/>
          <a:ln w="9525">
            <a:noFill/>
            <a:miter lim="800000"/>
            <a:headEnd/>
            <a:tailEnd/>
          </a:ln>
        </p:spPr>
      </p:pic>
      <p:pic>
        <p:nvPicPr>
          <p:cNvPr id="9" name="Picture 2"/>
          <p:cNvPicPr>
            <a:picLocks noChangeAspect="1" noChangeArrowheads="1"/>
          </p:cNvPicPr>
          <p:nvPr/>
        </p:nvPicPr>
        <p:blipFill>
          <a:blip r:embed="rId5" cstate="print"/>
          <a:srcRect/>
          <a:stretch>
            <a:fillRect/>
          </a:stretch>
        </p:blipFill>
        <p:spPr bwMode="auto">
          <a:xfrm>
            <a:off x="757238" y="47625"/>
            <a:ext cx="4524375" cy="6765925"/>
          </a:xfrm>
          <a:prstGeom prst="rect">
            <a:avLst/>
          </a:prstGeom>
          <a:noFill/>
          <a:ln w="9525">
            <a:noFill/>
            <a:miter lim="800000"/>
            <a:headEnd/>
            <a:tailEnd/>
          </a:ln>
        </p:spPr>
      </p:pic>
      <p:pic>
        <p:nvPicPr>
          <p:cNvPr id="5" name="Picture 6" descr="http://4.bp.blogspot.com/-aQ41-zT_GYw/Ud9it9BUwxI/AAAAAAAABOU/pZ3QwBoJ9xE/s1600/bee+Deadbees.jpg"/>
          <p:cNvPicPr>
            <a:picLocks noChangeAspect="1" noChangeArrowheads="1"/>
          </p:cNvPicPr>
          <p:nvPr/>
        </p:nvPicPr>
        <p:blipFill>
          <a:blip r:embed="rId6" cstate="print"/>
          <a:srcRect/>
          <a:stretch>
            <a:fillRect/>
          </a:stretch>
        </p:blipFill>
        <p:spPr bwMode="auto">
          <a:xfrm>
            <a:off x="227013" y="582613"/>
            <a:ext cx="8443912" cy="4779962"/>
          </a:xfrm>
          <a:prstGeom prst="rect">
            <a:avLst/>
          </a:prstGeom>
          <a:noFill/>
          <a:ln w="9525">
            <a:noFill/>
            <a:miter lim="800000"/>
            <a:headEnd/>
            <a:tailEnd/>
          </a:ln>
        </p:spPr>
      </p:pic>
      <p:pic>
        <p:nvPicPr>
          <p:cNvPr id="10" name="Picture 12" descr="http://blog.beeculture.com/wp-content/uploads/2013/06/Wilsonvlle-OR-Target-store-with-bagged-trees.jpg"/>
          <p:cNvPicPr>
            <a:picLocks noChangeAspect="1" noChangeArrowheads="1"/>
          </p:cNvPicPr>
          <p:nvPr/>
        </p:nvPicPr>
        <p:blipFill>
          <a:blip r:embed="rId7" cstate="print"/>
          <a:srcRect/>
          <a:stretch>
            <a:fillRect/>
          </a:stretch>
        </p:blipFill>
        <p:spPr bwMode="auto">
          <a:xfrm>
            <a:off x="977900" y="315913"/>
            <a:ext cx="7791450" cy="5843587"/>
          </a:xfrm>
          <a:prstGeom prst="rect">
            <a:avLst/>
          </a:prstGeom>
          <a:noFill/>
          <a:ln w="9525">
            <a:noFill/>
            <a:miter lim="800000"/>
            <a:headEnd/>
            <a:tailEnd/>
          </a:ln>
        </p:spPr>
      </p:pic>
    </p:spTree>
  </p:cSld>
  <p:clrMapOvr>
    <a:masterClrMapping/>
  </p:clrMapOvr>
  <p:transition spd="slow">
    <p:zoom dir="in"/>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subTnLst>
                                    <p:set>
                                      <p:cBhvr override="childStyle">
                                        <p:cTn dur="1" fill="hold" display="0" masterRel="nextClick" afterEffect="1"/>
                                        <p:tgtEl>
                                          <p:spTgt spid="7"/>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1" end="1"/>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500"/>
                                        <p:tgtEl>
                                          <p:spTgt spid="8"/>
                                        </p:tgtEl>
                                      </p:cBhvr>
                                    </p:animEffec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subTnLst>
                                    <p:set>
                                      <p:cBhvr override="childStyle">
                                        <p:cTn dur="1" fill="hold" display="0" masterRel="nextClick" afterEffect="1"/>
                                        <p:tgtEl>
                                          <p:spTgt spid="10"/>
                                        </p:tgtEl>
                                        <p:attrNameLst>
                                          <p:attrName>style.visibility</p:attrName>
                                        </p:attrNameLst>
                                      </p:cBhvr>
                                      <p:to>
                                        <p:strVal val="hidden"/>
                                      </p:to>
                                    </p:set>
                                  </p:subTnLst>
                                </p:cTn>
                              </p:par>
                            </p:childTnLst>
                          </p:cTn>
                        </p:par>
                      </p:childTnLst>
                    </p:cTn>
                  </p:par>
                  <p:par>
                    <p:cTn id="37" fill="hold">
                      <p:stCondLst>
                        <p:cond delay="indefinite"/>
                      </p:stCondLst>
                      <p:childTnLst>
                        <p:par>
                          <p:cTn id="38" fill="hold">
                            <p:stCondLst>
                              <p:cond delay="0"/>
                            </p:stCondLst>
                            <p:childTnLst>
                              <p:par>
                                <p:cTn id="39" presetID="14" presetClass="entr" presetSubtype="10" fill="hold" nodeType="clickEffect">
                                  <p:stCondLst>
                                    <p:cond delay="0"/>
                                  </p:stCondLst>
                                  <p:childTnLst>
                                    <p:set>
                                      <p:cBhvr>
                                        <p:cTn id="40" dur="1" fill="hold">
                                          <p:stCondLst>
                                            <p:cond delay="0"/>
                                          </p:stCondLst>
                                        </p:cTn>
                                        <p:tgtEl>
                                          <p:spTgt spid="3">
                                            <p:txEl>
                                              <p:pRg st="5" end="5"/>
                                            </p:txEl>
                                          </p:spTgt>
                                        </p:tgtEl>
                                        <p:attrNameLst>
                                          <p:attrName>style.visibility</p:attrName>
                                        </p:attrNameLst>
                                      </p:cBhvr>
                                      <p:to>
                                        <p:strVal val="visible"/>
                                      </p:to>
                                    </p:set>
                                    <p:animEffect transition="in" filter="randombar(horizontal)">
                                      <p:cBhvr>
                                        <p:cTn id="41" dur="500"/>
                                        <p:tgtEl>
                                          <p:spTgt spid="3">
                                            <p:txEl>
                                              <p:pRg st="5" end="5"/>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2" presetClass="entr" presetSubtype="4" fill="hold" nodeType="clickEffect">
                                  <p:stCondLst>
                                    <p:cond delay="0"/>
                                  </p:stCondLst>
                                  <p:childTnLst>
                                    <p:set>
                                      <p:cBhvr>
                                        <p:cTn id="45" dur="1" fill="hold">
                                          <p:stCondLst>
                                            <p:cond delay="0"/>
                                          </p:stCondLst>
                                        </p:cTn>
                                        <p:tgtEl>
                                          <p:spTgt spid="3">
                                            <p:txEl>
                                              <p:pRg st="6" end="6"/>
                                            </p:txEl>
                                          </p:spTgt>
                                        </p:tgtEl>
                                        <p:attrNameLst>
                                          <p:attrName>style.visibility</p:attrName>
                                        </p:attrNameLst>
                                      </p:cBhvr>
                                      <p:to>
                                        <p:strVal val="visible"/>
                                      </p:to>
                                    </p:set>
                                    <p:anim calcmode="lin" valueType="num">
                                      <p:cBhvr additive="base">
                                        <p:cTn id="46" dur="500" fill="hold"/>
                                        <p:tgtEl>
                                          <p:spTgt spid="3">
                                            <p:txEl>
                                              <p:pRg st="6" end="6"/>
                                            </p:txEl>
                                          </p:spTgt>
                                        </p:tgtEl>
                                        <p:attrNameLst>
                                          <p:attrName>ppt_x</p:attrName>
                                        </p:attrNameLst>
                                      </p:cBhvr>
                                      <p:tavLst>
                                        <p:tav tm="0">
                                          <p:val>
                                            <p:strVal val="#ppt_x"/>
                                          </p:val>
                                        </p:tav>
                                        <p:tav tm="100000">
                                          <p:val>
                                            <p:strVal val="#ppt_x"/>
                                          </p:val>
                                        </p:tav>
                                      </p:tavLst>
                                    </p:anim>
                                    <p:anim calcmode="lin" valueType="num">
                                      <p:cBhvr additive="base">
                                        <p:cTn id="47" dur="500" fill="hold"/>
                                        <p:tgtEl>
                                          <p:spTgt spid="3">
                                            <p:txEl>
                                              <p:pRg st="6" end="6"/>
                                            </p:txEl>
                                          </p:spTgt>
                                        </p:tgtEl>
                                        <p:attrNameLst>
                                          <p:attrName>ppt_y</p:attrName>
                                        </p:attrNameLst>
                                      </p:cBhvr>
                                      <p:tavLst>
                                        <p:tav tm="0">
                                          <p:val>
                                            <p:strVal val="1+#ppt_h/2"/>
                                          </p:val>
                                        </p:tav>
                                        <p:tav tm="100000">
                                          <p:val>
                                            <p:strVal val="#ppt_y"/>
                                          </p:val>
                                        </p:tav>
                                      </p:tavLst>
                                    </p:anim>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9"/>
                                        </p:tgtEl>
                                        <p:attrNameLst>
                                          <p:attrName>style.visibility</p:attrName>
                                        </p:attrNameLst>
                                      </p:cBhvr>
                                      <p:to>
                                        <p:strVal val="visible"/>
                                      </p:to>
                                    </p:set>
                                    <p:animEffect transition="in" filter="fade">
                                      <p:cBhvr>
                                        <p:cTn id="52" dur="500"/>
                                        <p:tgtEl>
                                          <p:spTgt spid="9"/>
                                        </p:tgtEl>
                                      </p:cBhvr>
                                    </p:animEffect>
                                  </p:childTnLst>
                                  <p:subTnLst>
                                    <p:set>
                                      <p:cBhvr override="childStyle">
                                        <p:cTn dur="1" fill="hold" display="0" masterRel="nextClick" afterEffect="1"/>
                                        <p:tgtEl>
                                          <p:spTgt spid="9"/>
                                        </p:tgtEl>
                                        <p:attrNameLst>
                                          <p:attrName>style.visibility</p:attrName>
                                        </p:attrNameLst>
                                      </p:cBhvr>
                                      <p:to>
                                        <p:strVal val="hidden"/>
                                      </p:to>
                                    </p:set>
                                  </p:sub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3">
                                            <p:txEl>
                                              <p:pRg st="7" end="7"/>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3">
                                            <p:txEl>
                                              <p:pRg st="9" end="9"/>
                                            </p:txEl>
                                          </p:spTgt>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auto">
              <a:spcAft>
                <a:spcPts val="0"/>
              </a:spcAft>
              <a:defRPr/>
            </a:pPr>
            <a:r>
              <a:rPr lang="en-US" dirty="0" smtClean="0"/>
              <a:t>EPA Forced to Take Action</a:t>
            </a:r>
            <a:endParaRPr lang="en-US" dirty="0"/>
          </a:p>
        </p:txBody>
      </p:sp>
      <p:sp>
        <p:nvSpPr>
          <p:cNvPr id="78850" name="Content Placeholder 2"/>
          <p:cNvSpPr>
            <a:spLocks noGrp="1"/>
          </p:cNvSpPr>
          <p:nvPr>
            <p:ph idx="1"/>
          </p:nvPr>
        </p:nvSpPr>
        <p:spPr/>
        <p:txBody>
          <a:bodyPr/>
          <a:lstStyle/>
          <a:p>
            <a:r>
              <a:rPr lang="en-US" smtClean="0"/>
              <a:t>July 22</a:t>
            </a:r>
            <a:r>
              <a:rPr lang="en-US" baseline="30000" smtClean="0"/>
              <a:t>nd</a:t>
            </a:r>
            <a:r>
              <a:rPr lang="en-US" smtClean="0"/>
              <a:t> Bradbury Letter to Registrants containing NNIs (not CNIs)</a:t>
            </a:r>
          </a:p>
          <a:p>
            <a:pPr lvl="1"/>
            <a:r>
              <a:rPr lang="en-US" smtClean="0"/>
              <a:t>Develop clearer language to strengthen pollinator protection</a:t>
            </a:r>
          </a:p>
          <a:p>
            <a:pPr lvl="1"/>
            <a:r>
              <a:rPr lang="en-US" smtClean="0"/>
              <a:t>All outdoor uses affected</a:t>
            </a:r>
          </a:p>
          <a:p>
            <a:pPr lvl="1"/>
            <a:r>
              <a:rPr lang="en-US" smtClean="0"/>
              <a:t>Required submission of (for each relevant product);</a:t>
            </a:r>
          </a:p>
          <a:p>
            <a:pPr lvl="2"/>
            <a:r>
              <a:rPr lang="en-US" smtClean="0"/>
              <a:t>Future Production &amp; label printing schedules</a:t>
            </a:r>
          </a:p>
          <a:p>
            <a:pPr lvl="2"/>
            <a:r>
              <a:rPr lang="en-US" smtClean="0"/>
              <a:t>Efficacy data, including movement “within plant structures”</a:t>
            </a:r>
          </a:p>
          <a:p>
            <a:pPr lvl="2"/>
            <a:r>
              <a:rPr lang="en-US" smtClean="0"/>
              <a:t>Company pollinator stewardship plan</a:t>
            </a:r>
          </a:p>
          <a:p>
            <a:pPr lvl="1"/>
            <a:r>
              <a:rPr lang="en-US" smtClean="0"/>
              <a:t>Many meetings followed between stakeholders (industry, EPA, activists)</a:t>
            </a:r>
          </a:p>
          <a:p>
            <a:r>
              <a:rPr lang="en-US" smtClean="0"/>
              <a:t>August 9</a:t>
            </a:r>
            <a:r>
              <a:rPr lang="en-US" baseline="30000" smtClean="0"/>
              <a:t>th</a:t>
            </a:r>
            <a:r>
              <a:rPr lang="en-US" smtClean="0"/>
              <a:t> Rossi Letter to Registrants</a:t>
            </a:r>
          </a:p>
          <a:p>
            <a:pPr lvl="1"/>
            <a:r>
              <a:rPr lang="en-US" smtClean="0"/>
              <a:t>Preview of language</a:t>
            </a:r>
          </a:p>
          <a:p>
            <a:pPr lvl="1"/>
            <a:r>
              <a:rPr lang="en-US" smtClean="0"/>
              <a:t>Request for comments by Aug. 12</a:t>
            </a:r>
            <a:r>
              <a:rPr lang="en-US" baseline="30000" smtClean="0"/>
              <a:t>th</a:t>
            </a:r>
            <a:r>
              <a:rPr lang="en-US" smtClean="0"/>
              <a:t>.</a:t>
            </a:r>
          </a:p>
        </p:txBody>
      </p:sp>
    </p:spTree>
  </p:cSld>
  <p:clrMapOvr>
    <a:masterClrMapping/>
  </p:clrMapOvr>
  <p:transition>
    <p:wip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auto">
              <a:spcAft>
                <a:spcPts val="0"/>
              </a:spcAft>
              <a:defRPr/>
            </a:pPr>
            <a:r>
              <a:rPr lang="en-US" dirty="0"/>
              <a:t>Pollinator Protection L.I.P.</a:t>
            </a:r>
          </a:p>
        </p:txBody>
      </p:sp>
      <p:sp>
        <p:nvSpPr>
          <p:cNvPr id="80898" name="Content Placeholder 2"/>
          <p:cNvSpPr>
            <a:spLocks noGrp="1"/>
          </p:cNvSpPr>
          <p:nvPr>
            <p:ph idx="1"/>
          </p:nvPr>
        </p:nvSpPr>
        <p:spPr/>
        <p:txBody>
          <a:bodyPr/>
          <a:lstStyle/>
          <a:p>
            <a:pPr lvl="1"/>
            <a:r>
              <a:rPr lang="en-US" smtClean="0"/>
              <a:t>August 15 Letter to Registrants from Steve Bradley, OPP Director</a:t>
            </a:r>
          </a:p>
          <a:p>
            <a:pPr lvl="2"/>
            <a:r>
              <a:rPr lang="en-US" smtClean="0"/>
              <a:t>Announcing Label Improvement Program for products containing Imidacloprid, Dinotefuran, Clothianidin &amp; Thiamethoxam which have foliar spray application directions (Chloronicotinyls Acetamiprid &amp; Thiacloprid are not included)</a:t>
            </a:r>
          </a:p>
          <a:p>
            <a:pPr lvl="2"/>
            <a:r>
              <a:rPr lang="en-US" smtClean="0"/>
              <a:t>Pollinator Protection Box must be added to Environmental Hazards</a:t>
            </a:r>
          </a:p>
          <a:p>
            <a:pPr lvl="2"/>
            <a:r>
              <a:rPr lang="en-US" smtClean="0"/>
              <a:t>Use Restrictions added to Directions for Use</a:t>
            </a:r>
          </a:p>
          <a:p>
            <a:pPr lvl="2"/>
            <a:r>
              <a:rPr lang="en-US" smtClean="0"/>
              <a:t>Replacement of “actively foraging” with “foraging” in Env. Haz.</a:t>
            </a:r>
          </a:p>
          <a:p>
            <a:pPr lvl="2"/>
            <a:r>
              <a:rPr lang="en-US" smtClean="0"/>
              <a:t>Must be electronic submission</a:t>
            </a:r>
          </a:p>
          <a:p>
            <a:pPr lvl="2"/>
            <a:r>
              <a:rPr lang="en-US" smtClean="0"/>
              <a:t>No changes to prescribed language, or other changes permitted.</a:t>
            </a:r>
          </a:p>
        </p:txBody>
      </p:sp>
    </p:spTree>
  </p:cSld>
  <p:clrMapOvr>
    <a:masterClrMapping/>
  </p:clrMapOvr>
  <p:transition>
    <p:wip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p:txBody>
          <a:bodyPr/>
          <a:lstStyle/>
          <a:p>
            <a:pPr fontAlgn="auto">
              <a:spcAft>
                <a:spcPts val="0"/>
              </a:spcAft>
              <a:defRPr/>
            </a:pPr>
            <a:r>
              <a:rPr lang="en-US" dirty="0" smtClean="0"/>
              <a:t>Bee Health Concerns</a:t>
            </a:r>
          </a:p>
        </p:txBody>
      </p:sp>
      <p:sp>
        <p:nvSpPr>
          <p:cNvPr id="3" name="Content Placeholder 2"/>
          <p:cNvSpPr>
            <a:spLocks noGrp="1"/>
          </p:cNvSpPr>
          <p:nvPr>
            <p:ph idx="1"/>
          </p:nvPr>
        </p:nvSpPr>
        <p:spPr>
          <a:xfrm>
            <a:off x="466725" y="1625600"/>
            <a:ext cx="4519613" cy="4533900"/>
          </a:xfrm>
        </p:spPr>
        <p:txBody>
          <a:bodyPr rtlCol="0">
            <a:normAutofit/>
          </a:bodyPr>
          <a:lstStyle/>
          <a:p>
            <a:pPr marL="0" indent="0" fontAlgn="auto">
              <a:spcAft>
                <a:spcPts val="0"/>
              </a:spcAft>
              <a:buFont typeface="Arial" pitchFamily="34" charset="0"/>
              <a:buChar char="•"/>
              <a:defRPr/>
            </a:pPr>
            <a:r>
              <a:rPr lang="en-US" sz="2000" dirty="0" smtClean="0"/>
              <a:t>EPA Requirements: </a:t>
            </a:r>
          </a:p>
          <a:p>
            <a:pPr marL="285750" indent="-285750" fontAlgn="auto">
              <a:spcAft>
                <a:spcPts val="0"/>
              </a:spcAft>
              <a:buClr>
                <a:srgbClr val="0070C0"/>
              </a:buClr>
              <a:buFont typeface="Arial" pitchFamily="34" charset="0"/>
              <a:buChar char="•"/>
              <a:defRPr/>
            </a:pPr>
            <a:r>
              <a:rPr lang="en-US" sz="2000" dirty="0" smtClean="0"/>
              <a:t>Insertion of a “Pollinator Protection Box”</a:t>
            </a:r>
          </a:p>
          <a:p>
            <a:pPr marL="285750" indent="-285750" fontAlgn="auto">
              <a:spcAft>
                <a:spcPts val="0"/>
              </a:spcAft>
              <a:buClr>
                <a:srgbClr val="0070C0"/>
              </a:buClr>
              <a:buFont typeface="Arial" pitchFamily="34" charset="0"/>
              <a:buChar char="•"/>
              <a:defRPr/>
            </a:pPr>
            <a:r>
              <a:rPr lang="en-US" sz="2000" dirty="0" smtClean="0"/>
              <a:t>Use of the EPA approved ‘Bee Icon’ in above and under directions for use where pollinator exposure may occur. </a:t>
            </a:r>
          </a:p>
          <a:p>
            <a:pPr marL="285750" indent="-285750" fontAlgn="auto">
              <a:spcAft>
                <a:spcPts val="0"/>
              </a:spcAft>
              <a:buClr>
                <a:srgbClr val="0070C0"/>
              </a:buClr>
              <a:buFont typeface="Arial" pitchFamily="34" charset="0"/>
              <a:buChar char="•"/>
              <a:defRPr/>
            </a:pPr>
            <a:r>
              <a:rPr lang="en-US" sz="2000" dirty="0" smtClean="0"/>
              <a:t>Submission of proposed label by September 30, 2013.</a:t>
            </a:r>
          </a:p>
          <a:p>
            <a:pPr marL="285750" indent="-285750" fontAlgn="auto">
              <a:spcAft>
                <a:spcPts val="0"/>
              </a:spcAft>
              <a:buClr>
                <a:srgbClr val="0070C0"/>
              </a:buClr>
              <a:buFont typeface="Arial" pitchFamily="34" charset="0"/>
              <a:buChar char="•"/>
              <a:defRPr/>
            </a:pPr>
            <a:r>
              <a:rPr lang="en-US" sz="2000" dirty="0" smtClean="0"/>
              <a:t>Enforceable as of January 31, 2014. </a:t>
            </a:r>
          </a:p>
          <a:p>
            <a:pPr marL="0" indent="0" fontAlgn="auto">
              <a:spcAft>
                <a:spcPts val="0"/>
              </a:spcAft>
              <a:buFont typeface="Arial" pitchFamily="34" charset="0"/>
              <a:buChar char="•"/>
              <a:defRPr/>
            </a:pPr>
            <a:endParaRPr lang="en-US" sz="2000" dirty="0" smtClean="0"/>
          </a:p>
        </p:txBody>
      </p:sp>
      <p:sp>
        <p:nvSpPr>
          <p:cNvPr id="82947" name="Footer Placeholder 3"/>
          <p:cNvSpPr>
            <a:spLocks noGrp="1"/>
          </p:cNvSpPr>
          <p:nvPr>
            <p:ph type="ftr" sz="quarter" idx="11"/>
          </p:nvPr>
        </p:nvSpPr>
        <p:spPr bwMode="auto">
          <a:xfrm>
            <a:off x="460375" y="6437313"/>
            <a:ext cx="6397625" cy="363537"/>
          </a:xfrm>
          <a:noFill/>
          <a:ln>
            <a:miter lim="800000"/>
            <a:headEnd/>
            <a:tailEnd/>
          </a:ln>
        </p:spPr>
        <p:txBody>
          <a:bodyPr wrap="square" numCol="1" anchorCtr="0" compatLnSpc="1">
            <a:prstTxWarp prst="textNoShape">
              <a:avLst/>
            </a:prstTxWarp>
          </a:bodyPr>
          <a:lstStyle/>
          <a:p>
            <a:r>
              <a:rPr lang="en-GB">
                <a:solidFill>
                  <a:schemeClr val="bg1"/>
                </a:solidFill>
              </a:rPr>
              <a:t>page </a:t>
            </a:r>
            <a:fld id="{74869CA5-C4B8-4E5B-A208-3234D4CFF898}" type="slidenum">
              <a:rPr lang="en-GB">
                <a:solidFill>
                  <a:schemeClr val="bg1"/>
                </a:solidFill>
              </a:rPr>
              <a:pPr/>
              <a:t>15</a:t>
            </a:fld>
            <a:r>
              <a:rPr lang="en-GB">
                <a:solidFill>
                  <a:schemeClr val="bg1"/>
                </a:solidFill>
              </a:rPr>
              <a:t> • Name of presentation • February 9, 2011</a:t>
            </a:r>
          </a:p>
        </p:txBody>
      </p:sp>
      <p:pic>
        <p:nvPicPr>
          <p:cNvPr id="82948" name="Picture 4" descr="C:\Documents and Settings\tsteeger\Local Settings\Temp\Temporary Internet Files\Content.IE5\1K7CG0A4\MC900438018[1].png"/>
          <p:cNvPicPr>
            <a:picLocks noChangeAspect="1" noChangeArrowheads="1"/>
          </p:cNvPicPr>
          <p:nvPr/>
        </p:nvPicPr>
        <p:blipFill>
          <a:blip r:embed="rId3" cstate="print"/>
          <a:srcRect/>
          <a:stretch>
            <a:fillRect/>
          </a:stretch>
        </p:blipFill>
        <p:spPr bwMode="auto">
          <a:xfrm>
            <a:off x="6035675" y="2332038"/>
            <a:ext cx="1828800" cy="2193925"/>
          </a:xfrm>
          <a:prstGeom prst="rect">
            <a:avLst/>
          </a:prstGeom>
          <a:noFill/>
          <a:ln w="9525">
            <a:noFill/>
            <a:miter lim="800000"/>
            <a:headEnd/>
            <a:tailEnd/>
          </a:ln>
        </p:spPr>
      </p:pic>
      <p:sp>
        <p:nvSpPr>
          <p:cNvPr id="82949" name="Diamond 5"/>
          <p:cNvSpPr>
            <a:spLocks noChangeArrowheads="1"/>
          </p:cNvSpPr>
          <p:nvPr/>
        </p:nvSpPr>
        <p:spPr bwMode="auto">
          <a:xfrm>
            <a:off x="5407025" y="1755775"/>
            <a:ext cx="3084513" cy="3108325"/>
          </a:xfrm>
          <a:prstGeom prst="diamond">
            <a:avLst/>
          </a:prstGeom>
          <a:noFill/>
          <a:ln w="38100" algn="ctr">
            <a:solidFill>
              <a:srgbClr val="FF0000"/>
            </a:solidFill>
            <a:round/>
            <a:headEnd/>
            <a:tailEnd/>
          </a:ln>
        </p:spPr>
        <p:txBody>
          <a:bodyPr wrap="none" anchor="ctr"/>
          <a:lstStyle/>
          <a:p>
            <a:pPr algn="ctr"/>
            <a:endParaRPr lang="en-US"/>
          </a:p>
        </p:txBody>
      </p:sp>
    </p:spTree>
  </p:cSld>
  <p:clrMapOvr>
    <a:masterClrMapping/>
  </p:clrMapOvr>
  <p:transition>
    <p:wip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4993" name="Group 3"/>
          <p:cNvGrpSpPr>
            <a:grpSpLocks/>
          </p:cNvGrpSpPr>
          <p:nvPr/>
        </p:nvGrpSpPr>
        <p:grpSpPr bwMode="auto">
          <a:xfrm>
            <a:off x="0" y="0"/>
            <a:ext cx="9163050" cy="6858000"/>
            <a:chOff x="0" y="0"/>
            <a:chExt cx="9163785" cy="6858000"/>
          </a:xfrm>
        </p:grpSpPr>
        <p:pic>
          <p:nvPicPr>
            <p:cNvPr id="84994" name="Picture 2"/>
            <p:cNvPicPr>
              <a:picLocks noChangeAspect="1" noChangeArrowheads="1"/>
            </p:cNvPicPr>
            <p:nvPr/>
          </p:nvPicPr>
          <p:blipFill>
            <a:blip r:embed="rId3" cstate="print"/>
            <a:srcRect l="96844"/>
            <a:stretch>
              <a:fillRect/>
            </a:stretch>
          </p:blipFill>
          <p:spPr bwMode="auto">
            <a:xfrm>
              <a:off x="0" y="0"/>
              <a:ext cx="9163785" cy="6858000"/>
            </a:xfrm>
            <a:prstGeom prst="rect">
              <a:avLst/>
            </a:prstGeom>
            <a:noFill/>
            <a:ln w="9525">
              <a:noFill/>
              <a:miter lim="800000"/>
              <a:headEnd/>
              <a:tailEnd/>
            </a:ln>
          </p:spPr>
        </p:pic>
        <p:pic>
          <p:nvPicPr>
            <p:cNvPr id="84995" name="Picture 2"/>
            <p:cNvPicPr>
              <a:picLocks noChangeAspect="1" noChangeArrowheads="1"/>
            </p:cNvPicPr>
            <p:nvPr/>
          </p:nvPicPr>
          <p:blipFill>
            <a:blip r:embed="rId3" cstate="print"/>
            <a:srcRect/>
            <a:stretch>
              <a:fillRect/>
            </a:stretch>
          </p:blipFill>
          <p:spPr bwMode="auto">
            <a:xfrm>
              <a:off x="152400" y="0"/>
              <a:ext cx="8871440" cy="6858000"/>
            </a:xfrm>
            <a:prstGeom prst="rect">
              <a:avLst/>
            </a:prstGeom>
            <a:noFill/>
            <a:ln w="9525">
              <a:noFill/>
              <a:miter lim="800000"/>
              <a:headEnd/>
              <a:tailEnd/>
            </a:ln>
          </p:spPr>
        </p:pic>
      </p:grpSp>
    </p:spTree>
  </p:cSld>
  <p:clrMapOvr>
    <a:masterClrMapping/>
  </p:clrMapOvr>
  <p:transition>
    <p:wip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auto">
              <a:spcAft>
                <a:spcPts val="0"/>
              </a:spcAft>
              <a:defRPr/>
            </a:pPr>
            <a:r>
              <a:rPr lang="en-US" dirty="0" smtClean="0"/>
              <a:t>Use Directions Changes</a:t>
            </a:r>
            <a:endParaRPr lang="en-US" dirty="0"/>
          </a:p>
        </p:txBody>
      </p:sp>
      <p:sp>
        <p:nvSpPr>
          <p:cNvPr id="3" name="Content Placeholder 2"/>
          <p:cNvSpPr>
            <a:spLocks noGrp="1"/>
          </p:cNvSpPr>
          <p:nvPr>
            <p:ph idx="1"/>
          </p:nvPr>
        </p:nvSpPr>
        <p:spPr/>
        <p:txBody>
          <a:bodyPr rtlCol="0">
            <a:normAutofit fontScale="92500" lnSpcReduction="10000"/>
          </a:bodyPr>
          <a:lstStyle/>
          <a:p>
            <a:pPr marL="182880" indent="-182880" fontAlgn="auto">
              <a:spcAft>
                <a:spcPts val="0"/>
              </a:spcAft>
              <a:buFont typeface="Arial" pitchFamily="34" charset="0"/>
              <a:buChar char="•"/>
              <a:defRPr/>
            </a:pPr>
            <a:r>
              <a:rPr lang="en-US" dirty="0" smtClean="0"/>
              <a:t>This is the biggest challenge for us, because Perimeter treatments were not considered during the language development (despite our request to adapt the language).</a:t>
            </a:r>
          </a:p>
          <a:p>
            <a:pPr marL="182880" indent="-182880" fontAlgn="auto">
              <a:spcAft>
                <a:spcPts val="0"/>
              </a:spcAft>
              <a:buFont typeface="Arial" pitchFamily="34" charset="0"/>
              <a:buChar char="•"/>
              <a:defRPr/>
            </a:pPr>
            <a:r>
              <a:rPr lang="en-US" dirty="0" smtClean="0"/>
              <a:t>Placement is the issue.  EPA is requiring it right after DFU heading, not in the relevant section of the label</a:t>
            </a:r>
          </a:p>
          <a:p>
            <a:pPr marL="182880" indent="-182880" fontAlgn="auto">
              <a:spcAft>
                <a:spcPts val="0"/>
              </a:spcAft>
              <a:buFont typeface="Arial" pitchFamily="34" charset="0"/>
              <a:buChar char="•"/>
              <a:defRPr/>
            </a:pPr>
            <a:endParaRPr lang="en-US" dirty="0"/>
          </a:p>
          <a:p>
            <a:pPr marL="182880" indent="-182880" fontAlgn="auto">
              <a:spcAft>
                <a:spcPts val="0"/>
              </a:spcAft>
              <a:buFont typeface="Arial" pitchFamily="34" charset="0"/>
              <a:buChar char="•"/>
              <a:defRPr/>
            </a:pPr>
            <a:endParaRPr lang="en-US" dirty="0" smtClean="0"/>
          </a:p>
          <a:p>
            <a:pPr marL="182880" indent="-182880" fontAlgn="auto">
              <a:spcAft>
                <a:spcPts val="0"/>
              </a:spcAft>
              <a:buFont typeface="Arial" pitchFamily="34" charset="0"/>
              <a:buChar char="•"/>
              <a:defRPr/>
            </a:pPr>
            <a:endParaRPr lang="en-US" dirty="0"/>
          </a:p>
          <a:p>
            <a:pPr marL="182880" indent="-182880" fontAlgn="auto">
              <a:spcAft>
                <a:spcPts val="0"/>
              </a:spcAft>
              <a:buFont typeface="Arial" pitchFamily="34" charset="0"/>
              <a:buChar char="•"/>
              <a:defRPr/>
            </a:pPr>
            <a:endParaRPr lang="en-US" dirty="0" smtClean="0"/>
          </a:p>
          <a:p>
            <a:pPr marL="182880" indent="-182880" fontAlgn="auto">
              <a:spcAft>
                <a:spcPts val="0"/>
              </a:spcAft>
              <a:buFont typeface="Arial" pitchFamily="34" charset="0"/>
              <a:buChar char="•"/>
              <a:defRPr/>
            </a:pPr>
            <a:endParaRPr lang="en-US" dirty="0"/>
          </a:p>
          <a:p>
            <a:pPr marL="182880" indent="-182880" fontAlgn="auto">
              <a:spcAft>
                <a:spcPts val="0"/>
              </a:spcAft>
              <a:buFont typeface="Arial" pitchFamily="34" charset="0"/>
              <a:buChar char="•"/>
              <a:defRPr/>
            </a:pPr>
            <a:r>
              <a:rPr lang="en-US" dirty="0" smtClean="0"/>
              <a:t>Then the specific foliar directions have to include the bee icon and a referral statement.</a:t>
            </a:r>
          </a:p>
          <a:p>
            <a:pPr marL="182880" indent="-182880" fontAlgn="auto">
              <a:spcAft>
                <a:spcPts val="0"/>
              </a:spcAft>
              <a:buFont typeface="Arial" pitchFamily="34" charset="0"/>
              <a:buChar char="•"/>
              <a:defRPr/>
            </a:pPr>
            <a:r>
              <a:rPr lang="en-US" dirty="0" smtClean="0"/>
              <a:t>Subject to substantial misinterpretation by enforcement or PMP legal advisors</a:t>
            </a:r>
          </a:p>
        </p:txBody>
      </p:sp>
      <p:pic>
        <p:nvPicPr>
          <p:cNvPr id="87043" name="Picture 2"/>
          <p:cNvPicPr>
            <a:picLocks noChangeAspect="1" noChangeArrowheads="1"/>
          </p:cNvPicPr>
          <p:nvPr/>
        </p:nvPicPr>
        <p:blipFill>
          <a:blip r:embed="rId3" cstate="print"/>
          <a:srcRect/>
          <a:stretch>
            <a:fillRect/>
          </a:stretch>
        </p:blipFill>
        <p:spPr bwMode="auto">
          <a:xfrm>
            <a:off x="466725" y="3322638"/>
            <a:ext cx="7685088" cy="1800225"/>
          </a:xfrm>
          <a:prstGeom prst="rect">
            <a:avLst/>
          </a:prstGeom>
          <a:noFill/>
          <a:ln w="9525">
            <a:noFill/>
            <a:miter lim="800000"/>
            <a:headEnd/>
            <a:tailEnd/>
          </a:ln>
        </p:spPr>
      </p:pic>
    </p:spTree>
  </p:cSld>
  <p:clrMapOvr>
    <a:masterClrMapping/>
  </p:clrMapOvr>
  <p:transition>
    <p:wip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Rectangle 2"/>
          <p:cNvSpPr>
            <a:spLocks noGrp="1"/>
          </p:cNvSpPr>
          <p:nvPr>
            <p:ph type="title"/>
          </p:nvPr>
        </p:nvSpPr>
        <p:spPr/>
        <p:txBody>
          <a:bodyPr/>
          <a:lstStyle/>
          <a:p>
            <a:pPr fontAlgn="auto">
              <a:spcAft>
                <a:spcPts val="0"/>
              </a:spcAft>
              <a:defRPr/>
            </a:pPr>
            <a:r>
              <a:rPr lang="en-US" sz="2800" dirty="0" smtClean="0">
                <a:ea typeface="ＭＳ Ｐゴシック" pitchFamily="34" charset="-128"/>
              </a:rPr>
              <a:t>Reducing Risk = Reducing Exposure</a:t>
            </a:r>
          </a:p>
        </p:txBody>
      </p:sp>
      <p:sp>
        <p:nvSpPr>
          <p:cNvPr id="54275" name="Rectangle 3"/>
          <p:cNvSpPr>
            <a:spLocks noGrp="1"/>
          </p:cNvSpPr>
          <p:nvPr>
            <p:ph sz="half" idx="1"/>
          </p:nvPr>
        </p:nvSpPr>
        <p:spPr>
          <a:xfrm>
            <a:off x="2903538" y="1449388"/>
            <a:ext cx="6037262" cy="4533900"/>
          </a:xfrm>
        </p:spPr>
        <p:txBody>
          <a:bodyPr rtlCol="0">
            <a:normAutofit lnSpcReduction="10000"/>
          </a:bodyPr>
          <a:lstStyle/>
          <a:p>
            <a:pPr marL="1587" lvl="1" indent="0" fontAlgn="auto">
              <a:lnSpc>
                <a:spcPct val="90000"/>
              </a:lnSpc>
              <a:spcAft>
                <a:spcPts val="0"/>
              </a:spcAft>
              <a:buFont typeface="Arial" pitchFamily="34" charset="0"/>
              <a:buNone/>
              <a:defRPr/>
            </a:pPr>
            <a:endParaRPr lang="en-US" sz="2000" dirty="0">
              <a:solidFill>
                <a:srgbClr val="5AB13F"/>
              </a:solidFill>
            </a:endParaRPr>
          </a:p>
          <a:p>
            <a:pPr marL="1587" lvl="1" indent="0" fontAlgn="auto">
              <a:lnSpc>
                <a:spcPct val="90000"/>
              </a:lnSpc>
              <a:spcAft>
                <a:spcPts val="0"/>
              </a:spcAft>
              <a:buFont typeface="Arial" pitchFamily="34" charset="0"/>
              <a:buNone/>
              <a:defRPr/>
            </a:pPr>
            <a:r>
              <a:rPr lang="en-US" sz="2800" dirty="0" smtClean="0">
                <a:solidFill>
                  <a:srgbClr val="5AB13F"/>
                </a:solidFill>
              </a:rPr>
              <a:t>Toxicity </a:t>
            </a:r>
            <a:r>
              <a:rPr lang="en-US" sz="2800" dirty="0">
                <a:solidFill>
                  <a:srgbClr val="5AB13F"/>
                </a:solidFill>
              </a:rPr>
              <a:t>DOES NOT equal </a:t>
            </a:r>
            <a:r>
              <a:rPr lang="en-US" sz="2800" dirty="0" smtClean="0">
                <a:solidFill>
                  <a:srgbClr val="5AB13F"/>
                </a:solidFill>
              </a:rPr>
              <a:t>risk</a:t>
            </a:r>
          </a:p>
          <a:p>
            <a:pPr marL="1587" lvl="1" indent="0" fontAlgn="auto">
              <a:lnSpc>
                <a:spcPct val="90000"/>
              </a:lnSpc>
              <a:spcAft>
                <a:spcPts val="0"/>
              </a:spcAft>
              <a:buFont typeface="Arial" pitchFamily="34" charset="0"/>
              <a:buNone/>
              <a:defRPr/>
            </a:pPr>
            <a:r>
              <a:rPr lang="en-US" sz="2800" dirty="0" smtClean="0">
                <a:solidFill>
                  <a:srgbClr val="5AB13F"/>
                </a:solidFill>
              </a:rPr>
              <a:t>Risk </a:t>
            </a:r>
            <a:r>
              <a:rPr lang="en-US" sz="2800" dirty="0">
                <a:solidFill>
                  <a:srgbClr val="5AB13F"/>
                </a:solidFill>
              </a:rPr>
              <a:t>= Hazard (Toxicity)  x </a:t>
            </a:r>
            <a:r>
              <a:rPr lang="en-US" sz="2800" dirty="0" smtClean="0">
                <a:solidFill>
                  <a:srgbClr val="5AB13F"/>
                </a:solidFill>
              </a:rPr>
              <a:t>Exposure</a:t>
            </a:r>
            <a:endParaRPr lang="en-US" dirty="0">
              <a:solidFill>
                <a:srgbClr val="5AB13F"/>
              </a:solidFill>
            </a:endParaRPr>
          </a:p>
          <a:p>
            <a:pPr marL="182880" indent="-182880" fontAlgn="auto">
              <a:spcAft>
                <a:spcPts val="0"/>
              </a:spcAft>
              <a:buFont typeface="Wingdings" pitchFamily="2" charset="2"/>
              <a:buChar char="§"/>
              <a:defRPr/>
            </a:pPr>
            <a:r>
              <a:rPr lang="en-US" sz="2000" dirty="0"/>
              <a:t>The toxicity of a pesticide remains constant regardless of its use</a:t>
            </a:r>
          </a:p>
          <a:p>
            <a:pPr marL="182880" indent="-182880" fontAlgn="auto">
              <a:spcAft>
                <a:spcPts val="0"/>
              </a:spcAft>
              <a:buFont typeface="Wingdings" pitchFamily="2" charset="2"/>
              <a:buChar char="§"/>
              <a:defRPr/>
            </a:pPr>
            <a:r>
              <a:rPr lang="en-US" sz="2000" dirty="0"/>
              <a:t>The exposure to a pesticide is dependent on the conditions surrounding its use</a:t>
            </a:r>
          </a:p>
          <a:p>
            <a:pPr marL="182880" indent="-182880" fontAlgn="auto">
              <a:spcAft>
                <a:spcPts val="0"/>
              </a:spcAft>
              <a:buFont typeface="Wingdings" pitchFamily="2" charset="2"/>
              <a:buChar char="§"/>
              <a:defRPr/>
            </a:pPr>
            <a:r>
              <a:rPr lang="en-US" sz="2000" dirty="0"/>
              <a:t>The risk associated with using a pesticide can </a:t>
            </a:r>
            <a:r>
              <a:rPr lang="en-US" sz="2000" dirty="0" smtClean="0"/>
              <a:t>be </a:t>
            </a:r>
            <a:r>
              <a:rPr lang="en-US" sz="2000" dirty="0"/>
              <a:t>reduced (mitigated) by decreasing the potential for </a:t>
            </a:r>
            <a:r>
              <a:rPr lang="en-US" sz="2000" dirty="0" smtClean="0"/>
              <a:t>exposure</a:t>
            </a:r>
          </a:p>
          <a:p>
            <a:pPr marL="182880" indent="-182880" fontAlgn="auto">
              <a:spcAft>
                <a:spcPts val="0"/>
              </a:spcAft>
              <a:buFont typeface="Wingdings" pitchFamily="2" charset="2"/>
              <a:buChar char="§"/>
              <a:defRPr/>
            </a:pPr>
            <a:r>
              <a:rPr lang="en-US" sz="2000" dirty="0" smtClean="0"/>
              <a:t>Appropriate selection of formulation can reduce exposure: e.g. using baits instead of foliar application</a:t>
            </a:r>
            <a:endParaRPr lang="en-US" sz="2000" dirty="0"/>
          </a:p>
          <a:p>
            <a:pPr marL="1005840" lvl="3" indent="-182880" fontAlgn="auto">
              <a:lnSpc>
                <a:spcPct val="90000"/>
              </a:lnSpc>
              <a:spcAft>
                <a:spcPts val="0"/>
              </a:spcAft>
              <a:buFont typeface="Arial" pitchFamily="34" charset="0"/>
              <a:buChar char="•"/>
              <a:defRPr/>
            </a:pPr>
            <a:endParaRPr lang="en-US" sz="1600" dirty="0" smtClean="0">
              <a:ea typeface="ＭＳ Ｐゴシック" pitchFamily="34" charset="-128"/>
            </a:endParaRPr>
          </a:p>
          <a:p>
            <a:pPr marL="0" indent="0" fontAlgn="auto">
              <a:lnSpc>
                <a:spcPct val="90000"/>
              </a:lnSpc>
              <a:spcAft>
                <a:spcPts val="0"/>
              </a:spcAft>
              <a:buFont typeface="Wingdings" pitchFamily="2" charset="2"/>
              <a:buNone/>
              <a:defRPr/>
            </a:pPr>
            <a:endParaRPr lang="en-US" sz="2000" dirty="0" smtClean="0">
              <a:ea typeface="ＭＳ Ｐゴシック" pitchFamily="34" charset="-128"/>
            </a:endParaRPr>
          </a:p>
        </p:txBody>
      </p:sp>
      <p:sp>
        <p:nvSpPr>
          <p:cNvPr id="89091" name="Foliennummernplatzhalter 4"/>
          <p:cNvSpPr txBox="1">
            <a:spLocks/>
          </p:cNvSpPr>
          <p:nvPr/>
        </p:nvSpPr>
        <p:spPr bwMode="auto">
          <a:xfrm>
            <a:off x="0" y="6440488"/>
            <a:ext cx="666750" cy="365125"/>
          </a:xfrm>
          <a:prstGeom prst="rect">
            <a:avLst/>
          </a:prstGeom>
          <a:noFill/>
          <a:ln w="9525">
            <a:noFill/>
            <a:miter lim="800000"/>
            <a:headEnd/>
            <a:tailEnd/>
          </a:ln>
        </p:spPr>
        <p:txBody>
          <a:bodyPr/>
          <a:lstStyle/>
          <a:p>
            <a:pPr algn="ctr"/>
            <a:r>
              <a:rPr lang="de-DE" sz="800">
                <a:solidFill>
                  <a:srgbClr val="FFFFFF"/>
                </a:solidFill>
                <a:ea typeface="ＭＳ Ｐゴシック"/>
                <a:cs typeface="ヒラギノ角ゴ Pro W3"/>
              </a:rPr>
              <a:t> </a:t>
            </a:r>
            <a:fld id="{EDF4F0DD-7198-428F-BD48-3D5F64961B95}" type="slidenum">
              <a:rPr lang="de-DE" sz="800">
                <a:solidFill>
                  <a:srgbClr val="FFFFFF"/>
                </a:solidFill>
                <a:ea typeface="ＭＳ Ｐゴシック"/>
                <a:cs typeface="ヒラギノ角ゴ Pro W3"/>
              </a:rPr>
              <a:pPr algn="ctr"/>
              <a:t>18</a:t>
            </a:fld>
            <a:endParaRPr lang="de-DE" sz="800">
              <a:solidFill>
                <a:srgbClr val="FFFFFF"/>
              </a:solidFill>
              <a:ea typeface="ＭＳ Ｐゴシック"/>
              <a:cs typeface="ヒラギノ角ゴ Pro W3"/>
            </a:endParaRPr>
          </a:p>
        </p:txBody>
      </p:sp>
      <p:pic>
        <p:nvPicPr>
          <p:cNvPr id="8" name="Picture 7" descr="http://farm2.static.flickr.com/1152/560729977_da911a06e4.jpg"/>
          <p:cNvPicPr>
            <a:picLocks noChangeAspect="1" noChangeArrowheads="1"/>
          </p:cNvPicPr>
          <p:nvPr/>
        </p:nvPicPr>
        <p:blipFill>
          <a:blip r:embed="rId3" cstate="print">
            <a:extLst>
              <a:ext uri="{28A0092B-C50C-407E-A947-70E740481C1C}"/>
            </a:extLst>
          </a:blip>
          <a:srcRect/>
          <a:stretch>
            <a:fillRect/>
          </a:stretch>
        </p:blipFill>
        <p:spPr bwMode="auto">
          <a:xfrm>
            <a:off x="384905" y="1771350"/>
            <a:ext cx="2236106" cy="1551858"/>
          </a:xfrm>
          <a:prstGeom prst="roundRect">
            <a:avLst>
              <a:gd name="adj" fmla="val 8594"/>
            </a:avLst>
          </a:prstGeom>
          <a:solidFill>
            <a:srgbClr val="FFFFFF">
              <a:shade val="85000"/>
            </a:srgbClr>
          </a:solidFill>
          <a:ln>
            <a:noFill/>
          </a:ln>
          <a:effectLst/>
          <a:extLst/>
        </p:spPr>
      </p:pic>
      <p:pic>
        <p:nvPicPr>
          <p:cNvPr id="9" name="Picture 2" descr="http://upload.wikimedia.org/wikipedia/commons/f/fa/Lion_Zagreb_Zoo.JPG"/>
          <p:cNvPicPr>
            <a:picLocks noChangeAspect="1" noChangeArrowheads="1"/>
          </p:cNvPicPr>
          <p:nvPr/>
        </p:nvPicPr>
        <p:blipFill>
          <a:blip r:embed="rId4" cstate="print">
            <a:extLst>
              <a:ext uri="{28A0092B-C50C-407E-A947-70E740481C1C}"/>
            </a:extLst>
          </a:blip>
          <a:srcRect/>
          <a:stretch>
            <a:fillRect/>
          </a:stretch>
        </p:blipFill>
        <p:spPr bwMode="auto">
          <a:xfrm>
            <a:off x="384905" y="4513156"/>
            <a:ext cx="2287636" cy="1715728"/>
          </a:xfrm>
          <a:prstGeom prst="roundRect">
            <a:avLst>
              <a:gd name="adj" fmla="val 8594"/>
            </a:avLst>
          </a:prstGeom>
          <a:solidFill>
            <a:srgbClr val="FFFFFF">
              <a:shade val="85000"/>
            </a:srgbClr>
          </a:solidFill>
          <a:ln>
            <a:noFill/>
          </a:ln>
          <a:effectLst/>
          <a:extLst/>
        </p:spPr>
      </p:pic>
      <p:cxnSp>
        <p:nvCxnSpPr>
          <p:cNvPr id="89094" name="Straight Arrow Connector 3"/>
          <p:cNvCxnSpPr>
            <a:cxnSpLocks noChangeShapeType="1"/>
          </p:cNvCxnSpPr>
          <p:nvPr/>
        </p:nvCxnSpPr>
        <p:spPr bwMode="auto">
          <a:xfrm>
            <a:off x="1516063" y="3322638"/>
            <a:ext cx="12700" cy="1068387"/>
          </a:xfrm>
          <a:prstGeom prst="straightConnector1">
            <a:avLst/>
          </a:prstGeom>
          <a:noFill/>
          <a:ln w="19050" algn="ctr">
            <a:solidFill>
              <a:schemeClr val="tx1"/>
            </a:solidFill>
            <a:round/>
            <a:headEnd/>
            <a:tailEnd type="arrow" w="med" len="med"/>
          </a:ln>
        </p:spPr>
      </p:cxnSp>
      <p:sp>
        <p:nvSpPr>
          <p:cNvPr id="89095" name="TextBox 11"/>
          <p:cNvSpPr txBox="1">
            <a:spLocks noChangeArrowheads="1"/>
          </p:cNvSpPr>
          <p:nvPr/>
        </p:nvSpPr>
        <p:spPr bwMode="auto">
          <a:xfrm>
            <a:off x="333375" y="3595688"/>
            <a:ext cx="1117600" cy="584200"/>
          </a:xfrm>
          <a:prstGeom prst="rect">
            <a:avLst/>
          </a:prstGeom>
          <a:noFill/>
          <a:ln w="9525">
            <a:noFill/>
            <a:miter lim="800000"/>
            <a:headEnd/>
            <a:tailEnd/>
          </a:ln>
        </p:spPr>
        <p:txBody>
          <a:bodyPr>
            <a:spAutoFit/>
          </a:bodyPr>
          <a:lstStyle/>
          <a:p>
            <a:pPr algn="ctr"/>
            <a:r>
              <a:rPr lang="en-US" sz="1600"/>
              <a:t>Reduce exposure</a:t>
            </a:r>
          </a:p>
        </p:txBody>
      </p:sp>
      <p:sp>
        <p:nvSpPr>
          <p:cNvPr id="89096" name="TextBox 14"/>
          <p:cNvSpPr txBox="1">
            <a:spLocks noChangeArrowheads="1"/>
          </p:cNvSpPr>
          <p:nvPr/>
        </p:nvSpPr>
        <p:spPr bwMode="auto">
          <a:xfrm>
            <a:off x="1706563" y="3600450"/>
            <a:ext cx="914400" cy="585788"/>
          </a:xfrm>
          <a:prstGeom prst="rect">
            <a:avLst/>
          </a:prstGeom>
          <a:noFill/>
          <a:ln w="9525">
            <a:noFill/>
            <a:miter lim="800000"/>
            <a:headEnd/>
            <a:tailEnd/>
          </a:ln>
        </p:spPr>
        <p:txBody>
          <a:bodyPr>
            <a:spAutoFit/>
          </a:bodyPr>
          <a:lstStyle/>
          <a:p>
            <a:pPr algn="ctr"/>
            <a:r>
              <a:rPr lang="en-US" sz="1600"/>
              <a:t>Reduce risk</a:t>
            </a:r>
          </a:p>
        </p:txBody>
      </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itle 1"/>
          <p:cNvSpPr>
            <a:spLocks noGrp="1"/>
          </p:cNvSpPr>
          <p:nvPr>
            <p:ph type="title"/>
          </p:nvPr>
        </p:nvSpPr>
        <p:spPr/>
        <p:txBody>
          <a:bodyPr>
            <a:normAutofit fontScale="90000"/>
          </a:bodyPr>
          <a:lstStyle/>
          <a:p>
            <a:pPr fontAlgn="auto">
              <a:spcAft>
                <a:spcPts val="0"/>
              </a:spcAft>
              <a:defRPr/>
            </a:pPr>
            <a:r>
              <a:rPr lang="en-US" dirty="0" smtClean="0">
                <a:ea typeface="ＭＳ Ｐゴシック" pitchFamily="34" charset="-128"/>
              </a:rPr>
              <a:t>Benefits of Neonicotinoids in Urban Landscapes</a:t>
            </a:r>
          </a:p>
        </p:txBody>
      </p:sp>
      <p:sp>
        <p:nvSpPr>
          <p:cNvPr id="87046" name="Content Placeholder 4"/>
          <p:cNvSpPr txBox="1">
            <a:spLocks/>
          </p:cNvSpPr>
          <p:nvPr/>
        </p:nvSpPr>
        <p:spPr bwMode="gray">
          <a:xfrm>
            <a:off x="468313" y="1554163"/>
            <a:ext cx="8058150" cy="3527425"/>
          </a:xfrm>
          <a:prstGeom prst="rect">
            <a:avLst/>
          </a:prstGeom>
          <a:noFill/>
          <a:ln>
            <a:noFill/>
          </a:ln>
          <a:extLst>
            <a:ext uri="{909E8E84-426E-40DD-AFC4-6F175D3DCCD1}"/>
            <a:ext uri="{91240B29-F687-4F45-9708-019B960494DF}"/>
          </a:extLst>
        </p:spPr>
        <p:txBody>
          <a:bodyPr lIns="0" tIns="0" rIns="0" bIns="0"/>
          <a:lstStyle>
            <a:lvl1pPr marL="265113" indent="-265113"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marL="233363" indent="-233363">
              <a:spcBef>
                <a:spcPts val="300"/>
              </a:spcBef>
              <a:spcAft>
                <a:spcPts val="300"/>
              </a:spcAft>
              <a:buFont typeface="Arial" pitchFamily="34" charset="0"/>
              <a:buChar char="•"/>
              <a:defRPr/>
            </a:pPr>
            <a:r>
              <a:rPr lang="en-US" sz="2000" dirty="0" smtClean="0"/>
              <a:t>Protect trees and shrubs </a:t>
            </a:r>
            <a:r>
              <a:rPr lang="en-US" sz="2000" dirty="0"/>
              <a:t>which can help reduce </a:t>
            </a:r>
            <a:r>
              <a:rPr lang="en-US" sz="2000" dirty="0" smtClean="0"/>
              <a:t>household energy costs</a:t>
            </a:r>
          </a:p>
          <a:p>
            <a:pPr marL="711200" lvl="1" indent="-233363">
              <a:spcBef>
                <a:spcPts val="300"/>
              </a:spcBef>
              <a:spcAft>
                <a:spcPts val="300"/>
              </a:spcAft>
              <a:buFont typeface="Arial" pitchFamily="34" charset="0"/>
              <a:buChar char="•"/>
              <a:defRPr/>
            </a:pPr>
            <a:r>
              <a:rPr lang="en-US" sz="1800" dirty="0" smtClean="0"/>
              <a:t>Reducing local air temperature during day and blocking radiation heat loss during night</a:t>
            </a:r>
          </a:p>
          <a:p>
            <a:pPr marL="711200" lvl="1" indent="-233363">
              <a:spcBef>
                <a:spcPts val="300"/>
              </a:spcBef>
              <a:spcAft>
                <a:spcPts val="300"/>
              </a:spcAft>
              <a:buFont typeface="Arial" pitchFamily="34" charset="0"/>
              <a:buChar char="•"/>
              <a:defRPr/>
            </a:pPr>
            <a:r>
              <a:rPr lang="en-US" sz="1800" dirty="0" smtClean="0"/>
              <a:t>Reducing noise and air pollution</a:t>
            </a:r>
            <a:endParaRPr lang="en-US" sz="1800" dirty="0"/>
          </a:p>
          <a:p>
            <a:pPr marL="342900" indent="-342900">
              <a:spcBef>
                <a:spcPts val="300"/>
              </a:spcBef>
              <a:spcAft>
                <a:spcPts val="300"/>
              </a:spcAft>
              <a:buFont typeface="Arial" pitchFamily="34" charset="0"/>
              <a:buChar char="•"/>
              <a:defRPr/>
            </a:pPr>
            <a:r>
              <a:rPr lang="en-US" sz="2000" dirty="0" smtClean="0"/>
              <a:t>Protect </a:t>
            </a:r>
            <a:r>
              <a:rPr lang="en-US" sz="2000" dirty="0"/>
              <a:t>soil from </a:t>
            </a:r>
            <a:r>
              <a:rPr lang="en-US" sz="2000" dirty="0" smtClean="0"/>
              <a:t>erosion and surface water run-off</a:t>
            </a:r>
            <a:endParaRPr lang="en-US" sz="2000" dirty="0"/>
          </a:p>
          <a:p>
            <a:pPr marL="342900" indent="-342900">
              <a:spcBef>
                <a:spcPts val="300"/>
              </a:spcBef>
              <a:spcAft>
                <a:spcPts val="300"/>
              </a:spcAft>
              <a:buFont typeface="Arial" pitchFamily="34" charset="0"/>
              <a:buChar char="•"/>
              <a:defRPr/>
            </a:pPr>
            <a:r>
              <a:rPr lang="en-US" sz="2000" dirty="0" smtClean="0"/>
              <a:t>Provide </a:t>
            </a:r>
            <a:r>
              <a:rPr lang="en-US" sz="2000" dirty="0"/>
              <a:t>habitat for </a:t>
            </a:r>
            <a:r>
              <a:rPr lang="en-US" sz="2000" dirty="0" smtClean="0"/>
              <a:t>wildlife</a:t>
            </a:r>
            <a:endParaRPr lang="en-US" sz="2000" dirty="0"/>
          </a:p>
          <a:p>
            <a:pPr marL="342900" indent="-342900">
              <a:spcBef>
                <a:spcPts val="300"/>
              </a:spcBef>
              <a:spcAft>
                <a:spcPts val="300"/>
              </a:spcAft>
              <a:buFont typeface="Arial" pitchFamily="34" charset="0"/>
              <a:buChar char="•"/>
              <a:defRPr/>
            </a:pPr>
            <a:r>
              <a:rPr lang="en-US" sz="2000" dirty="0" smtClean="0"/>
              <a:t>Help </a:t>
            </a:r>
            <a:r>
              <a:rPr lang="en-US" sz="2000" dirty="0"/>
              <a:t>remove carbon dioxide &amp; produce </a:t>
            </a:r>
            <a:r>
              <a:rPr lang="en-US" sz="2000" dirty="0" smtClean="0"/>
              <a:t>oxygen</a:t>
            </a:r>
          </a:p>
          <a:p>
            <a:pPr marL="342900" indent="-342900">
              <a:spcBef>
                <a:spcPts val="300"/>
              </a:spcBef>
              <a:spcAft>
                <a:spcPts val="300"/>
              </a:spcAft>
              <a:buFont typeface="Arial" pitchFamily="34" charset="0"/>
              <a:buChar char="•"/>
              <a:defRPr/>
            </a:pPr>
            <a:r>
              <a:rPr lang="en-US" sz="2000" dirty="0" smtClean="0"/>
              <a:t>Low </a:t>
            </a:r>
            <a:r>
              <a:rPr lang="en-US" sz="2000" dirty="0"/>
              <a:t>exposure and toxicity to humans, pets and other mammals (systemic uptake by plants)</a:t>
            </a:r>
          </a:p>
        </p:txBody>
      </p:sp>
      <p:pic>
        <p:nvPicPr>
          <p:cNvPr id="91139" name="Picture 4" descr="header2"/>
          <p:cNvPicPr>
            <a:picLocks noChangeAspect="1" noChangeArrowheads="1"/>
          </p:cNvPicPr>
          <p:nvPr/>
        </p:nvPicPr>
        <p:blipFill>
          <a:blip r:embed="rId3" cstate="print"/>
          <a:srcRect/>
          <a:stretch>
            <a:fillRect/>
          </a:stretch>
        </p:blipFill>
        <p:spPr bwMode="auto">
          <a:xfrm>
            <a:off x="0" y="5562600"/>
            <a:ext cx="9144000" cy="129540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auto">
              <a:spcAft>
                <a:spcPts val="0"/>
              </a:spcAft>
              <a:defRPr/>
            </a:pPr>
            <a:r>
              <a:rPr lang="en-US" dirty="0"/>
              <a:t>Honey Bees</a:t>
            </a:r>
          </a:p>
        </p:txBody>
      </p:sp>
      <p:sp>
        <p:nvSpPr>
          <p:cNvPr id="3" name="Content Placeholder 2"/>
          <p:cNvSpPr>
            <a:spLocks noGrp="1"/>
          </p:cNvSpPr>
          <p:nvPr>
            <p:ph idx="1"/>
          </p:nvPr>
        </p:nvSpPr>
        <p:spPr/>
        <p:txBody>
          <a:bodyPr rtlCol="0">
            <a:normAutofit/>
          </a:bodyPr>
          <a:lstStyle/>
          <a:p>
            <a:pPr marL="457200" indent="-457200" fontAlgn="auto">
              <a:spcAft>
                <a:spcPts val="0"/>
              </a:spcAft>
              <a:buFont typeface="Arial" pitchFamily="34" charset="0"/>
              <a:buChar char="•"/>
              <a:defRPr/>
            </a:pPr>
            <a:r>
              <a:rPr lang="en-US" sz="2800" b="1" dirty="0"/>
              <a:t>Positive Public Image</a:t>
            </a:r>
          </a:p>
          <a:p>
            <a:pPr marL="457200" indent="-457200" fontAlgn="auto">
              <a:spcAft>
                <a:spcPts val="0"/>
              </a:spcAft>
              <a:buFont typeface="Arial" pitchFamily="34" charset="0"/>
              <a:buChar char="•"/>
              <a:defRPr/>
            </a:pPr>
            <a:r>
              <a:rPr lang="en-US" sz="2800" b="1" dirty="0"/>
              <a:t>Beneficial Status</a:t>
            </a:r>
          </a:p>
          <a:p>
            <a:pPr marL="457200" indent="-457200" fontAlgn="auto">
              <a:spcAft>
                <a:spcPts val="0"/>
              </a:spcAft>
              <a:buFont typeface="Arial" pitchFamily="34" charset="0"/>
              <a:buChar char="•"/>
              <a:defRPr/>
            </a:pPr>
            <a:r>
              <a:rPr lang="en-US" sz="2800" b="1" dirty="0"/>
              <a:t>Jerry Seinfeld –</a:t>
            </a:r>
          </a:p>
          <a:p>
            <a:pPr marL="728663" lvl="1" indent="-457200" fontAlgn="auto">
              <a:spcAft>
                <a:spcPts val="0"/>
              </a:spcAft>
              <a:buFont typeface="Arial" pitchFamily="34" charset="0"/>
              <a:buChar char="•"/>
              <a:defRPr/>
            </a:pPr>
            <a:r>
              <a:rPr lang="en-US" sz="2800" b="1" dirty="0"/>
              <a:t>‘Bee Movie’</a:t>
            </a:r>
          </a:p>
          <a:p>
            <a:pPr marL="0" indent="0" fontAlgn="auto">
              <a:spcAft>
                <a:spcPts val="0"/>
              </a:spcAft>
              <a:buFont typeface="Arial" pitchFamily="34" charset="0"/>
              <a:buNone/>
              <a:defRPr/>
            </a:pPr>
            <a:endParaRPr lang="en-US" dirty="0"/>
          </a:p>
        </p:txBody>
      </p:sp>
      <p:pic>
        <p:nvPicPr>
          <p:cNvPr id="56323" name="Picture 8"/>
          <p:cNvPicPr>
            <a:picLocks noChangeAspect="1" noChangeArrowheads="1"/>
          </p:cNvPicPr>
          <p:nvPr/>
        </p:nvPicPr>
        <p:blipFill>
          <a:blip r:embed="rId3" cstate="print"/>
          <a:srcRect/>
          <a:stretch>
            <a:fillRect/>
          </a:stretch>
        </p:blipFill>
        <p:spPr bwMode="auto">
          <a:xfrm>
            <a:off x="3925888" y="2786063"/>
            <a:ext cx="4073525" cy="3378200"/>
          </a:xfrm>
          <a:prstGeom prst="rect">
            <a:avLst/>
          </a:prstGeom>
          <a:noFill/>
          <a:ln w="9525">
            <a:noFill/>
            <a:miter lim="800000"/>
            <a:headEnd/>
            <a:tailEnd/>
          </a:ln>
        </p:spPr>
      </p:pic>
    </p:spTree>
  </p:cSld>
  <p:clrMapOvr>
    <a:masterClrMapping/>
  </p:clrMapOvr>
  <p:transition spd="slow"/>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Title 1"/>
          <p:cNvSpPr>
            <a:spLocks noGrp="1"/>
          </p:cNvSpPr>
          <p:nvPr>
            <p:ph type="title"/>
          </p:nvPr>
        </p:nvSpPr>
        <p:spPr/>
        <p:txBody>
          <a:bodyPr>
            <a:normAutofit fontScale="90000"/>
          </a:bodyPr>
          <a:lstStyle/>
          <a:p>
            <a:pPr fontAlgn="auto">
              <a:spcAft>
                <a:spcPts val="0"/>
              </a:spcAft>
              <a:defRPr/>
            </a:pPr>
            <a:r>
              <a:rPr lang="en-US" dirty="0" smtClean="0">
                <a:ea typeface="ＭＳ Ｐゴシック" pitchFamily="34" charset="-128"/>
              </a:rPr>
              <a:t>Benefits of Neonicotinoids in Urban Landscapes (2)</a:t>
            </a:r>
          </a:p>
        </p:txBody>
      </p:sp>
      <p:sp>
        <p:nvSpPr>
          <p:cNvPr id="2" name="TextBox 1"/>
          <p:cNvSpPr txBox="1"/>
          <p:nvPr/>
        </p:nvSpPr>
        <p:spPr>
          <a:xfrm>
            <a:off x="627063" y="1604963"/>
            <a:ext cx="7996237" cy="3762375"/>
          </a:xfrm>
          <a:prstGeom prst="rect">
            <a:avLst/>
          </a:prstGeom>
          <a:noFill/>
        </p:spPr>
        <p:txBody>
          <a:bodyPr>
            <a:spAutoFit/>
          </a:bodyPr>
          <a:lstStyle/>
          <a:p>
            <a:pPr marL="285750" indent="-285750">
              <a:spcBef>
                <a:spcPts val="300"/>
              </a:spcBef>
              <a:spcAft>
                <a:spcPts val="300"/>
              </a:spcAft>
              <a:buFont typeface="Arial" pitchFamily="34" charset="0"/>
              <a:buChar char="•"/>
              <a:defRPr/>
            </a:pPr>
            <a:r>
              <a:rPr lang="en-US" sz="2000" dirty="0"/>
              <a:t>Protect our homes from destructive pests</a:t>
            </a:r>
          </a:p>
          <a:p>
            <a:pPr marL="285750" indent="-285750">
              <a:spcBef>
                <a:spcPts val="300"/>
              </a:spcBef>
              <a:spcAft>
                <a:spcPts val="300"/>
              </a:spcAft>
              <a:buFont typeface="Arial" pitchFamily="34" charset="0"/>
              <a:buChar char="•"/>
              <a:defRPr/>
            </a:pPr>
            <a:r>
              <a:rPr lang="en-US" sz="2000" dirty="0"/>
              <a:t>Protect our families from pests that can be vectors of potential disease and other health concerns such as asthma, West Nile virus (mosquitoes) and Lyme disease (ticks)</a:t>
            </a:r>
          </a:p>
          <a:p>
            <a:pPr marL="285750" indent="-285750">
              <a:spcBef>
                <a:spcPts val="300"/>
              </a:spcBef>
              <a:spcAft>
                <a:spcPts val="300"/>
              </a:spcAft>
              <a:buFont typeface="Arial" pitchFamily="34" charset="0"/>
              <a:buChar char="•"/>
              <a:defRPr/>
            </a:pPr>
            <a:r>
              <a:rPr lang="en-US" sz="2000" dirty="0"/>
              <a:t>Protecting pets from animal health pests such as fleas and ticks (through perimeter applications)</a:t>
            </a:r>
          </a:p>
          <a:p>
            <a:pPr marL="342900" indent="-342900">
              <a:spcBef>
                <a:spcPts val="300"/>
              </a:spcBef>
              <a:spcAft>
                <a:spcPts val="300"/>
              </a:spcAft>
              <a:buFont typeface="Arial" pitchFamily="34" charset="0"/>
              <a:buChar char="•"/>
              <a:defRPr/>
            </a:pPr>
            <a:r>
              <a:rPr lang="en-US" sz="2000" dirty="0"/>
              <a:t>Contributing to beauty and physical qualities of the environment such around commercial buildings, sport fields, golf courses, lawns, gardens, homes, etc.</a:t>
            </a:r>
          </a:p>
          <a:p>
            <a:pPr marL="800100" lvl="1" indent="-342900">
              <a:spcBef>
                <a:spcPts val="300"/>
              </a:spcBef>
              <a:spcAft>
                <a:spcPts val="300"/>
              </a:spcAft>
              <a:buFont typeface="Arial" pitchFamily="34" charset="0"/>
              <a:buChar char="•"/>
              <a:defRPr/>
            </a:pPr>
            <a:r>
              <a:rPr lang="en-US" dirty="0"/>
              <a:t>Increasing monetary value of property (10 to 20%)</a:t>
            </a:r>
          </a:p>
          <a:p>
            <a:pPr marL="342900" indent="-342900">
              <a:buFont typeface="Arial" pitchFamily="34" charset="0"/>
              <a:buChar char="•"/>
              <a:defRPr/>
            </a:pPr>
            <a:endParaRPr lang="en-US" dirty="0"/>
          </a:p>
        </p:txBody>
      </p:sp>
      <p:pic>
        <p:nvPicPr>
          <p:cNvPr id="93187" name="Picture 1"/>
          <p:cNvPicPr>
            <a:picLocks noChangeAspect="1"/>
          </p:cNvPicPr>
          <p:nvPr/>
        </p:nvPicPr>
        <p:blipFill>
          <a:blip r:embed="rId3" cstate="print"/>
          <a:srcRect/>
          <a:stretch>
            <a:fillRect/>
          </a:stretch>
        </p:blipFill>
        <p:spPr bwMode="auto">
          <a:xfrm>
            <a:off x="-42863" y="6002338"/>
            <a:ext cx="1957388" cy="866775"/>
          </a:xfrm>
          <a:prstGeom prst="rect">
            <a:avLst/>
          </a:prstGeom>
          <a:noFill/>
          <a:ln w="9525">
            <a:noFill/>
            <a:miter lim="800000"/>
            <a:headEnd/>
            <a:tailEnd/>
          </a:ln>
        </p:spPr>
      </p:pic>
      <p:pic>
        <p:nvPicPr>
          <p:cNvPr id="93188" name="Picture 10" descr="Golf"/>
          <p:cNvPicPr>
            <a:picLocks noChangeAspect="1" noChangeArrowheads="1"/>
          </p:cNvPicPr>
          <p:nvPr/>
        </p:nvPicPr>
        <p:blipFill>
          <a:blip r:embed="rId4" cstate="print"/>
          <a:srcRect/>
          <a:stretch>
            <a:fillRect/>
          </a:stretch>
        </p:blipFill>
        <p:spPr bwMode="auto">
          <a:xfrm>
            <a:off x="1817688" y="6002338"/>
            <a:ext cx="1042987" cy="871537"/>
          </a:xfrm>
          <a:prstGeom prst="rect">
            <a:avLst/>
          </a:prstGeom>
          <a:noFill/>
          <a:ln w="9525">
            <a:noFill/>
            <a:miter lim="800000"/>
            <a:headEnd/>
            <a:tailEnd/>
          </a:ln>
        </p:spPr>
      </p:pic>
      <p:pic>
        <p:nvPicPr>
          <p:cNvPr id="93189" name="Picture 8" descr="Frau_Gemuese"/>
          <p:cNvPicPr>
            <a:picLocks noChangeAspect="1" noChangeArrowheads="1"/>
          </p:cNvPicPr>
          <p:nvPr/>
        </p:nvPicPr>
        <p:blipFill>
          <a:blip r:embed="rId5" cstate="print"/>
          <a:srcRect/>
          <a:stretch>
            <a:fillRect/>
          </a:stretch>
        </p:blipFill>
        <p:spPr bwMode="auto">
          <a:xfrm>
            <a:off x="2751138" y="6002338"/>
            <a:ext cx="1087437" cy="866775"/>
          </a:xfrm>
          <a:prstGeom prst="rect">
            <a:avLst/>
          </a:prstGeom>
          <a:noFill/>
          <a:ln w="9525">
            <a:noFill/>
            <a:miter lim="800000"/>
            <a:headEnd/>
            <a:tailEnd/>
          </a:ln>
        </p:spPr>
      </p:pic>
      <p:pic>
        <p:nvPicPr>
          <p:cNvPr id="93190" name="Picture 2" descr="W:\07_Visuals_photos_logos\2012Thinkstock\112786027.jpg"/>
          <p:cNvPicPr>
            <a:picLocks noChangeAspect="1" noChangeArrowheads="1"/>
          </p:cNvPicPr>
          <p:nvPr/>
        </p:nvPicPr>
        <p:blipFill>
          <a:blip r:embed="rId6" cstate="print"/>
          <a:srcRect/>
          <a:stretch>
            <a:fillRect/>
          </a:stretch>
        </p:blipFill>
        <p:spPr bwMode="auto">
          <a:xfrm>
            <a:off x="5765800" y="6002338"/>
            <a:ext cx="1676400" cy="863600"/>
          </a:xfrm>
          <a:prstGeom prst="rect">
            <a:avLst/>
          </a:prstGeom>
          <a:noFill/>
          <a:ln w="9525">
            <a:noFill/>
            <a:miter lim="800000"/>
            <a:headEnd/>
            <a:tailEnd/>
          </a:ln>
        </p:spPr>
      </p:pic>
      <p:pic>
        <p:nvPicPr>
          <p:cNvPr id="93191" name="Grafik 24"/>
          <p:cNvPicPr>
            <a:picLocks noChangeAspect="1"/>
          </p:cNvPicPr>
          <p:nvPr/>
        </p:nvPicPr>
        <p:blipFill>
          <a:blip r:embed="rId7" cstate="print"/>
          <a:srcRect/>
          <a:stretch>
            <a:fillRect/>
          </a:stretch>
        </p:blipFill>
        <p:spPr bwMode="auto">
          <a:xfrm>
            <a:off x="3838575" y="6002338"/>
            <a:ext cx="1927225" cy="855662"/>
          </a:xfrm>
          <a:prstGeom prst="rect">
            <a:avLst/>
          </a:prstGeom>
          <a:noFill/>
          <a:ln w="9525">
            <a:noFill/>
            <a:miter lim="800000"/>
            <a:headEnd/>
            <a:tailEnd/>
          </a:ln>
        </p:spPr>
      </p:pic>
      <p:pic>
        <p:nvPicPr>
          <p:cNvPr id="93192" name="Picture 2"/>
          <p:cNvPicPr>
            <a:picLocks noChangeAspect="1" noChangeArrowheads="1"/>
          </p:cNvPicPr>
          <p:nvPr/>
        </p:nvPicPr>
        <p:blipFill>
          <a:blip r:embed="rId8" cstate="print"/>
          <a:srcRect/>
          <a:stretch>
            <a:fillRect/>
          </a:stretch>
        </p:blipFill>
        <p:spPr bwMode="auto">
          <a:xfrm>
            <a:off x="7442200" y="6002338"/>
            <a:ext cx="1701800" cy="906462"/>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a:xfrm>
            <a:off x="468313" y="346075"/>
            <a:ext cx="5964237" cy="949325"/>
          </a:xfrm>
        </p:spPr>
        <p:txBody>
          <a:bodyPr/>
          <a:lstStyle/>
          <a:p>
            <a:pPr fontAlgn="auto">
              <a:spcBef>
                <a:spcPts val="300"/>
              </a:spcBef>
              <a:spcAft>
                <a:spcPts val="600"/>
              </a:spcAft>
              <a:defRPr/>
            </a:pPr>
            <a:r>
              <a:rPr lang="en-US" sz="2800" dirty="0" smtClean="0"/>
              <a:t>Pest Management Professional – Stewardship (1)</a:t>
            </a:r>
            <a:endParaRPr lang="en-US" sz="2800" dirty="0" smtClean="0">
              <a:ea typeface="MS PGothic" pitchFamily="34" charset="-128"/>
            </a:endParaRPr>
          </a:p>
        </p:txBody>
      </p:sp>
      <p:sp>
        <p:nvSpPr>
          <p:cNvPr id="3" name="Content Placeholder 2"/>
          <p:cNvSpPr>
            <a:spLocks noGrp="1"/>
          </p:cNvSpPr>
          <p:nvPr>
            <p:ph idx="4294967295"/>
          </p:nvPr>
        </p:nvSpPr>
        <p:spPr>
          <a:xfrm>
            <a:off x="0" y="1573213"/>
            <a:ext cx="7735888" cy="4533900"/>
          </a:xfrm>
        </p:spPr>
        <p:txBody>
          <a:bodyPr rtlCol="0">
            <a:normAutofit/>
          </a:bodyPr>
          <a:lstStyle/>
          <a:p>
            <a:pPr marL="270000" lvl="1" indent="-270000" fontAlgn="auto">
              <a:spcBef>
                <a:spcPts val="0"/>
              </a:spcBef>
              <a:spcAft>
                <a:spcPts val="300"/>
              </a:spcAft>
              <a:buClr>
                <a:srgbClr val="005598"/>
              </a:buClr>
              <a:buFont typeface="Wingdings"/>
              <a:buChar char="n"/>
              <a:defRPr/>
            </a:pPr>
            <a:r>
              <a:rPr lang="en-US" dirty="0" smtClean="0">
                <a:ea typeface="ＭＳ Ｐゴシック" pitchFamily="34" charset="-128"/>
              </a:rPr>
              <a:t>Risk is a function of Hazard x Exposure</a:t>
            </a:r>
          </a:p>
          <a:p>
            <a:pPr marL="540000" lvl="2" indent="-270000" fontAlgn="auto">
              <a:spcBef>
                <a:spcPts val="0"/>
              </a:spcBef>
              <a:spcAft>
                <a:spcPts val="0"/>
              </a:spcAft>
              <a:buClr>
                <a:srgbClr val="005598"/>
              </a:buClr>
              <a:buSzPct val="100000"/>
              <a:buFont typeface="Arial"/>
              <a:buChar char="–"/>
              <a:defRPr/>
            </a:pPr>
            <a:r>
              <a:rPr lang="en-US" dirty="0"/>
              <a:t>There is no exposure to bees with interior structural pest control unless bees and/or beekeeping equipment are present in the structure</a:t>
            </a:r>
          </a:p>
          <a:p>
            <a:pPr marL="540000" lvl="2" indent="-270000" fontAlgn="auto">
              <a:spcBef>
                <a:spcPts val="0"/>
              </a:spcBef>
              <a:spcAft>
                <a:spcPts val="0"/>
              </a:spcAft>
              <a:buClr>
                <a:srgbClr val="005598"/>
              </a:buClr>
              <a:buSzPct val="100000"/>
              <a:buFont typeface="Arial"/>
              <a:buChar char="–"/>
              <a:defRPr/>
            </a:pPr>
            <a:r>
              <a:rPr lang="en-US" dirty="0"/>
              <a:t>Activity sites for structural pests and Industry-standard application methods are typically not performed in areas of pollinating insect activity, or are performed when pollinating insects are not present </a:t>
            </a:r>
          </a:p>
          <a:p>
            <a:pPr marL="540000" lvl="2" indent="-270000" fontAlgn="auto">
              <a:spcBef>
                <a:spcPts val="0"/>
              </a:spcBef>
              <a:spcAft>
                <a:spcPts val="0"/>
              </a:spcAft>
              <a:buClr>
                <a:srgbClr val="005598"/>
              </a:buClr>
              <a:buSzPct val="100000"/>
              <a:buFont typeface="Arial"/>
              <a:buChar char="–"/>
              <a:defRPr/>
            </a:pPr>
            <a:r>
              <a:rPr lang="en-US" dirty="0" smtClean="0"/>
              <a:t>There </a:t>
            </a:r>
            <a:r>
              <a:rPr lang="en-US" dirty="0"/>
              <a:t>is minimal to no exposure to bees when exterior applications are not applied to blooming plants; ground nesting bees and wasps can be exposed but these usually not present or are a nuisance and pose a stinging </a:t>
            </a:r>
            <a:r>
              <a:rPr lang="en-US" dirty="0" smtClean="0"/>
              <a:t>risk</a:t>
            </a:r>
          </a:p>
          <a:p>
            <a:pPr marL="270000" lvl="1" indent="-270000" fontAlgn="auto">
              <a:spcAft>
                <a:spcPts val="0"/>
              </a:spcAft>
              <a:buClr>
                <a:srgbClr val="005598"/>
              </a:buClr>
              <a:buFont typeface="Wingdings"/>
              <a:buChar char="n"/>
              <a:defRPr/>
            </a:pPr>
            <a:r>
              <a:rPr lang="en-US" dirty="0" smtClean="0"/>
              <a:t>Respect the label, these have been carefully designed and reviewed by the regulatory authorities to ensure that all uses pose no unreasonable adverse effects to the environment</a:t>
            </a:r>
          </a:p>
          <a:p>
            <a:pPr marL="270000" lvl="1" indent="-270000" fontAlgn="auto">
              <a:spcAft>
                <a:spcPts val="0"/>
              </a:spcAft>
              <a:buClr>
                <a:srgbClr val="005598"/>
              </a:buClr>
              <a:buFont typeface="Wingdings"/>
              <a:buChar char="n"/>
              <a:defRPr/>
            </a:pPr>
            <a:endParaRPr lang="en-US" sz="1600" dirty="0" smtClean="0">
              <a:ea typeface="ＭＳ Ｐゴシック" pitchFamily="34" charset="-128"/>
            </a:endParaRPr>
          </a:p>
          <a:p>
            <a:pPr marL="270000" lvl="1" indent="-270000" fontAlgn="auto">
              <a:spcAft>
                <a:spcPts val="0"/>
              </a:spcAft>
              <a:buClr>
                <a:srgbClr val="005598"/>
              </a:buClr>
              <a:buFont typeface="Wingdings"/>
              <a:buChar char="n"/>
              <a:defRPr/>
            </a:pPr>
            <a:endParaRPr lang="en-US" sz="1600" dirty="0" smtClean="0">
              <a:ea typeface="ＭＳ Ｐゴシック" pitchFamily="34" charset="-128"/>
            </a:endParaRPr>
          </a:p>
          <a:p>
            <a:pPr marL="541462" lvl="2" indent="-270000" fontAlgn="auto">
              <a:spcAft>
                <a:spcPts val="0"/>
              </a:spcAft>
              <a:buClr>
                <a:srgbClr val="005598"/>
              </a:buClr>
              <a:buSzPct val="85000"/>
              <a:buFont typeface="Wingdings"/>
              <a:buChar char="n"/>
              <a:defRPr/>
            </a:pPr>
            <a:endParaRPr lang="en-US" sz="1600" dirty="0" smtClean="0">
              <a:ea typeface="ＭＳ Ｐゴシック" pitchFamily="34" charset="-128"/>
            </a:endParaRPr>
          </a:p>
          <a:p>
            <a:pPr marL="182880" indent="-182880" fontAlgn="auto">
              <a:spcAft>
                <a:spcPts val="0"/>
              </a:spcAft>
              <a:buFont typeface="Arial" pitchFamily="34" charset="0"/>
              <a:buChar char="•"/>
              <a:defRPr/>
            </a:pPr>
            <a:endParaRPr lang="en-US" sz="1600" dirty="0"/>
          </a:p>
        </p:txBody>
      </p:sp>
    </p:spTree>
  </p:cSld>
  <p:clrMapOvr>
    <a:masterClrMapping/>
  </p:clrMapOvr>
  <p:transition>
    <p:wip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1"/>
          <p:cNvSpPr>
            <a:spLocks noGrp="1"/>
          </p:cNvSpPr>
          <p:nvPr>
            <p:ph type="title"/>
          </p:nvPr>
        </p:nvSpPr>
        <p:spPr>
          <a:xfrm>
            <a:off x="468313" y="346075"/>
            <a:ext cx="5964237" cy="949325"/>
          </a:xfrm>
        </p:spPr>
        <p:txBody>
          <a:bodyPr/>
          <a:lstStyle/>
          <a:p>
            <a:pPr fontAlgn="auto">
              <a:spcBef>
                <a:spcPts val="300"/>
              </a:spcBef>
              <a:spcAft>
                <a:spcPts val="600"/>
              </a:spcAft>
              <a:defRPr/>
            </a:pPr>
            <a:r>
              <a:rPr lang="en-US" sz="2800" dirty="0" smtClean="0"/>
              <a:t>Pest Management Professional – Stewardship (2)</a:t>
            </a:r>
            <a:endParaRPr lang="en-US" sz="2800" dirty="0" smtClean="0">
              <a:ea typeface="MS PGothic" pitchFamily="34" charset="-128"/>
            </a:endParaRPr>
          </a:p>
        </p:txBody>
      </p:sp>
      <p:sp>
        <p:nvSpPr>
          <p:cNvPr id="3" name="Content Placeholder 2"/>
          <p:cNvSpPr>
            <a:spLocks noGrp="1"/>
          </p:cNvSpPr>
          <p:nvPr>
            <p:ph idx="4294967295"/>
          </p:nvPr>
        </p:nvSpPr>
        <p:spPr>
          <a:xfrm>
            <a:off x="0" y="1573213"/>
            <a:ext cx="7735888" cy="4533900"/>
          </a:xfrm>
        </p:spPr>
        <p:txBody>
          <a:bodyPr rtlCol="0">
            <a:normAutofit/>
          </a:bodyPr>
          <a:lstStyle/>
          <a:p>
            <a:pPr marL="270000" lvl="1" indent="-270000" fontAlgn="auto">
              <a:spcBef>
                <a:spcPts val="0"/>
              </a:spcBef>
              <a:spcAft>
                <a:spcPts val="300"/>
              </a:spcAft>
              <a:buClr>
                <a:srgbClr val="005598"/>
              </a:buClr>
              <a:buFont typeface="Wingdings"/>
              <a:buChar char="n"/>
              <a:defRPr/>
            </a:pPr>
            <a:r>
              <a:rPr lang="en-US" dirty="0" smtClean="0">
                <a:ea typeface="ＭＳ Ｐゴシック" pitchFamily="34" charset="-128"/>
              </a:rPr>
              <a:t>If applying where bee exposure is possible or blooming plants are close to the application site consider:</a:t>
            </a:r>
          </a:p>
          <a:p>
            <a:pPr marL="541462" lvl="2" indent="-270000" fontAlgn="auto">
              <a:spcBef>
                <a:spcPts val="0"/>
              </a:spcBef>
              <a:spcAft>
                <a:spcPts val="300"/>
              </a:spcAft>
              <a:buClr>
                <a:srgbClr val="005598"/>
              </a:buClr>
              <a:buSzPct val="85000"/>
              <a:buFont typeface="Wingdings"/>
              <a:buChar char="n"/>
              <a:defRPr/>
            </a:pPr>
            <a:r>
              <a:rPr lang="en-US" dirty="0" smtClean="0">
                <a:ea typeface="ＭＳ Ｐゴシック" pitchFamily="34" charset="-128"/>
              </a:rPr>
              <a:t>Apply in cooler temperatures - </a:t>
            </a:r>
            <a:r>
              <a:rPr lang="en-US" dirty="0" smtClean="0"/>
              <a:t>honey </a:t>
            </a:r>
            <a:r>
              <a:rPr lang="en-US" dirty="0"/>
              <a:t>bees general start foraging above 55˚</a:t>
            </a:r>
            <a:r>
              <a:rPr lang="en-US" dirty="0" smtClean="0"/>
              <a:t>F. This is not always possible and some products are less </a:t>
            </a:r>
            <a:r>
              <a:rPr lang="en-US" dirty="0"/>
              <a:t>effective at cooler </a:t>
            </a:r>
            <a:r>
              <a:rPr lang="en-US" dirty="0" smtClean="0"/>
              <a:t>temps. </a:t>
            </a:r>
          </a:p>
          <a:p>
            <a:pPr marL="541462" lvl="2" indent="-270000" fontAlgn="auto">
              <a:spcBef>
                <a:spcPts val="0"/>
              </a:spcBef>
              <a:spcAft>
                <a:spcPts val="300"/>
              </a:spcAft>
              <a:buClr>
                <a:srgbClr val="005598"/>
              </a:buClr>
              <a:buSzPct val="85000"/>
              <a:buFont typeface="Wingdings"/>
              <a:buChar char="n"/>
              <a:defRPr/>
            </a:pPr>
            <a:r>
              <a:rPr lang="en-US" dirty="0" smtClean="0"/>
              <a:t>Reduce bee </a:t>
            </a:r>
            <a:r>
              <a:rPr lang="en-US" dirty="0"/>
              <a:t>attractive blooming </a:t>
            </a:r>
            <a:r>
              <a:rPr lang="en-US" dirty="0" smtClean="0"/>
              <a:t>plants/weeds </a:t>
            </a:r>
            <a:r>
              <a:rPr lang="en-US" dirty="0"/>
              <a:t>in the treated </a:t>
            </a:r>
            <a:r>
              <a:rPr lang="en-US" dirty="0" smtClean="0"/>
              <a:t>area</a:t>
            </a:r>
          </a:p>
          <a:p>
            <a:pPr marL="541462" lvl="2" indent="-270000" fontAlgn="auto">
              <a:spcBef>
                <a:spcPts val="0"/>
              </a:spcBef>
              <a:spcAft>
                <a:spcPts val="300"/>
              </a:spcAft>
              <a:buClr>
                <a:srgbClr val="005598"/>
              </a:buClr>
              <a:buSzPct val="85000"/>
              <a:buFont typeface="Wingdings"/>
              <a:buChar char="n"/>
              <a:defRPr/>
            </a:pPr>
            <a:r>
              <a:rPr lang="en-US" dirty="0"/>
              <a:t>S</a:t>
            </a:r>
            <a:r>
              <a:rPr lang="en-US" dirty="0" smtClean="0"/>
              <a:t>pray </a:t>
            </a:r>
            <a:r>
              <a:rPr lang="en-US" dirty="0"/>
              <a:t>when drying conditions are good</a:t>
            </a:r>
            <a:r>
              <a:rPr lang="en-US" dirty="0" smtClean="0"/>
              <a:t>.</a:t>
            </a:r>
          </a:p>
          <a:p>
            <a:pPr marL="541462" lvl="2" indent="-270000" fontAlgn="auto">
              <a:spcBef>
                <a:spcPts val="0"/>
              </a:spcBef>
              <a:spcAft>
                <a:spcPts val="300"/>
              </a:spcAft>
              <a:buClr>
                <a:srgbClr val="005598"/>
              </a:buClr>
              <a:buSzPct val="85000"/>
              <a:buFont typeface="Wingdings"/>
              <a:buChar char="n"/>
              <a:defRPr/>
            </a:pPr>
            <a:r>
              <a:rPr lang="en-US" dirty="0" smtClean="0"/>
              <a:t>Apply around dusk when bees are less active</a:t>
            </a:r>
          </a:p>
          <a:p>
            <a:pPr marL="541462" lvl="2" indent="-270000" fontAlgn="auto">
              <a:spcBef>
                <a:spcPts val="0"/>
              </a:spcBef>
              <a:spcAft>
                <a:spcPts val="300"/>
              </a:spcAft>
              <a:buClr>
                <a:srgbClr val="005598"/>
              </a:buClr>
              <a:buSzPct val="85000"/>
              <a:buFont typeface="Wingdings"/>
              <a:buChar char="n"/>
              <a:defRPr/>
            </a:pPr>
            <a:r>
              <a:rPr lang="en-US" dirty="0" smtClean="0"/>
              <a:t>Be aware of wind speed and direction during application to minimize movement onto flowering plants and weeds</a:t>
            </a:r>
          </a:p>
          <a:p>
            <a:pPr marL="541462" lvl="2" indent="-270000" fontAlgn="auto">
              <a:spcBef>
                <a:spcPts val="0"/>
              </a:spcBef>
              <a:spcAft>
                <a:spcPts val="300"/>
              </a:spcAft>
              <a:buClr>
                <a:srgbClr val="005598"/>
              </a:buClr>
              <a:buSzPct val="85000"/>
              <a:buFont typeface="Wingdings"/>
              <a:buChar char="n"/>
              <a:defRPr/>
            </a:pPr>
            <a:r>
              <a:rPr lang="en-US" dirty="0" smtClean="0"/>
              <a:t>Communicate with beekeepers in the area if feasible</a:t>
            </a:r>
          </a:p>
          <a:p>
            <a:pPr marL="271462" lvl="2" indent="0" fontAlgn="auto">
              <a:spcBef>
                <a:spcPts val="0"/>
              </a:spcBef>
              <a:spcAft>
                <a:spcPts val="300"/>
              </a:spcAft>
              <a:buClr>
                <a:srgbClr val="005598"/>
              </a:buClr>
              <a:buSzPct val="85000"/>
              <a:buFont typeface="Arial" pitchFamily="34" charset="0"/>
              <a:buNone/>
              <a:defRPr/>
            </a:pPr>
            <a:endParaRPr lang="en-US" dirty="0"/>
          </a:p>
          <a:p>
            <a:pPr marL="541462" lvl="2" indent="-270000" fontAlgn="auto">
              <a:spcBef>
                <a:spcPts val="0"/>
              </a:spcBef>
              <a:spcAft>
                <a:spcPts val="300"/>
              </a:spcAft>
              <a:buClr>
                <a:srgbClr val="005598"/>
              </a:buClr>
              <a:buSzPct val="85000"/>
              <a:buFont typeface="Wingdings"/>
              <a:buChar char="n"/>
              <a:defRPr/>
            </a:pPr>
            <a:endParaRPr lang="en-US" dirty="0" smtClean="0"/>
          </a:p>
          <a:p>
            <a:pPr marL="541462" lvl="2" indent="-270000" fontAlgn="auto">
              <a:spcAft>
                <a:spcPts val="0"/>
              </a:spcAft>
              <a:buClr>
                <a:srgbClr val="005598"/>
              </a:buClr>
              <a:buSzPct val="85000"/>
              <a:buFont typeface="Wingdings"/>
              <a:buChar char="n"/>
              <a:defRPr/>
            </a:pPr>
            <a:endParaRPr lang="en-US" sz="1600" dirty="0" smtClean="0">
              <a:ea typeface="ＭＳ Ｐゴシック" pitchFamily="34" charset="-128"/>
            </a:endParaRPr>
          </a:p>
          <a:p>
            <a:pPr marL="270000" lvl="1" indent="-270000" fontAlgn="auto">
              <a:spcAft>
                <a:spcPts val="0"/>
              </a:spcAft>
              <a:buClr>
                <a:srgbClr val="005598"/>
              </a:buClr>
              <a:buFont typeface="Wingdings"/>
              <a:buChar char="n"/>
              <a:defRPr/>
            </a:pPr>
            <a:endParaRPr lang="en-US" sz="1600" dirty="0" smtClean="0">
              <a:ea typeface="ＭＳ Ｐゴシック" pitchFamily="34" charset="-128"/>
            </a:endParaRPr>
          </a:p>
          <a:p>
            <a:pPr marL="541462" lvl="2" indent="-270000" fontAlgn="auto">
              <a:spcAft>
                <a:spcPts val="0"/>
              </a:spcAft>
              <a:buClr>
                <a:srgbClr val="005598"/>
              </a:buClr>
              <a:buSzPct val="85000"/>
              <a:buFont typeface="Wingdings"/>
              <a:buChar char="n"/>
              <a:defRPr/>
            </a:pPr>
            <a:endParaRPr lang="en-US" sz="1600" dirty="0" smtClean="0">
              <a:ea typeface="ＭＳ Ｐゴシック" pitchFamily="34" charset="-128"/>
            </a:endParaRPr>
          </a:p>
          <a:p>
            <a:pPr marL="182880" indent="-182880" fontAlgn="auto">
              <a:spcAft>
                <a:spcPts val="0"/>
              </a:spcAft>
              <a:buFont typeface="Arial" pitchFamily="34" charset="0"/>
              <a:buChar char="•"/>
              <a:defRPr/>
            </a:pPr>
            <a:endParaRPr lang="en-US" sz="1600" dirty="0"/>
          </a:p>
        </p:txBody>
      </p:sp>
    </p:spTree>
  </p:cSld>
  <p:clrMapOvr>
    <a:masterClrMapping/>
  </p:clrMapOvr>
  <p:transition>
    <p:wip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p:cNvSpPr>
            <a:spLocks noGrp="1"/>
          </p:cNvSpPr>
          <p:nvPr>
            <p:ph type="title"/>
          </p:nvPr>
        </p:nvSpPr>
        <p:spPr>
          <a:xfrm>
            <a:off x="468313" y="346075"/>
            <a:ext cx="5964237" cy="949325"/>
          </a:xfrm>
        </p:spPr>
        <p:txBody>
          <a:bodyPr/>
          <a:lstStyle/>
          <a:p>
            <a:pPr fontAlgn="auto">
              <a:spcBef>
                <a:spcPts val="300"/>
              </a:spcBef>
              <a:spcAft>
                <a:spcPts val="600"/>
              </a:spcAft>
              <a:defRPr/>
            </a:pPr>
            <a:r>
              <a:rPr lang="en-US" sz="2800" dirty="0" smtClean="0">
                <a:ea typeface="MS PGothic" pitchFamily="34" charset="-128"/>
              </a:rPr>
              <a:t>Thoughts on Proactive strategies for structural pest management industry</a:t>
            </a:r>
          </a:p>
        </p:txBody>
      </p:sp>
      <p:sp>
        <p:nvSpPr>
          <p:cNvPr id="3" name="Content Placeholder 2"/>
          <p:cNvSpPr>
            <a:spLocks noGrp="1"/>
          </p:cNvSpPr>
          <p:nvPr>
            <p:ph idx="4294967295"/>
          </p:nvPr>
        </p:nvSpPr>
        <p:spPr>
          <a:xfrm>
            <a:off x="754063" y="1573213"/>
            <a:ext cx="8389937" cy="4533900"/>
          </a:xfrm>
        </p:spPr>
        <p:txBody>
          <a:bodyPr rtlCol="0">
            <a:normAutofit fontScale="92500"/>
          </a:bodyPr>
          <a:lstStyle/>
          <a:p>
            <a:pPr marL="270000" lvl="1" indent="-270000" fontAlgn="auto">
              <a:spcAft>
                <a:spcPts val="0"/>
              </a:spcAft>
              <a:buClr>
                <a:srgbClr val="005598"/>
              </a:buClr>
              <a:buFont typeface="Wingdings"/>
              <a:buChar char="n"/>
              <a:defRPr/>
            </a:pPr>
            <a:r>
              <a:rPr lang="en-US" dirty="0" smtClean="0">
                <a:ea typeface="ＭＳ Ｐゴシック" pitchFamily="34" charset="-128"/>
              </a:rPr>
              <a:t>Educate clients about the components of IPM and how IPM practices are applied to structural pest management</a:t>
            </a:r>
          </a:p>
          <a:p>
            <a:pPr marL="540000" lvl="2" indent="-270000" fontAlgn="auto">
              <a:spcBef>
                <a:spcPts val="0"/>
              </a:spcBef>
              <a:spcAft>
                <a:spcPts val="0"/>
              </a:spcAft>
              <a:buClr>
                <a:srgbClr val="005598"/>
              </a:buClr>
              <a:buSzPct val="100000"/>
              <a:buFont typeface="Arial"/>
              <a:buChar char="–"/>
              <a:defRPr/>
            </a:pPr>
            <a:r>
              <a:rPr lang="en-US" dirty="0"/>
              <a:t>Monitoring</a:t>
            </a:r>
          </a:p>
          <a:p>
            <a:pPr marL="540000" lvl="2" indent="-270000" fontAlgn="auto">
              <a:spcBef>
                <a:spcPts val="0"/>
              </a:spcBef>
              <a:spcAft>
                <a:spcPts val="0"/>
              </a:spcAft>
              <a:buClr>
                <a:srgbClr val="005598"/>
              </a:buClr>
              <a:buSzPct val="100000"/>
              <a:buFont typeface="Arial"/>
              <a:buChar char="–"/>
              <a:defRPr/>
            </a:pPr>
            <a:r>
              <a:rPr lang="en-US" dirty="0" smtClean="0"/>
              <a:t>Identification and distribution  </a:t>
            </a:r>
            <a:r>
              <a:rPr lang="en-US" dirty="0"/>
              <a:t>of </a:t>
            </a:r>
            <a:r>
              <a:rPr lang="en-US" dirty="0" smtClean="0"/>
              <a:t>pests</a:t>
            </a:r>
            <a:endParaRPr lang="en-US" dirty="0"/>
          </a:p>
          <a:p>
            <a:pPr marL="540000" lvl="2" indent="-270000" fontAlgn="auto">
              <a:spcBef>
                <a:spcPts val="0"/>
              </a:spcBef>
              <a:spcAft>
                <a:spcPts val="0"/>
              </a:spcAft>
              <a:buClr>
                <a:srgbClr val="005598"/>
              </a:buClr>
              <a:buSzPct val="100000"/>
              <a:buFont typeface="Arial"/>
              <a:buChar char="–"/>
              <a:defRPr/>
            </a:pPr>
            <a:r>
              <a:rPr lang="en-US" dirty="0" smtClean="0"/>
              <a:t>Options </a:t>
            </a:r>
            <a:r>
              <a:rPr lang="en-US" dirty="0"/>
              <a:t>for control and management</a:t>
            </a:r>
          </a:p>
          <a:p>
            <a:pPr marL="270000" lvl="1" indent="-270000" fontAlgn="auto">
              <a:spcAft>
                <a:spcPts val="0"/>
              </a:spcAft>
              <a:buClr>
                <a:srgbClr val="005598"/>
              </a:buClr>
              <a:buFont typeface="Wingdings"/>
              <a:buChar char="n"/>
              <a:defRPr/>
            </a:pPr>
            <a:r>
              <a:rPr lang="en-US" dirty="0" smtClean="0">
                <a:ea typeface="ＭＳ Ｐゴシック" pitchFamily="34" charset="-128"/>
              </a:rPr>
              <a:t>Look for business opportunities to demonstrate consideration for pollinators e.g. working with local beekeeping groups to capture swarms</a:t>
            </a:r>
            <a:endParaRPr lang="en-US" dirty="0">
              <a:ea typeface="ＭＳ Ｐゴシック" pitchFamily="34" charset="-128"/>
            </a:endParaRPr>
          </a:p>
          <a:p>
            <a:pPr marL="270000" lvl="1" indent="-270000" fontAlgn="auto">
              <a:spcAft>
                <a:spcPts val="0"/>
              </a:spcAft>
              <a:buClr>
                <a:srgbClr val="005598"/>
              </a:buClr>
              <a:buFont typeface="Wingdings"/>
              <a:buChar char="n"/>
              <a:defRPr/>
            </a:pPr>
            <a:r>
              <a:rPr lang="en-US" dirty="0" smtClean="0">
                <a:ea typeface="ＭＳ Ｐゴシック" pitchFamily="34" charset="-128"/>
              </a:rPr>
              <a:t>Partner with others on programs on bee health rather than focusing on bee risks</a:t>
            </a:r>
          </a:p>
          <a:p>
            <a:pPr marL="270000" lvl="1" indent="-270000" fontAlgn="auto">
              <a:spcAft>
                <a:spcPts val="0"/>
              </a:spcAft>
              <a:buClr>
                <a:srgbClr val="005598"/>
              </a:buClr>
              <a:buFont typeface="Wingdings"/>
              <a:buChar char="n"/>
              <a:defRPr/>
            </a:pPr>
            <a:r>
              <a:rPr lang="en-US" dirty="0" smtClean="0">
                <a:ea typeface="ＭＳ Ｐゴシック" pitchFamily="34" charset="-128"/>
              </a:rPr>
              <a:t>Programs for applicators </a:t>
            </a:r>
          </a:p>
          <a:p>
            <a:pPr marL="540000" lvl="2" indent="-270000" fontAlgn="auto">
              <a:spcBef>
                <a:spcPts val="0"/>
              </a:spcBef>
              <a:spcAft>
                <a:spcPts val="0"/>
              </a:spcAft>
              <a:buClr>
                <a:srgbClr val="005598"/>
              </a:buClr>
              <a:buSzPct val="100000"/>
              <a:buFont typeface="Arial"/>
              <a:buChar char="–"/>
              <a:defRPr/>
            </a:pPr>
            <a:r>
              <a:rPr lang="en-US" dirty="0"/>
              <a:t>Be bee sensitive, informed and alert; always consider possible routes of exposure to non-pest </a:t>
            </a:r>
            <a:r>
              <a:rPr lang="en-US" dirty="0" smtClean="0"/>
              <a:t>bees</a:t>
            </a:r>
          </a:p>
          <a:p>
            <a:pPr marL="270000" lvl="1" indent="-270000" fontAlgn="auto">
              <a:spcAft>
                <a:spcPts val="0"/>
              </a:spcAft>
              <a:buClr>
                <a:srgbClr val="005598"/>
              </a:buClr>
              <a:buFont typeface="Wingdings"/>
              <a:buChar char="n"/>
              <a:defRPr/>
            </a:pPr>
            <a:r>
              <a:rPr lang="en-US" dirty="0">
                <a:ea typeface="ＭＳ Ｐゴシック" pitchFamily="34" charset="-128"/>
              </a:rPr>
              <a:t>Work with RISE to ensure bee issues are being addressed in a way the users have access to much needed tools while protecting pollinators   </a:t>
            </a:r>
          </a:p>
          <a:p>
            <a:pPr marL="182880" indent="-182880" fontAlgn="auto">
              <a:spcAft>
                <a:spcPts val="0"/>
              </a:spcAft>
              <a:buFont typeface="Arial" pitchFamily="34" charset="0"/>
              <a:buChar char="•"/>
              <a:defRPr/>
            </a:pPr>
            <a:endParaRPr lang="en-US" sz="1600" dirty="0"/>
          </a:p>
        </p:txBody>
      </p:sp>
    </p:spTree>
  </p:cSld>
  <p:clrMapOvr>
    <a:masterClrMapping/>
  </p:clrMapOvr>
  <p:transition>
    <p:wip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9" name="Rectangle 3"/>
          <p:cNvSpPr>
            <a:spLocks noGrp="1"/>
          </p:cNvSpPr>
          <p:nvPr>
            <p:ph type="title" idx="4294967295"/>
          </p:nvPr>
        </p:nvSpPr>
        <p:spPr>
          <a:xfrm>
            <a:off x="0" y="650875"/>
            <a:ext cx="6453188" cy="928688"/>
          </a:xfrm>
        </p:spPr>
        <p:txBody>
          <a:bodyPr>
            <a:normAutofit fontScale="90000"/>
          </a:bodyPr>
          <a:lstStyle/>
          <a:p>
            <a:pPr fontAlgn="auto">
              <a:spcAft>
                <a:spcPts val="0"/>
              </a:spcAft>
              <a:defRPr/>
            </a:pPr>
            <a:r>
              <a:rPr lang="en-US" sz="2800" dirty="0" smtClean="0"/>
              <a:t>Bayer’s Investment in Bee Health:</a:t>
            </a:r>
            <a:br>
              <a:rPr lang="en-US" sz="2800" dirty="0" smtClean="0"/>
            </a:br>
            <a:r>
              <a:rPr lang="en-US" sz="2800" dirty="0" smtClean="0"/>
              <a:t>Bayer Bee Care Program</a:t>
            </a:r>
            <a:endParaRPr lang="de-DE" sz="2800" dirty="0" smtClean="0"/>
          </a:p>
        </p:txBody>
      </p:sp>
      <p:sp>
        <p:nvSpPr>
          <p:cNvPr id="75782" name="TextBox 1"/>
          <p:cNvSpPr txBox="1">
            <a:spLocks noChangeArrowheads="1"/>
          </p:cNvSpPr>
          <p:nvPr/>
        </p:nvSpPr>
        <p:spPr bwMode="auto">
          <a:xfrm>
            <a:off x="465138" y="1579563"/>
            <a:ext cx="8029575" cy="2309812"/>
          </a:xfrm>
          <a:prstGeom prst="rect">
            <a:avLst/>
          </a:prstGeom>
          <a:noFill/>
          <a:ln>
            <a:noFill/>
          </a:ln>
          <a:extLst>
            <a:ext uri="{909E8E84-426E-40DD-AFC4-6F175D3DCCD1}"/>
            <a:ext uri="{91240B29-F687-4F45-9708-019B960494DF}"/>
          </a:extLst>
        </p:spPr>
        <p:txBody>
          <a:bodyPr>
            <a:spAutoFit/>
          </a:bodyPr>
          <a:lstStyle>
            <a:lvl1pPr eaLnBrk="0" hangingPunct="0">
              <a:defRPr sz="2400">
                <a:solidFill>
                  <a:schemeClr val="tx1"/>
                </a:solidFill>
                <a:latin typeface="Arial" charset="0"/>
                <a:ea typeface="ＭＳ Ｐゴシック" pitchFamily="34" charset="-128"/>
              </a:defRPr>
            </a:lvl1pPr>
            <a:lvl2pPr marL="742950" indent="-285750" eaLnBrk="0" hangingPunct="0">
              <a:defRPr sz="2400">
                <a:solidFill>
                  <a:schemeClr val="tx1"/>
                </a:solidFill>
                <a:latin typeface="Arial" charset="0"/>
                <a:ea typeface="ＭＳ Ｐゴシック" pitchFamily="34" charset="-128"/>
              </a:defRPr>
            </a:lvl2pPr>
            <a:lvl3pPr marL="1143000" indent="-228600" eaLnBrk="0" hangingPunct="0">
              <a:defRPr sz="2400">
                <a:solidFill>
                  <a:schemeClr val="tx1"/>
                </a:solidFill>
                <a:latin typeface="Arial" charset="0"/>
                <a:ea typeface="ＭＳ Ｐゴシック" pitchFamily="34" charset="-128"/>
              </a:defRPr>
            </a:lvl3pPr>
            <a:lvl4pPr marL="1600200" indent="-228600" eaLnBrk="0" hangingPunct="0">
              <a:defRPr sz="2400">
                <a:solidFill>
                  <a:schemeClr val="tx1"/>
                </a:solidFill>
                <a:latin typeface="Arial" charset="0"/>
                <a:ea typeface="ＭＳ Ｐゴシック" pitchFamily="34" charset="-128"/>
              </a:defRPr>
            </a:lvl4pPr>
            <a:lvl5pPr marL="2057400" indent="-228600" eaLnBrk="0" hangingPunct="0">
              <a:defRPr sz="2400">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34" charset="-128"/>
              </a:defRPr>
            </a:lvl9pPr>
          </a:lstStyle>
          <a:p>
            <a:pPr marL="270000" lvl="1" indent="-270000" eaLnBrk="1" hangingPunct="1">
              <a:spcBef>
                <a:spcPts val="300"/>
              </a:spcBef>
              <a:spcAft>
                <a:spcPts val="300"/>
              </a:spcAft>
              <a:buClr>
                <a:srgbClr val="005598"/>
              </a:buClr>
              <a:buSzPct val="85000"/>
              <a:buFont typeface="Wingdings"/>
              <a:buChar char="n"/>
              <a:defRPr/>
            </a:pPr>
            <a:r>
              <a:rPr lang="en-US" sz="1800" dirty="0" smtClean="0">
                <a:latin typeface="+mn-lt"/>
                <a:ea typeface="+mn-ea"/>
                <a:cs typeface="+mn-cs"/>
              </a:rPr>
              <a:t>Bayer has consolidated over 25 years of bee health efforts under one program</a:t>
            </a:r>
            <a:endParaRPr lang="en-US" sz="1800" dirty="0">
              <a:latin typeface="+mn-lt"/>
              <a:ea typeface="+mn-ea"/>
              <a:cs typeface="+mn-cs"/>
            </a:endParaRPr>
          </a:p>
          <a:p>
            <a:pPr marL="540000" lvl="2" indent="-270000" eaLnBrk="1" hangingPunct="1">
              <a:lnSpc>
                <a:spcPct val="90000"/>
              </a:lnSpc>
              <a:spcBef>
                <a:spcPts val="300"/>
              </a:spcBef>
              <a:spcAft>
                <a:spcPts val="600"/>
              </a:spcAft>
              <a:buClr>
                <a:srgbClr val="005598"/>
              </a:buClr>
              <a:buSzPct val="100000"/>
              <a:buFont typeface="Arial"/>
              <a:buChar char="–"/>
              <a:defRPr/>
            </a:pPr>
            <a:r>
              <a:rPr lang="en-US" sz="1600" dirty="0">
                <a:latin typeface="+mn-lt"/>
                <a:cs typeface="+mn-cs"/>
              </a:rPr>
              <a:t>Creating active ingredients for use in bee health products</a:t>
            </a:r>
          </a:p>
          <a:p>
            <a:pPr marL="540000" lvl="2" indent="-270000" eaLnBrk="1" hangingPunct="1">
              <a:lnSpc>
                <a:spcPct val="90000"/>
              </a:lnSpc>
              <a:spcBef>
                <a:spcPts val="300"/>
              </a:spcBef>
              <a:spcAft>
                <a:spcPts val="600"/>
              </a:spcAft>
              <a:buClr>
                <a:srgbClr val="005598"/>
              </a:buClr>
              <a:buSzPct val="100000"/>
              <a:buFont typeface="Arial"/>
              <a:buChar char="–"/>
              <a:defRPr/>
            </a:pPr>
            <a:r>
              <a:rPr lang="en-US" sz="1600" dirty="0" smtClean="0">
                <a:latin typeface="+mn-lt"/>
                <a:cs typeface="+mn-cs"/>
              </a:rPr>
              <a:t>Research into access to improved forage </a:t>
            </a:r>
            <a:endParaRPr lang="en-US" sz="1600" dirty="0">
              <a:latin typeface="+mn-lt"/>
              <a:cs typeface="+mn-cs"/>
            </a:endParaRPr>
          </a:p>
          <a:p>
            <a:pPr marL="540000" lvl="2" indent="-270000" eaLnBrk="1" hangingPunct="1">
              <a:lnSpc>
                <a:spcPct val="90000"/>
              </a:lnSpc>
              <a:spcBef>
                <a:spcPts val="300"/>
              </a:spcBef>
              <a:spcAft>
                <a:spcPts val="600"/>
              </a:spcAft>
              <a:buClr>
                <a:srgbClr val="005598"/>
              </a:buClr>
              <a:buSzPct val="100000"/>
              <a:buFont typeface="Arial"/>
              <a:buChar char="–"/>
              <a:defRPr/>
            </a:pPr>
            <a:r>
              <a:rPr lang="en-US" sz="1600" dirty="0">
                <a:latin typeface="+mn-lt"/>
                <a:cs typeface="+mn-cs"/>
              </a:rPr>
              <a:t>Designing tests to assess safety of crop protection products to bees </a:t>
            </a:r>
          </a:p>
          <a:p>
            <a:pPr marL="540000" lvl="2" indent="-270000" eaLnBrk="1" hangingPunct="1">
              <a:lnSpc>
                <a:spcPct val="90000"/>
              </a:lnSpc>
              <a:spcBef>
                <a:spcPts val="300"/>
              </a:spcBef>
              <a:spcAft>
                <a:spcPts val="600"/>
              </a:spcAft>
              <a:buClr>
                <a:srgbClr val="005598"/>
              </a:buClr>
              <a:buSzPct val="100000"/>
              <a:buFont typeface="Arial"/>
              <a:buChar char="–"/>
              <a:defRPr/>
            </a:pPr>
            <a:r>
              <a:rPr lang="en-US" sz="1600" dirty="0">
                <a:latin typeface="+mn-lt"/>
                <a:cs typeface="+mn-cs"/>
              </a:rPr>
              <a:t>Fostering significant improvement in stewardship measures  </a:t>
            </a:r>
          </a:p>
          <a:p>
            <a:pPr marL="342900" indent="-342900" algn="ctr" eaLnBrk="1" hangingPunct="1">
              <a:buClr>
                <a:schemeClr val="accent6"/>
              </a:buClr>
              <a:buFont typeface="Arial" pitchFamily="34" charset="0"/>
              <a:buChar char="•"/>
              <a:defRPr/>
            </a:pPr>
            <a:endParaRPr lang="en-US" sz="1800" dirty="0" smtClean="0"/>
          </a:p>
        </p:txBody>
      </p:sp>
      <p:pic>
        <p:nvPicPr>
          <p:cNvPr id="101379" name="Picture 3"/>
          <p:cNvPicPr>
            <a:picLocks noChangeAspect="1" noChangeArrowheads="1"/>
          </p:cNvPicPr>
          <p:nvPr/>
        </p:nvPicPr>
        <p:blipFill>
          <a:blip r:embed="rId3" cstate="print"/>
          <a:srcRect/>
          <a:stretch>
            <a:fillRect/>
          </a:stretch>
        </p:blipFill>
        <p:spPr bwMode="auto">
          <a:xfrm>
            <a:off x="889000" y="3678238"/>
            <a:ext cx="3514725" cy="2673350"/>
          </a:xfrm>
          <a:prstGeom prst="rect">
            <a:avLst/>
          </a:prstGeom>
          <a:noFill/>
          <a:ln w="9525">
            <a:noFill/>
            <a:miter lim="800000"/>
            <a:headEnd/>
            <a:tailEnd/>
          </a:ln>
        </p:spPr>
      </p:pic>
      <p:pic>
        <p:nvPicPr>
          <p:cNvPr id="101380" name="Picture 8"/>
          <p:cNvPicPr>
            <a:picLocks noChangeAspect="1" noChangeArrowheads="1"/>
          </p:cNvPicPr>
          <p:nvPr/>
        </p:nvPicPr>
        <p:blipFill>
          <a:blip r:embed="rId4" cstate="print"/>
          <a:srcRect/>
          <a:stretch>
            <a:fillRect/>
          </a:stretch>
        </p:blipFill>
        <p:spPr bwMode="auto">
          <a:xfrm>
            <a:off x="4672013" y="3678238"/>
            <a:ext cx="3514725" cy="2673350"/>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auto">
              <a:spcAft>
                <a:spcPts val="0"/>
              </a:spcAft>
              <a:defRPr/>
            </a:pPr>
            <a:r>
              <a:rPr lang="en-US" dirty="0" smtClean="0"/>
              <a:t>Bayer Bee Health Care Center</a:t>
            </a:r>
            <a:endParaRPr lang="en-US" dirty="0"/>
          </a:p>
        </p:txBody>
      </p:sp>
      <p:sp>
        <p:nvSpPr>
          <p:cNvPr id="103426" name="Content Placeholder 2"/>
          <p:cNvSpPr>
            <a:spLocks noGrp="1"/>
          </p:cNvSpPr>
          <p:nvPr>
            <p:ph idx="1"/>
          </p:nvPr>
        </p:nvSpPr>
        <p:spPr/>
        <p:txBody>
          <a:bodyPr/>
          <a:lstStyle/>
          <a:p>
            <a:r>
              <a:rPr lang="en-US" smtClean="0"/>
              <a:t>2 Locations: Europe and Clayton, NC, USA (2013)</a:t>
            </a:r>
          </a:p>
        </p:txBody>
      </p:sp>
      <p:sp>
        <p:nvSpPr>
          <p:cNvPr id="103427" name="Slide Number Placeholder 3"/>
          <p:cNvSpPr>
            <a:spLocks noGrp="1"/>
          </p:cNvSpPr>
          <p:nvPr>
            <p:ph type="sldNum" sz="quarter" idx="12"/>
          </p:nvPr>
        </p:nvSpPr>
        <p:spPr bwMode="auto">
          <a:noFill/>
          <a:ln>
            <a:miter lim="800000"/>
            <a:headEnd/>
            <a:tailEnd/>
          </a:ln>
        </p:spPr>
        <p:txBody>
          <a:bodyPr wrap="square" numCol="1" anchorCtr="0" compatLnSpc="1">
            <a:prstTxWarp prst="textNoShape">
              <a:avLst/>
            </a:prstTxWarp>
          </a:bodyPr>
          <a:lstStyle/>
          <a:p>
            <a:r>
              <a:rPr lang="en-US"/>
              <a:t>Page </a:t>
            </a:r>
            <a:fld id="{DEB20455-692F-4C5D-A191-33A02B87466C}" type="slidenum">
              <a:rPr lang="en-US"/>
              <a:pPr/>
              <a:t>25</a:t>
            </a:fld>
            <a:endParaRPr lang="en-US"/>
          </a:p>
        </p:txBody>
      </p:sp>
      <p:pic>
        <p:nvPicPr>
          <p:cNvPr id="103428" name="Picture 2"/>
          <p:cNvPicPr>
            <a:picLocks noChangeAspect="1" noChangeArrowheads="1"/>
          </p:cNvPicPr>
          <p:nvPr/>
        </p:nvPicPr>
        <p:blipFill>
          <a:blip r:embed="rId3" cstate="print"/>
          <a:srcRect/>
          <a:stretch>
            <a:fillRect/>
          </a:stretch>
        </p:blipFill>
        <p:spPr bwMode="auto">
          <a:xfrm>
            <a:off x="1860550" y="3109913"/>
            <a:ext cx="6218238" cy="2690812"/>
          </a:xfrm>
          <a:prstGeom prst="rect">
            <a:avLst/>
          </a:prstGeom>
          <a:noFill/>
          <a:ln w="9525">
            <a:noFill/>
            <a:miter lim="800000"/>
            <a:headEnd/>
            <a:tailEnd/>
          </a:ln>
        </p:spPr>
      </p:pic>
    </p:spTree>
  </p:cSld>
  <p:clrMapOvr>
    <a:masterClrMapping/>
  </p:clrMapOvr>
  <p:transition>
    <p:wip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fontAlgn="auto">
              <a:spcAft>
                <a:spcPts val="0"/>
              </a:spcAft>
              <a:defRPr/>
            </a:pPr>
            <a:r>
              <a:rPr lang="en-US" dirty="0" smtClean="0"/>
              <a:t>Thank You</a:t>
            </a:r>
            <a:endParaRPr lang="en-US" dirty="0"/>
          </a:p>
        </p:txBody>
      </p:sp>
    </p:spTree>
  </p:cSld>
  <p:clrMapOvr>
    <a:masterClrMapping/>
  </p:clrMapOvr>
  <p:transition>
    <p:wip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auto">
              <a:spcAft>
                <a:spcPts val="0"/>
              </a:spcAft>
              <a:defRPr/>
            </a:pPr>
            <a:r>
              <a:rPr lang="en-US" dirty="0"/>
              <a:t>Role and Value of Pollinators</a:t>
            </a:r>
          </a:p>
        </p:txBody>
      </p:sp>
      <p:sp>
        <p:nvSpPr>
          <p:cNvPr id="58370" name="Content Placeholder 2"/>
          <p:cNvSpPr>
            <a:spLocks noGrp="1"/>
          </p:cNvSpPr>
          <p:nvPr>
            <p:ph idx="1"/>
          </p:nvPr>
        </p:nvSpPr>
        <p:spPr/>
        <p:txBody>
          <a:bodyPr/>
          <a:lstStyle/>
          <a:p>
            <a:pPr marL="285750" lvl="1" indent="-285750"/>
            <a:r>
              <a:rPr lang="en-US" sz="1800" smtClean="0"/>
              <a:t>Economic contribution of pollinators to global food crop production is 9.5%</a:t>
            </a:r>
          </a:p>
          <a:p>
            <a:pPr marL="285750" lvl="1" indent="-285750"/>
            <a:r>
              <a:rPr lang="en-US" sz="1800" smtClean="0"/>
              <a:t>1 out of every 3 mouthfuls of food we eat and beverages we drink are facilitated by insect pollination</a:t>
            </a:r>
          </a:p>
          <a:p>
            <a:pPr marL="285750" lvl="1" indent="-285750"/>
            <a:r>
              <a:rPr lang="en-US" sz="1800" smtClean="0"/>
              <a:t>Many staple crops do not require insect pollination (e.g. corn, rice, wheat), but many fruits, nuts and vegetables do</a:t>
            </a:r>
          </a:p>
          <a:p>
            <a:pPr marL="285750" lvl="1" indent="-285750"/>
            <a:r>
              <a:rPr lang="en-US" sz="1800" smtClean="0"/>
              <a:t>Of  flowering plants 80%  are pollinated by insects with bees estimated to pollinate more than 16 % </a:t>
            </a:r>
          </a:p>
          <a:p>
            <a:pPr marL="285750" lvl="1" indent="-285750"/>
            <a:r>
              <a:rPr lang="en-US" sz="1800" smtClean="0"/>
              <a:t>More than 20,000  bee species act as pollinators</a:t>
            </a:r>
          </a:p>
          <a:p>
            <a:pPr marL="285750" lvl="1" indent="-285750"/>
            <a:r>
              <a:rPr lang="en-US" sz="1800" smtClean="0"/>
              <a:t>There are seven species and 28 subspecies of the domesticated honey bee (</a:t>
            </a:r>
            <a:r>
              <a:rPr lang="en-US" sz="1800" i="1" smtClean="0"/>
              <a:t>Apis</a:t>
            </a:r>
            <a:r>
              <a:rPr lang="en-US" sz="1800" smtClean="0"/>
              <a:t>) key to agriculture </a:t>
            </a:r>
          </a:p>
          <a:p>
            <a:pPr marL="285750" lvl="1" indent="-285750"/>
            <a:r>
              <a:rPr lang="en-US" sz="1800" smtClean="0"/>
              <a:t>Introduced to the U.S. in early 1600s</a:t>
            </a:r>
          </a:p>
          <a:p>
            <a:pPr marL="285750" lvl="1" indent="-285750"/>
            <a:r>
              <a:rPr lang="en-US" sz="1800" smtClean="0"/>
              <a:t>Will focus on the honey bee as indicator species  </a:t>
            </a:r>
          </a:p>
          <a:p>
            <a:pPr marL="0" indent="0">
              <a:buFont typeface="Arial" charset="0"/>
              <a:buNone/>
            </a:pPr>
            <a:endParaRPr lang="en-US" smtClean="0"/>
          </a:p>
        </p:txBody>
      </p:sp>
      <p:pic>
        <p:nvPicPr>
          <p:cNvPr id="5" name="Picture 4"/>
          <p:cNvPicPr>
            <a:picLocks noChangeAspect="1"/>
          </p:cNvPicPr>
          <p:nvPr/>
        </p:nvPicPr>
        <p:blipFill rotWithShape="1">
          <a:blip r:embed="rId3" cstate="print"/>
          <a:srcRect l="10909" t="12722" r="26494" b="14831"/>
          <a:stretch/>
        </p:blipFill>
        <p:spPr>
          <a:xfrm>
            <a:off x="6218238" y="4646613"/>
            <a:ext cx="2525712" cy="1955800"/>
          </a:xfrm>
          <a:prstGeom prst="rect">
            <a:avLst/>
          </a:prstGeom>
          <a:ln>
            <a:noFill/>
          </a:ln>
          <a:effectLst>
            <a:outerShdw blurRad="190500" algn="tl" rotWithShape="0">
              <a:srgbClr val="000000">
                <a:alpha val="70000"/>
              </a:srgbClr>
            </a:outerShdw>
          </a:effectLst>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fontAlgn="auto">
              <a:spcAft>
                <a:spcPts val="0"/>
              </a:spcAft>
              <a:defRPr/>
            </a:pPr>
            <a:r>
              <a:rPr lang="en-US" dirty="0"/>
              <a:t>Status of Honey Bee Health</a:t>
            </a:r>
          </a:p>
        </p:txBody>
      </p:sp>
      <p:sp>
        <p:nvSpPr>
          <p:cNvPr id="60418" name="Content Placeholder 2"/>
          <p:cNvSpPr>
            <a:spLocks noGrp="1"/>
          </p:cNvSpPr>
          <p:nvPr>
            <p:ph idx="1"/>
          </p:nvPr>
        </p:nvSpPr>
        <p:spPr/>
        <p:txBody>
          <a:bodyPr/>
          <a:lstStyle/>
          <a:p>
            <a:pPr marL="269875" lvl="1" indent="-269875">
              <a:buClr>
                <a:srgbClr val="005598"/>
              </a:buClr>
              <a:buFont typeface="Wingdings" pitchFamily="2" charset="2"/>
              <a:buChar char="n"/>
            </a:pPr>
            <a:r>
              <a:rPr lang="en-US" smtClean="0"/>
              <a:t>Are honey bee colonies facing health challenges? </a:t>
            </a:r>
            <a:r>
              <a:rPr lang="en-US" smtClean="0">
                <a:ea typeface="ＭＳ Ｐゴシック"/>
                <a:cs typeface="ＭＳ Ｐゴシック"/>
              </a:rPr>
              <a:t>- YES!</a:t>
            </a:r>
          </a:p>
          <a:p>
            <a:pPr marL="539750" lvl="2" indent="-269875">
              <a:buClr>
                <a:srgbClr val="005598"/>
              </a:buClr>
              <a:buSzPct val="100000"/>
              <a:buFont typeface="Arial" charset="0"/>
              <a:buChar char="–"/>
            </a:pPr>
            <a:r>
              <a:rPr lang="en-US" smtClean="0">
                <a:ea typeface="ＭＳ Ｐゴシック"/>
                <a:cs typeface="ＭＳ Ｐゴシック"/>
              </a:rPr>
              <a:t>Historical winter losses = 10-15%</a:t>
            </a:r>
          </a:p>
          <a:p>
            <a:pPr marL="539750" lvl="2" indent="-269875">
              <a:buClr>
                <a:srgbClr val="005598"/>
              </a:buClr>
              <a:buSzPct val="100000"/>
              <a:buFont typeface="Arial" charset="0"/>
              <a:buChar char="–"/>
            </a:pPr>
            <a:r>
              <a:rPr lang="en-US" smtClean="0">
                <a:ea typeface="ＭＳ Ｐゴシック"/>
                <a:cs typeface="ＭＳ Ｐゴシック"/>
              </a:rPr>
              <a:t>Current average reported losses = 30-40%</a:t>
            </a:r>
          </a:p>
          <a:p>
            <a:pPr marL="539750" lvl="2" indent="-269875">
              <a:buClr>
                <a:srgbClr val="005598"/>
              </a:buClr>
              <a:buSzPct val="100000"/>
              <a:buFont typeface="Arial" charset="0"/>
              <a:buChar char="–"/>
            </a:pPr>
            <a:r>
              <a:rPr lang="en-US" smtClean="0">
                <a:ea typeface="ＭＳ Ｐゴシック"/>
                <a:cs typeface="ＭＳ Ｐゴシック"/>
              </a:rPr>
              <a:t>Losses up to 100% in some apiaries</a:t>
            </a:r>
          </a:p>
          <a:p>
            <a:pPr marL="539750" lvl="2" indent="-269875">
              <a:buClr>
                <a:srgbClr val="005598"/>
              </a:buClr>
              <a:buSzPct val="100000"/>
              <a:buFont typeface="Arial" charset="0"/>
              <a:buChar char="–"/>
            </a:pPr>
            <a:r>
              <a:rPr lang="en-US" smtClean="0">
                <a:ea typeface="ＭＳ Ｐゴシック"/>
                <a:cs typeface="ＭＳ Ｐゴシック"/>
              </a:rPr>
              <a:t>Almost all colonies are showing health issues</a:t>
            </a:r>
          </a:p>
          <a:p>
            <a:pPr marL="269875" lvl="1" indent="-269875">
              <a:buClr>
                <a:srgbClr val="005598"/>
              </a:buClr>
              <a:buFont typeface="Wingdings" pitchFamily="2" charset="2"/>
              <a:buChar char="n"/>
            </a:pPr>
            <a:r>
              <a:rPr lang="en-US" smtClean="0">
                <a:ea typeface="ＭＳ Ｐゴシック"/>
                <a:cs typeface="ＭＳ Ｐゴシック"/>
              </a:rPr>
              <a:t>Is this a global issue?</a:t>
            </a:r>
          </a:p>
          <a:p>
            <a:pPr marL="539750" lvl="2" indent="-269875">
              <a:buClr>
                <a:srgbClr val="005598"/>
              </a:buClr>
              <a:buSzPct val="100000"/>
              <a:buFont typeface="Arial" charset="0"/>
              <a:buChar char="–"/>
            </a:pPr>
            <a:r>
              <a:rPr lang="en-US" smtClean="0">
                <a:ea typeface="ＭＳ Ｐゴシック"/>
                <a:cs typeface="ＭＳ Ｐゴシック"/>
              </a:rPr>
              <a:t>More significant in Northern Hemisphere</a:t>
            </a:r>
          </a:p>
          <a:p>
            <a:pPr marL="539750" lvl="2" indent="-269875">
              <a:buClr>
                <a:srgbClr val="005598"/>
              </a:buClr>
              <a:buSzPct val="100000"/>
              <a:buFont typeface="Arial" charset="0"/>
              <a:buChar char="–"/>
            </a:pPr>
            <a:r>
              <a:rPr lang="en-US" smtClean="0">
                <a:ea typeface="ＭＳ Ｐゴシック"/>
                <a:cs typeface="ＭＳ Ｐゴシック"/>
              </a:rPr>
              <a:t>Southern Hemisphere less so</a:t>
            </a:r>
          </a:p>
          <a:p>
            <a:pPr marL="809625" lvl="3" indent="-269875">
              <a:buClr>
                <a:srgbClr val="005598"/>
              </a:buClr>
              <a:buFont typeface="Wingdings" pitchFamily="2" charset="2"/>
              <a:buChar char="§"/>
            </a:pPr>
            <a:r>
              <a:rPr lang="en-US" smtClean="0">
                <a:ea typeface="ＭＳ Ｐゴシック"/>
                <a:cs typeface="ＭＳ Ｐゴシック"/>
              </a:rPr>
              <a:t>Australia (no </a:t>
            </a:r>
            <a:r>
              <a:rPr lang="en-US" i="1" smtClean="0">
                <a:ea typeface="ＭＳ Ｐゴシック"/>
                <a:cs typeface="ＭＳ Ｐゴシック"/>
              </a:rPr>
              <a:t>Varroa</a:t>
            </a:r>
            <a:r>
              <a:rPr lang="en-US" smtClean="0">
                <a:ea typeface="ＭＳ Ｐゴシック"/>
                <a:cs typeface="ＭＳ Ｐゴシック"/>
              </a:rPr>
              <a:t> mite)</a:t>
            </a:r>
          </a:p>
          <a:p>
            <a:pPr marL="809625" lvl="3" indent="-269875">
              <a:buClr>
                <a:srgbClr val="005598"/>
              </a:buClr>
              <a:buFont typeface="Wingdings" pitchFamily="2" charset="2"/>
              <a:buChar char="§"/>
            </a:pPr>
            <a:r>
              <a:rPr lang="en-US" smtClean="0">
                <a:ea typeface="ＭＳ Ｐゴシック"/>
                <a:cs typeface="ＭＳ Ｐゴシック"/>
              </a:rPr>
              <a:t>Africanized honey bees (</a:t>
            </a:r>
            <a:r>
              <a:rPr lang="en-US" i="1" smtClean="0">
                <a:ea typeface="ＭＳ Ｐゴシック"/>
                <a:cs typeface="ＭＳ Ｐゴシック"/>
              </a:rPr>
              <a:t>Varroa</a:t>
            </a:r>
            <a:r>
              <a:rPr lang="en-US" smtClean="0">
                <a:ea typeface="ＭＳ Ｐゴシック"/>
                <a:cs typeface="ＭＳ Ｐゴシック"/>
              </a:rPr>
              <a:t> tolerant)</a:t>
            </a:r>
          </a:p>
          <a:p>
            <a:pPr marL="539750" lvl="2" indent="-269875">
              <a:buFont typeface="Arial" charset="0"/>
              <a:buNone/>
            </a:pPr>
            <a:endParaRPr lang="en-US" smtClean="0">
              <a:solidFill>
                <a:srgbClr val="000000"/>
              </a:solidFill>
            </a:endParaRPr>
          </a:p>
          <a:p>
            <a:pPr marL="0" indent="0">
              <a:buFont typeface="Arial" charset="0"/>
              <a:buNone/>
            </a:pPr>
            <a:endParaRPr lang="en-US" smtClean="0"/>
          </a:p>
        </p:txBody>
      </p:sp>
      <p:sp>
        <p:nvSpPr>
          <p:cNvPr id="60419" name="TextBox 4"/>
          <p:cNvSpPr txBox="1">
            <a:spLocks noChangeArrowheads="1"/>
          </p:cNvSpPr>
          <p:nvPr/>
        </p:nvSpPr>
        <p:spPr bwMode="auto">
          <a:xfrm>
            <a:off x="6659563" y="2074863"/>
            <a:ext cx="2197100" cy="2308225"/>
          </a:xfrm>
          <a:prstGeom prst="rect">
            <a:avLst/>
          </a:prstGeom>
          <a:noFill/>
          <a:ln w="9525">
            <a:noFill/>
            <a:miter lim="800000"/>
            <a:headEnd/>
            <a:tailEnd/>
          </a:ln>
        </p:spPr>
        <p:txBody>
          <a:bodyPr>
            <a:spAutoFit/>
          </a:bodyPr>
          <a:lstStyle/>
          <a:p>
            <a:pPr algn="ctr"/>
            <a:r>
              <a:rPr lang="en-US">
                <a:solidFill>
                  <a:srgbClr val="C32A1F"/>
                </a:solidFill>
              </a:rPr>
              <a:t>These high annual losses are making it increasingly difficult for beekeepers to build up new colonies in the Spring</a:t>
            </a:r>
          </a:p>
          <a:p>
            <a:pPr algn="ctr"/>
            <a:endParaRPr lang="en-US"/>
          </a:p>
        </p:txBody>
      </p:sp>
      <p:grpSp>
        <p:nvGrpSpPr>
          <p:cNvPr id="60420" name="Group 5"/>
          <p:cNvGrpSpPr>
            <a:grpSpLocks/>
          </p:cNvGrpSpPr>
          <p:nvPr/>
        </p:nvGrpSpPr>
        <p:grpSpPr bwMode="auto">
          <a:xfrm>
            <a:off x="5367338" y="4733925"/>
            <a:ext cx="3265487" cy="1736725"/>
            <a:chOff x="4917760" y="4343701"/>
            <a:chExt cx="3853259" cy="1933948"/>
          </a:xfrm>
        </p:grpSpPr>
        <p:grpSp>
          <p:nvGrpSpPr>
            <p:cNvPr id="60421" name="Group 6"/>
            <p:cNvGrpSpPr>
              <a:grpSpLocks/>
            </p:cNvGrpSpPr>
            <p:nvPr/>
          </p:nvGrpSpPr>
          <p:grpSpPr bwMode="auto">
            <a:xfrm>
              <a:off x="4917760" y="4343701"/>
              <a:ext cx="3853259" cy="1933948"/>
              <a:chOff x="4905728" y="4199317"/>
              <a:chExt cx="3853259" cy="1933948"/>
            </a:xfrm>
          </p:grpSpPr>
          <p:graphicFrame>
            <p:nvGraphicFramePr>
              <p:cNvPr id="60423" name="Content Placeholder 4"/>
              <p:cNvGraphicFramePr>
                <a:graphicFrameLocks/>
              </p:cNvGraphicFramePr>
              <p:nvPr/>
            </p:nvGraphicFramePr>
            <p:xfrm>
              <a:off x="5185552" y="4154786"/>
              <a:ext cx="3535379" cy="1884808"/>
            </p:xfrm>
            <a:graphic>
              <a:graphicData uri="http://schemas.openxmlformats.org/presentationml/2006/ole">
                <p:oleObj spid="_x0000_s60423" r:id="rId4" imgW="2999492" imgH="1694835" progId="Excel.Chart.8">
                  <p:embed/>
                </p:oleObj>
              </a:graphicData>
            </a:graphic>
          </p:graphicFrame>
          <p:sp>
            <p:nvSpPr>
              <p:cNvPr id="60424" name="TextBox 9"/>
              <p:cNvSpPr txBox="1">
                <a:spLocks noChangeArrowheads="1"/>
              </p:cNvSpPr>
              <p:nvPr/>
            </p:nvSpPr>
            <p:spPr bwMode="auto">
              <a:xfrm rot="-5400000">
                <a:off x="4481403" y="5068516"/>
                <a:ext cx="1215190" cy="246219"/>
              </a:xfrm>
              <a:prstGeom prst="rect">
                <a:avLst/>
              </a:prstGeom>
              <a:noFill/>
              <a:ln w="9525">
                <a:noFill/>
                <a:miter lim="800000"/>
                <a:headEnd/>
                <a:tailEnd/>
              </a:ln>
            </p:spPr>
            <p:txBody>
              <a:bodyPr>
                <a:spAutoFit/>
              </a:bodyPr>
              <a:lstStyle/>
              <a:p>
                <a:pPr algn="ctr"/>
                <a:r>
                  <a:rPr lang="en-US" sz="1000" b="1">
                    <a:solidFill>
                      <a:srgbClr val="676767"/>
                    </a:solidFill>
                  </a:rPr>
                  <a:t>Avg. % Loss</a:t>
                </a:r>
              </a:p>
            </p:txBody>
          </p:sp>
          <p:sp>
            <p:nvSpPr>
              <p:cNvPr id="60425" name="TextBox 10"/>
              <p:cNvSpPr txBox="1">
                <a:spLocks noChangeArrowheads="1"/>
              </p:cNvSpPr>
              <p:nvPr/>
            </p:nvSpPr>
            <p:spPr bwMode="auto">
              <a:xfrm>
                <a:off x="5450303" y="4237891"/>
                <a:ext cx="2933685" cy="246221"/>
              </a:xfrm>
              <a:prstGeom prst="rect">
                <a:avLst/>
              </a:prstGeom>
              <a:noFill/>
              <a:ln w="9525">
                <a:noFill/>
                <a:miter lim="800000"/>
                <a:headEnd/>
                <a:tailEnd/>
              </a:ln>
            </p:spPr>
            <p:txBody>
              <a:bodyPr>
                <a:spAutoFit/>
              </a:bodyPr>
              <a:lstStyle/>
              <a:p>
                <a:pPr algn="ctr"/>
                <a:r>
                  <a:rPr lang="en-US" sz="1000" b="1">
                    <a:solidFill>
                      <a:srgbClr val="676767"/>
                    </a:solidFill>
                  </a:rPr>
                  <a:t>Honey Bee Colony Overwintering Losses</a:t>
                </a:r>
              </a:p>
            </p:txBody>
          </p:sp>
          <p:sp>
            <p:nvSpPr>
              <p:cNvPr id="12" name="Rectangle 11"/>
              <p:cNvSpPr/>
              <p:nvPr/>
            </p:nvSpPr>
            <p:spPr bwMode="auto">
              <a:xfrm>
                <a:off x="4905728" y="4199317"/>
                <a:ext cx="3853259" cy="1933948"/>
              </a:xfrm>
              <a:prstGeom prst="rect">
                <a:avLst/>
              </a:prstGeom>
              <a:noFill/>
              <a:ln w="3175" cap="flat" cmpd="sng" algn="ctr">
                <a:solidFill>
                  <a:schemeClr val="bg1">
                    <a:lumMod val="85000"/>
                  </a:schemeClr>
                </a:solidFill>
                <a:prstDash val="solid"/>
                <a:round/>
                <a:headEnd type="none" w="med" len="med"/>
                <a:tailEnd type="none" w="med" len="med"/>
              </a:ln>
              <a:effectLst/>
              <a:extLst/>
            </p:spPr>
            <p:txBody>
              <a:bodyPr wrap="none" anchor="ctr"/>
              <a:lstStyle/>
              <a:p>
                <a:pPr algn="ctr">
                  <a:defRPr/>
                </a:pPr>
                <a:endParaRPr lang="en-US" dirty="0">
                  <a:solidFill>
                    <a:srgbClr val="676767"/>
                  </a:solidFill>
                </a:endParaRPr>
              </a:p>
            </p:txBody>
          </p:sp>
        </p:grpSp>
        <p:sp>
          <p:nvSpPr>
            <p:cNvPr id="60422" name="Rectangle 7"/>
            <p:cNvSpPr>
              <a:spLocks noChangeArrowheads="1"/>
            </p:cNvSpPr>
            <p:nvPr/>
          </p:nvSpPr>
          <p:spPr bwMode="auto">
            <a:xfrm>
              <a:off x="5224140" y="5763125"/>
              <a:ext cx="238195" cy="207577"/>
            </a:xfrm>
            <a:prstGeom prst="rect">
              <a:avLst/>
            </a:prstGeom>
            <a:solidFill>
              <a:schemeClr val="bg1"/>
            </a:solidFill>
            <a:ln w="9525" algn="ctr">
              <a:noFill/>
              <a:round/>
              <a:headEnd/>
              <a:tailEnd/>
            </a:ln>
          </p:spPr>
          <p:txBody>
            <a:bodyPr wrap="none" anchor="ctr"/>
            <a:lstStyle/>
            <a:p>
              <a:pPr algn="ctr"/>
              <a:endParaRPr lang="en-US">
                <a:solidFill>
                  <a:srgbClr val="676767"/>
                </a:solidFill>
              </a:endParaRPr>
            </a:p>
          </p:txBody>
        </p:sp>
      </p:gr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p:txBody>
          <a:bodyPr/>
          <a:lstStyle/>
          <a:p>
            <a:pPr fontAlgn="auto">
              <a:spcAft>
                <a:spcPts val="0"/>
              </a:spcAft>
              <a:defRPr/>
            </a:pPr>
            <a:r>
              <a:rPr lang="en-GB" dirty="0" smtClean="0"/>
              <a:t>Bee Health In the Headlines</a:t>
            </a:r>
            <a:endParaRPr lang="en-GB" dirty="0"/>
          </a:p>
        </p:txBody>
      </p:sp>
      <p:sp>
        <p:nvSpPr>
          <p:cNvPr id="7" name="Content Placeholder 6"/>
          <p:cNvSpPr>
            <a:spLocks noGrp="1"/>
          </p:cNvSpPr>
          <p:nvPr>
            <p:ph idx="1"/>
          </p:nvPr>
        </p:nvSpPr>
        <p:spPr>
          <a:xfrm>
            <a:off x="442913" y="1419225"/>
            <a:ext cx="8208962" cy="4851400"/>
          </a:xfrm>
        </p:spPr>
        <p:txBody>
          <a:bodyPr rtlCol="0">
            <a:normAutofit/>
          </a:bodyPr>
          <a:lstStyle/>
          <a:p>
            <a:pPr marL="182880" indent="-182880" fontAlgn="auto">
              <a:spcAft>
                <a:spcPts val="0"/>
              </a:spcAft>
              <a:buFont typeface="Arial" pitchFamily="34" charset="0"/>
              <a:buChar char="•"/>
              <a:defRPr/>
            </a:pPr>
            <a:endParaRPr lang="en-US" dirty="0" smtClean="0"/>
          </a:p>
          <a:p>
            <a:pPr marL="182880" indent="-182880" fontAlgn="auto">
              <a:spcAft>
                <a:spcPts val="0"/>
              </a:spcAft>
              <a:buFont typeface="Arial" pitchFamily="34" charset="0"/>
              <a:buChar char="•"/>
              <a:defRPr/>
            </a:pPr>
            <a:r>
              <a:rPr lang="en-US" sz="2000" dirty="0" smtClean="0"/>
              <a:t>Five Years Ago: ‘Colony Collapse Disorder’ (CCD) defined in media</a:t>
            </a:r>
          </a:p>
          <a:p>
            <a:pPr marL="285750" indent="-285750" fontAlgn="auto">
              <a:spcAft>
                <a:spcPts val="0"/>
              </a:spcAft>
              <a:buFont typeface="Arial" pitchFamily="34" charset="0"/>
              <a:buChar char="•"/>
              <a:defRPr/>
            </a:pPr>
            <a:r>
              <a:rPr lang="en-US" sz="2000" dirty="0" smtClean="0"/>
              <a:t>2012: Two articles in </a:t>
            </a:r>
            <a:r>
              <a:rPr lang="en-US" sz="2000" i="1" dirty="0" smtClean="0"/>
              <a:t>Science</a:t>
            </a:r>
            <a:r>
              <a:rPr lang="en-US" sz="2000" dirty="0" smtClean="0"/>
              <a:t> link bee health disorders to exposure of pollinators to neonicotinoid (NNIC) insecticides</a:t>
            </a:r>
          </a:p>
          <a:p>
            <a:pPr marL="285750" indent="-285750" fontAlgn="auto">
              <a:spcAft>
                <a:spcPts val="0"/>
              </a:spcAft>
              <a:buFont typeface="Arial" pitchFamily="34" charset="0"/>
              <a:buChar char="•"/>
              <a:defRPr/>
            </a:pPr>
            <a:r>
              <a:rPr lang="en-US" sz="2000" dirty="0" smtClean="0"/>
              <a:t>NNIC insecticides (imidacloprid, clothianidin, thiomethoxam, acetimiprid) have been registered and used for &gt;20 years.</a:t>
            </a:r>
          </a:p>
          <a:p>
            <a:pPr marL="285750" indent="-285750" fontAlgn="auto">
              <a:spcAft>
                <a:spcPts val="0"/>
              </a:spcAft>
              <a:buFont typeface="Arial" pitchFamily="34" charset="0"/>
              <a:buChar char="•"/>
              <a:defRPr/>
            </a:pPr>
            <a:r>
              <a:rPr lang="en-US" sz="2000" dirty="0" smtClean="0"/>
              <a:t>NNIC insecticides have all but replaced organophosphates and carbamates</a:t>
            </a:r>
          </a:p>
          <a:p>
            <a:pPr marL="285750" indent="-285750" fontAlgn="auto">
              <a:spcAft>
                <a:spcPts val="0"/>
              </a:spcAft>
              <a:buFont typeface="Arial" pitchFamily="34" charset="0"/>
              <a:buChar char="•"/>
              <a:defRPr/>
            </a:pPr>
            <a:r>
              <a:rPr lang="en-US" sz="2000" dirty="0" smtClean="0"/>
              <a:t>NNIC provide a more sustainable insect control solution; reducing POG 20X</a:t>
            </a:r>
          </a:p>
          <a:p>
            <a:pPr marL="557213" lvl="1" indent="-285750" fontAlgn="auto">
              <a:spcAft>
                <a:spcPts val="0"/>
              </a:spcAft>
              <a:buFont typeface="Arial" pitchFamily="34" charset="0"/>
              <a:buChar char="•"/>
              <a:defRPr/>
            </a:pPr>
            <a:r>
              <a:rPr lang="en-US" dirty="0" smtClean="0"/>
              <a:t>Bayer responds to articles as unrealistic in exposure of pollinators to real-world applications in agricultural settings. However, one article does provide valuable insight regarding important information on a ‘secondary’ pollinator; bumblebees.</a:t>
            </a:r>
          </a:p>
          <a:p>
            <a:pPr marL="285750" indent="-285750" fontAlgn="auto">
              <a:spcAft>
                <a:spcPts val="0"/>
              </a:spcAft>
              <a:buFont typeface="Arial" pitchFamily="34" charset="0"/>
              <a:buChar char="•"/>
              <a:defRPr/>
            </a:pPr>
            <a:endParaRPr lang="en-US" dirty="0"/>
          </a:p>
        </p:txBody>
      </p:sp>
    </p:spTree>
  </p:cSld>
  <p:clrMapOvr>
    <a:masterClrMapping/>
  </p:clrMapOvr>
  <p:transition>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4513" name="Group 215"/>
          <p:cNvGrpSpPr>
            <a:grpSpLocks/>
          </p:cNvGrpSpPr>
          <p:nvPr/>
        </p:nvGrpSpPr>
        <p:grpSpPr bwMode="auto">
          <a:xfrm>
            <a:off x="314325" y="1633538"/>
            <a:ext cx="1328738" cy="1298575"/>
            <a:chOff x="4964389" y="1891869"/>
            <a:chExt cx="3711299" cy="3578772"/>
          </a:xfrm>
        </p:grpSpPr>
        <p:pic>
          <p:nvPicPr>
            <p:cNvPr id="64537" name="Picture 2"/>
            <p:cNvPicPr>
              <a:picLocks noChangeAspect="1" noChangeArrowheads="1"/>
            </p:cNvPicPr>
            <p:nvPr/>
          </p:nvPicPr>
          <p:blipFill>
            <a:blip r:embed="rId8" cstate="print"/>
            <a:srcRect/>
            <a:stretch>
              <a:fillRect/>
            </a:stretch>
          </p:blipFill>
          <p:spPr bwMode="auto">
            <a:xfrm>
              <a:off x="5049617" y="2506634"/>
              <a:ext cx="3507007" cy="378832"/>
            </a:xfrm>
            <a:prstGeom prst="rect">
              <a:avLst/>
            </a:prstGeom>
            <a:noFill/>
            <a:ln w="9525">
              <a:noFill/>
              <a:miter lim="800000"/>
              <a:headEnd/>
              <a:tailEnd/>
            </a:ln>
          </p:spPr>
        </p:pic>
        <p:pic>
          <p:nvPicPr>
            <p:cNvPr id="64538" name="Picture 3"/>
            <p:cNvPicPr>
              <a:picLocks noChangeAspect="1" noChangeArrowheads="1"/>
            </p:cNvPicPr>
            <p:nvPr/>
          </p:nvPicPr>
          <p:blipFill>
            <a:blip r:embed="rId9" cstate="print"/>
            <a:srcRect/>
            <a:stretch>
              <a:fillRect/>
            </a:stretch>
          </p:blipFill>
          <p:spPr bwMode="auto">
            <a:xfrm>
              <a:off x="5049617" y="3039966"/>
              <a:ext cx="3554305" cy="1571618"/>
            </a:xfrm>
            <a:prstGeom prst="rect">
              <a:avLst/>
            </a:prstGeom>
            <a:noFill/>
            <a:ln w="9525">
              <a:noFill/>
              <a:miter lim="800000"/>
              <a:headEnd/>
              <a:tailEnd/>
            </a:ln>
          </p:spPr>
        </p:pic>
        <p:pic>
          <p:nvPicPr>
            <p:cNvPr id="64539" name="Picture 5"/>
            <p:cNvPicPr>
              <a:picLocks noChangeAspect="1" noChangeArrowheads="1"/>
            </p:cNvPicPr>
            <p:nvPr/>
          </p:nvPicPr>
          <p:blipFill>
            <a:blip r:embed="rId10" cstate="print"/>
            <a:srcRect/>
            <a:stretch>
              <a:fillRect/>
            </a:stretch>
          </p:blipFill>
          <p:spPr bwMode="auto">
            <a:xfrm>
              <a:off x="5043219" y="4715630"/>
              <a:ext cx="3592235" cy="509903"/>
            </a:xfrm>
            <a:prstGeom prst="rect">
              <a:avLst/>
            </a:prstGeom>
            <a:noFill/>
            <a:ln w="9525">
              <a:noFill/>
              <a:miter lim="800000"/>
              <a:headEnd/>
              <a:tailEnd/>
            </a:ln>
          </p:spPr>
        </p:pic>
        <p:pic>
          <p:nvPicPr>
            <p:cNvPr id="64540" name="Picture 15" descr="http://www.sarahcypher.com/wordpress/wp-content/uploads/2010/12/oregonian-logo2.jpg"/>
            <p:cNvPicPr>
              <a:picLocks noChangeAspect="1" noChangeArrowheads="1"/>
            </p:cNvPicPr>
            <p:nvPr/>
          </p:nvPicPr>
          <p:blipFill>
            <a:blip r:embed="rId11" cstate="print"/>
            <a:srcRect/>
            <a:stretch>
              <a:fillRect/>
            </a:stretch>
          </p:blipFill>
          <p:spPr bwMode="auto">
            <a:xfrm>
              <a:off x="5724927" y="1993101"/>
              <a:ext cx="2165753" cy="441383"/>
            </a:xfrm>
            <a:prstGeom prst="rect">
              <a:avLst/>
            </a:prstGeom>
            <a:noFill/>
            <a:ln w="9525">
              <a:noFill/>
              <a:miter lim="800000"/>
              <a:headEnd/>
              <a:tailEnd/>
            </a:ln>
          </p:spPr>
        </p:pic>
        <p:sp>
          <p:nvSpPr>
            <p:cNvPr id="64541" name="Rectangle 220"/>
            <p:cNvSpPr>
              <a:spLocks noChangeArrowheads="1"/>
            </p:cNvSpPr>
            <p:nvPr/>
          </p:nvSpPr>
          <p:spPr bwMode="auto">
            <a:xfrm>
              <a:off x="4964389" y="1891869"/>
              <a:ext cx="3711299" cy="3578772"/>
            </a:xfrm>
            <a:prstGeom prst="rect">
              <a:avLst/>
            </a:prstGeom>
            <a:noFill/>
            <a:ln w="9525" algn="ctr">
              <a:solidFill>
                <a:schemeClr val="tx1"/>
              </a:solidFill>
              <a:round/>
              <a:headEnd/>
              <a:tailEnd/>
            </a:ln>
          </p:spPr>
          <p:txBody>
            <a:bodyPr wrap="none" anchor="ctr"/>
            <a:lstStyle/>
            <a:p>
              <a:pPr algn="ctr"/>
              <a:endParaRPr lang="en-US"/>
            </a:p>
          </p:txBody>
        </p:sp>
      </p:grpSp>
      <p:sp>
        <p:nvSpPr>
          <p:cNvPr id="54274" name="Rectangle 2"/>
          <p:cNvSpPr>
            <a:spLocks noGrp="1" noChangeArrowheads="1"/>
          </p:cNvSpPr>
          <p:nvPr>
            <p:ph type="title"/>
          </p:nvPr>
        </p:nvSpPr>
        <p:spPr>
          <a:xfrm>
            <a:off x="468313" y="215900"/>
            <a:ext cx="7058025" cy="949325"/>
          </a:xfrm>
        </p:spPr>
        <p:txBody>
          <a:bodyPr/>
          <a:lstStyle/>
          <a:p>
            <a:pPr fontAlgn="auto">
              <a:spcAft>
                <a:spcPts val="0"/>
              </a:spcAft>
              <a:defRPr/>
            </a:pPr>
            <a:r>
              <a:rPr lang="en-GB" sz="2800" dirty="0" smtClean="0"/>
              <a:t>Anti-Pesticide Activity around Pollinators</a:t>
            </a:r>
          </a:p>
        </p:txBody>
      </p:sp>
      <p:sp>
        <p:nvSpPr>
          <p:cNvPr id="64515" name="Foliennummernplatzhalter 5"/>
          <p:cNvSpPr>
            <a:spLocks noGrp="1"/>
          </p:cNvSpPr>
          <p:nvPr>
            <p:ph type="sldNum" sz="quarter" idx="10"/>
          </p:nvPr>
        </p:nvSpPr>
        <p:spPr bwMode="auto">
          <a:noFill/>
          <a:ln>
            <a:miter lim="800000"/>
            <a:headEnd/>
            <a:tailEnd/>
          </a:ln>
        </p:spPr>
        <p:txBody>
          <a:bodyPr wrap="square" numCol="1" anchorCtr="0" compatLnSpc="1">
            <a:prstTxWarp prst="textNoShape">
              <a:avLst/>
            </a:prstTxWarp>
          </a:bodyPr>
          <a:lstStyle/>
          <a:p>
            <a:r>
              <a:rPr lang="en-US" smtClean="0">
                <a:ea typeface="ヒラギノ角ゴ Pro W3"/>
                <a:cs typeface="ヒラギノ角ゴ Pro W3"/>
              </a:rPr>
              <a:t>Page </a:t>
            </a:r>
            <a:fld id="{7E9AD8F5-769A-4CD5-BAFE-C734CAEE2CDF}" type="slidenum">
              <a:rPr lang="en-US" smtClean="0">
                <a:ea typeface="ヒラギノ角ゴ Pro W3"/>
                <a:cs typeface="ヒラギノ角ゴ Pro W3"/>
              </a:rPr>
              <a:pPr/>
              <a:t>6</a:t>
            </a:fld>
            <a:endParaRPr lang="en-US" smtClean="0">
              <a:ea typeface="ヒラギノ角ゴ Pro W3"/>
              <a:cs typeface="ヒラギノ角ゴ Pro W3"/>
            </a:endParaRPr>
          </a:p>
        </p:txBody>
      </p:sp>
      <p:pic>
        <p:nvPicPr>
          <p:cNvPr id="64516" name="Picture 6"/>
          <p:cNvPicPr>
            <a:picLocks noChangeAspect="1" noChangeArrowheads="1"/>
          </p:cNvPicPr>
          <p:nvPr/>
        </p:nvPicPr>
        <p:blipFill>
          <a:blip r:embed="rId12" cstate="print"/>
          <a:srcRect/>
          <a:stretch>
            <a:fillRect/>
          </a:stretch>
        </p:blipFill>
        <p:spPr bwMode="auto">
          <a:xfrm>
            <a:off x="373063" y="3416300"/>
            <a:ext cx="1160462" cy="1166813"/>
          </a:xfrm>
          <a:prstGeom prst="rect">
            <a:avLst/>
          </a:prstGeom>
          <a:noFill/>
          <a:ln w="9525">
            <a:noFill/>
            <a:miter lim="800000"/>
            <a:headEnd/>
            <a:tailEnd/>
          </a:ln>
        </p:spPr>
      </p:pic>
      <p:grpSp>
        <p:nvGrpSpPr>
          <p:cNvPr id="64517" name="Group 2"/>
          <p:cNvGrpSpPr>
            <a:grpSpLocks/>
          </p:cNvGrpSpPr>
          <p:nvPr/>
        </p:nvGrpSpPr>
        <p:grpSpPr bwMode="auto">
          <a:xfrm>
            <a:off x="5016500" y="1482725"/>
            <a:ext cx="3717925" cy="1636713"/>
            <a:chOff x="4693602" y="1584707"/>
            <a:chExt cx="4029075" cy="2282212"/>
          </a:xfrm>
        </p:grpSpPr>
        <p:sp>
          <p:nvSpPr>
            <p:cNvPr id="22" name="Content Placeholder 3"/>
            <p:cNvSpPr txBox="1">
              <a:spLocks/>
            </p:cNvSpPr>
            <p:nvPr/>
          </p:nvSpPr>
          <p:spPr>
            <a:xfrm>
              <a:off x="4693602" y="1584707"/>
              <a:ext cx="4029075" cy="2282212"/>
            </a:xfrm>
            <a:prstGeom prst="rect">
              <a:avLst/>
            </a:prstGeom>
            <a:ln w="28575">
              <a:solidFill>
                <a:schemeClr val="accent1"/>
              </a:solidFill>
            </a:ln>
          </p:spPr>
          <p:txBody>
            <a:bodyPr/>
            <a:lstStyle/>
            <a:p>
              <a:pPr algn="ctr">
                <a:spcBef>
                  <a:spcPts val="300"/>
                </a:spcBef>
                <a:spcAft>
                  <a:spcPts val="600"/>
                </a:spcAft>
                <a:defRPr/>
              </a:pPr>
              <a:r>
                <a:rPr lang="en-US" b="1" kern="0" dirty="0">
                  <a:solidFill>
                    <a:srgbClr val="676767"/>
                  </a:solidFill>
                  <a:latin typeface="Arial"/>
                </a:rPr>
                <a:t>Media Interest</a:t>
              </a:r>
            </a:p>
            <a:p>
              <a:pPr algn="ctr">
                <a:spcBef>
                  <a:spcPts val="300"/>
                </a:spcBef>
                <a:spcAft>
                  <a:spcPts val="600"/>
                </a:spcAft>
                <a:defRPr/>
              </a:pPr>
              <a:endParaRPr lang="en-US" kern="0" dirty="0">
                <a:solidFill>
                  <a:srgbClr val="676767"/>
                </a:solidFill>
                <a:latin typeface="Arial"/>
              </a:endParaRPr>
            </a:p>
          </p:txBody>
        </p:sp>
        <p:pic>
          <p:nvPicPr>
            <p:cNvPr id="64535" name="Picture 3"/>
            <p:cNvPicPr>
              <a:picLocks noChangeAspect="1" noChangeArrowheads="1"/>
            </p:cNvPicPr>
            <p:nvPr>
              <p:custDataLst>
                <p:tags r:id="rId4"/>
              </p:custDataLst>
            </p:nvPr>
          </p:nvPicPr>
          <p:blipFill>
            <a:blip r:embed="rId13" cstate="print"/>
            <a:srcRect/>
            <a:stretch>
              <a:fillRect/>
            </a:stretch>
          </p:blipFill>
          <p:spPr bwMode="auto">
            <a:xfrm>
              <a:off x="6539604" y="2246199"/>
              <a:ext cx="1801756" cy="1568454"/>
            </a:xfrm>
            <a:prstGeom prst="rect">
              <a:avLst/>
            </a:prstGeom>
            <a:noFill/>
            <a:ln w="9525">
              <a:noFill/>
              <a:miter lim="800000"/>
              <a:headEnd/>
              <a:tailEnd/>
            </a:ln>
          </p:spPr>
        </p:pic>
        <p:pic>
          <p:nvPicPr>
            <p:cNvPr id="64536" name="Picture 2"/>
            <p:cNvPicPr>
              <a:picLocks noChangeAspect="1" noChangeArrowheads="1"/>
            </p:cNvPicPr>
            <p:nvPr>
              <p:custDataLst>
                <p:tags r:id="rId5"/>
              </p:custDataLst>
            </p:nvPr>
          </p:nvPicPr>
          <p:blipFill>
            <a:blip r:embed="rId14" cstate="print"/>
            <a:srcRect/>
            <a:stretch>
              <a:fillRect/>
            </a:stretch>
          </p:blipFill>
          <p:spPr bwMode="auto">
            <a:xfrm>
              <a:off x="4895908" y="2065942"/>
              <a:ext cx="1643695" cy="1538740"/>
            </a:xfrm>
            <a:prstGeom prst="rect">
              <a:avLst/>
            </a:prstGeom>
            <a:noFill/>
            <a:ln w="9525">
              <a:noFill/>
              <a:miter lim="800000"/>
              <a:headEnd/>
              <a:tailEnd/>
            </a:ln>
          </p:spPr>
        </p:pic>
      </p:grpSp>
      <p:grpSp>
        <p:nvGrpSpPr>
          <p:cNvPr id="64518" name="Group 1"/>
          <p:cNvGrpSpPr>
            <a:grpSpLocks/>
          </p:cNvGrpSpPr>
          <p:nvPr/>
        </p:nvGrpSpPr>
        <p:grpSpPr bwMode="auto">
          <a:xfrm>
            <a:off x="147638" y="4703763"/>
            <a:ext cx="3716337" cy="1660525"/>
            <a:chOff x="361155" y="3996975"/>
            <a:chExt cx="4382123" cy="2339501"/>
          </a:xfrm>
        </p:grpSpPr>
        <p:sp>
          <p:nvSpPr>
            <p:cNvPr id="23" name="Content Placeholder 2"/>
            <p:cNvSpPr txBox="1">
              <a:spLocks/>
            </p:cNvSpPr>
            <p:nvPr/>
          </p:nvSpPr>
          <p:spPr bwMode="gray">
            <a:xfrm>
              <a:off x="361155" y="3996975"/>
              <a:ext cx="4382123" cy="2339501"/>
            </a:xfrm>
            <a:prstGeom prst="rect">
              <a:avLst/>
            </a:prstGeom>
            <a:noFill/>
            <a:ln w="28575">
              <a:solidFill>
                <a:schemeClr val="accent1"/>
              </a:solidFill>
            </a:ln>
            <a:effectLst/>
            <a:extLst>
              <a:ext uri="{909E8E84-426E-40DD-AFC4-6F175D3DCCD1}"/>
              <a:ext uri="{AF507438-7753-43E0-B8FC-AC1667EBCBE1}"/>
            </a:extLst>
          </p:spPr>
          <p:txBody>
            <a:bodyPr lIns="0" tIns="0" rIns="0" bIns="0"/>
            <a:lstStyle/>
            <a:p>
              <a:pPr algn="ctr">
                <a:spcBef>
                  <a:spcPts val="300"/>
                </a:spcBef>
                <a:spcAft>
                  <a:spcPts val="600"/>
                </a:spcAft>
                <a:defRPr/>
              </a:pPr>
              <a:r>
                <a:rPr lang="en-US" sz="1600" b="1" kern="0" dirty="0">
                  <a:solidFill>
                    <a:srgbClr val="676767"/>
                  </a:solidFill>
                  <a:latin typeface="Arial"/>
                </a:rPr>
                <a:t>Highly Publicized Scientific Studies</a:t>
              </a:r>
            </a:p>
          </p:txBody>
        </p:sp>
        <p:pic>
          <p:nvPicPr>
            <p:cNvPr id="64531" name="Picture 2"/>
            <p:cNvPicPr>
              <a:picLocks noChangeAspect="1" noChangeArrowheads="1"/>
            </p:cNvPicPr>
            <p:nvPr>
              <p:custDataLst>
                <p:tags r:id="rId1"/>
              </p:custDataLst>
            </p:nvPr>
          </p:nvPicPr>
          <p:blipFill>
            <a:blip r:embed="rId15" cstate="print"/>
            <a:srcRect/>
            <a:stretch>
              <a:fillRect/>
            </a:stretch>
          </p:blipFill>
          <p:spPr bwMode="auto">
            <a:xfrm>
              <a:off x="2124709" y="5512222"/>
              <a:ext cx="1554926" cy="454804"/>
            </a:xfrm>
            <a:prstGeom prst="rect">
              <a:avLst/>
            </a:prstGeom>
            <a:noFill/>
            <a:ln w="9525">
              <a:noFill/>
              <a:miter lim="800000"/>
              <a:headEnd/>
              <a:tailEnd/>
            </a:ln>
          </p:spPr>
        </p:pic>
        <p:pic>
          <p:nvPicPr>
            <p:cNvPr id="64532" name="Picture 3"/>
            <p:cNvPicPr>
              <a:picLocks noChangeAspect="1" noChangeArrowheads="1"/>
            </p:cNvPicPr>
            <p:nvPr>
              <p:custDataLst>
                <p:tags r:id="rId2"/>
              </p:custDataLst>
            </p:nvPr>
          </p:nvPicPr>
          <p:blipFill>
            <a:blip r:embed="rId16" cstate="print"/>
            <a:srcRect/>
            <a:stretch>
              <a:fillRect/>
            </a:stretch>
          </p:blipFill>
          <p:spPr bwMode="auto">
            <a:xfrm>
              <a:off x="2935835" y="4403588"/>
              <a:ext cx="1068956" cy="1068956"/>
            </a:xfrm>
            <a:prstGeom prst="rect">
              <a:avLst/>
            </a:prstGeom>
            <a:noFill/>
            <a:ln w="9525">
              <a:noFill/>
              <a:miter lim="800000"/>
              <a:headEnd/>
              <a:tailEnd/>
            </a:ln>
          </p:spPr>
        </p:pic>
        <p:pic>
          <p:nvPicPr>
            <p:cNvPr id="64533" name="Picture 4"/>
            <p:cNvPicPr>
              <a:picLocks noChangeAspect="1" noChangeArrowheads="1"/>
            </p:cNvPicPr>
            <p:nvPr>
              <p:custDataLst>
                <p:tags r:id="rId3"/>
              </p:custDataLst>
            </p:nvPr>
          </p:nvPicPr>
          <p:blipFill>
            <a:blip r:embed="rId17" cstate="print"/>
            <a:srcRect/>
            <a:stretch>
              <a:fillRect/>
            </a:stretch>
          </p:blipFill>
          <p:spPr bwMode="auto">
            <a:xfrm>
              <a:off x="749147" y="4443538"/>
              <a:ext cx="1126565" cy="1523488"/>
            </a:xfrm>
            <a:prstGeom prst="rect">
              <a:avLst/>
            </a:prstGeom>
            <a:noFill/>
            <a:ln w="9525">
              <a:noFill/>
              <a:miter lim="800000"/>
              <a:headEnd/>
              <a:tailEnd/>
            </a:ln>
          </p:spPr>
        </p:pic>
      </p:grpSp>
      <p:sp>
        <p:nvSpPr>
          <p:cNvPr id="24" name="Content Placeholder 3"/>
          <p:cNvSpPr txBox="1">
            <a:spLocks/>
          </p:cNvSpPr>
          <p:nvPr/>
        </p:nvSpPr>
        <p:spPr bwMode="gray">
          <a:xfrm>
            <a:off x="5030788" y="3127375"/>
            <a:ext cx="3703637" cy="1520825"/>
          </a:xfrm>
          <a:prstGeom prst="rect">
            <a:avLst/>
          </a:prstGeom>
          <a:noFill/>
          <a:ln w="28575">
            <a:solidFill>
              <a:schemeClr val="accent1"/>
            </a:solidFill>
          </a:ln>
          <a:effectLst/>
          <a:extLst>
            <a:ext uri="{909E8E84-426E-40DD-AFC4-6F175D3DCCD1}"/>
            <a:ext uri="{AF507438-7753-43E0-B8FC-AC1667EBCBE1}"/>
          </a:extLst>
        </p:spPr>
        <p:txBody>
          <a:bodyPr lIns="0" tIns="0" rIns="0" bIns="0"/>
          <a:lstStyle/>
          <a:p>
            <a:pPr algn="ctr">
              <a:spcBef>
                <a:spcPts val="300"/>
              </a:spcBef>
              <a:spcAft>
                <a:spcPts val="600"/>
              </a:spcAft>
              <a:defRPr/>
            </a:pPr>
            <a:r>
              <a:rPr lang="en-US" b="1" kern="0" dirty="0">
                <a:solidFill>
                  <a:srgbClr val="676767"/>
                </a:solidFill>
                <a:latin typeface="Arial"/>
              </a:rPr>
              <a:t>Online Activist Campaigns</a:t>
            </a:r>
          </a:p>
          <a:p>
            <a:pPr algn="ctr">
              <a:spcBef>
                <a:spcPts val="300"/>
              </a:spcBef>
              <a:spcAft>
                <a:spcPts val="600"/>
              </a:spcAft>
              <a:defRPr/>
            </a:pPr>
            <a:endParaRPr lang="en-US" kern="0" dirty="0">
              <a:solidFill>
                <a:srgbClr val="676767"/>
              </a:solidFill>
              <a:latin typeface="Arial"/>
            </a:endParaRPr>
          </a:p>
        </p:txBody>
      </p:sp>
      <p:pic>
        <p:nvPicPr>
          <p:cNvPr id="64520" name="Picture 65"/>
          <p:cNvPicPr>
            <a:picLocks noChangeAspect="1" noChangeArrowheads="1"/>
          </p:cNvPicPr>
          <p:nvPr/>
        </p:nvPicPr>
        <p:blipFill>
          <a:blip r:embed="rId18" cstate="print"/>
          <a:srcRect/>
          <a:stretch>
            <a:fillRect/>
          </a:stretch>
        </p:blipFill>
        <p:spPr bwMode="auto">
          <a:xfrm>
            <a:off x="5668963" y="3416300"/>
            <a:ext cx="2660650" cy="328613"/>
          </a:xfrm>
          <a:prstGeom prst="rect">
            <a:avLst/>
          </a:prstGeom>
          <a:noFill/>
          <a:ln w="9525">
            <a:noFill/>
            <a:miter lim="800000"/>
            <a:headEnd/>
            <a:tailEnd/>
          </a:ln>
        </p:spPr>
      </p:pic>
      <p:sp>
        <p:nvSpPr>
          <p:cNvPr id="64521" name="Rectangle 32"/>
          <p:cNvSpPr>
            <a:spLocks noChangeArrowheads="1"/>
          </p:cNvSpPr>
          <p:nvPr/>
        </p:nvSpPr>
        <p:spPr bwMode="auto">
          <a:xfrm>
            <a:off x="5248275" y="3729038"/>
            <a:ext cx="3502025" cy="830262"/>
          </a:xfrm>
          <a:prstGeom prst="rect">
            <a:avLst/>
          </a:prstGeom>
          <a:noFill/>
          <a:ln w="9525">
            <a:noFill/>
            <a:miter lim="800000"/>
            <a:headEnd/>
            <a:tailEnd/>
          </a:ln>
        </p:spPr>
        <p:txBody>
          <a:bodyPr>
            <a:spAutoFit/>
          </a:bodyPr>
          <a:lstStyle/>
          <a:p>
            <a:r>
              <a:rPr lang="en-US" sz="1600" b="1">
                <a:solidFill>
                  <a:srgbClr val="676767"/>
                </a:solidFill>
              </a:rPr>
              <a:t>Bees are still dying</a:t>
            </a:r>
          </a:p>
          <a:p>
            <a:r>
              <a:rPr lang="en-US" sz="1600" b="1">
                <a:solidFill>
                  <a:srgbClr val="676767"/>
                </a:solidFill>
              </a:rPr>
              <a:t>EPA is moving too slowly. Urge Congress to step up. </a:t>
            </a:r>
            <a:r>
              <a:rPr lang="en-US" sz="1600" b="1">
                <a:solidFill>
                  <a:srgbClr val="676767"/>
                </a:solidFill>
                <a:hlinkClick r:id="rId19"/>
              </a:rPr>
              <a:t>Act Now »</a:t>
            </a:r>
            <a:endParaRPr lang="en-US" sz="1600" b="1">
              <a:solidFill>
                <a:srgbClr val="676767"/>
              </a:solidFill>
            </a:endParaRPr>
          </a:p>
        </p:txBody>
      </p:sp>
      <p:sp>
        <p:nvSpPr>
          <p:cNvPr id="20" name="Content Placeholder 2"/>
          <p:cNvSpPr txBox="1">
            <a:spLocks/>
          </p:cNvSpPr>
          <p:nvPr/>
        </p:nvSpPr>
        <p:spPr bwMode="gray">
          <a:xfrm>
            <a:off x="150813" y="1497013"/>
            <a:ext cx="3713162" cy="1611312"/>
          </a:xfrm>
          <a:prstGeom prst="rect">
            <a:avLst/>
          </a:prstGeom>
          <a:noFill/>
          <a:ln w="28575">
            <a:solidFill>
              <a:schemeClr val="accent1"/>
            </a:solidFill>
          </a:ln>
          <a:effectLst/>
          <a:extLst>
            <a:ext uri="{909E8E84-426E-40DD-AFC4-6F175D3DCCD1}"/>
            <a:ext uri="{AF507438-7753-43E0-B8FC-AC1667EBCBE1}"/>
          </a:extLst>
        </p:spPr>
        <p:txBody>
          <a:bodyPr lIns="0" tIns="0" rIns="0" bIns="0"/>
          <a:lstStyle>
            <a:lvl1pPr algn="l" rtl="0" eaLnBrk="1" fontAlgn="base" hangingPunct="1">
              <a:spcBef>
                <a:spcPts val="300"/>
              </a:spcBef>
              <a:spcAft>
                <a:spcPts val="600"/>
              </a:spcAft>
              <a:defRPr>
                <a:solidFill>
                  <a:schemeClr val="tx1"/>
                </a:solidFill>
                <a:latin typeface="+mn-lt"/>
                <a:ea typeface="+mn-ea"/>
                <a:cs typeface="+mn-cs"/>
              </a:defRPr>
            </a:lvl1pPr>
            <a:lvl2pPr marL="271463"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2pPr>
            <a:lvl3pPr marL="542925"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3pPr>
            <a:lvl4pPr marL="809625" indent="-265113" algn="l" rtl="0" eaLnBrk="1" fontAlgn="base" hangingPunct="1">
              <a:spcBef>
                <a:spcPts val="300"/>
              </a:spcBef>
              <a:spcAft>
                <a:spcPts val="600"/>
              </a:spcAft>
              <a:buClr>
                <a:schemeClr val="accent2"/>
              </a:buClr>
              <a:buSzPct val="110000"/>
              <a:buChar char="•"/>
              <a:defRPr>
                <a:solidFill>
                  <a:schemeClr val="tx1"/>
                </a:solidFill>
                <a:latin typeface="+mn-lt"/>
                <a:cs typeface="+mn-cs"/>
              </a:defRPr>
            </a:lvl4pPr>
            <a:lvl5pPr marL="10810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5pPr>
            <a:lvl6pPr marL="15382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6pPr>
            <a:lvl7pPr marL="19954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7pPr>
            <a:lvl8pPr marL="24526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8pPr>
            <a:lvl9pPr marL="29098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9pPr>
          </a:lstStyle>
          <a:p>
            <a:pPr algn="ctr">
              <a:defRPr/>
            </a:pPr>
            <a:endParaRPr lang="en-US" sz="1600" b="1" kern="0" dirty="0">
              <a:solidFill>
                <a:srgbClr val="676767"/>
              </a:solidFill>
            </a:endParaRPr>
          </a:p>
        </p:txBody>
      </p:sp>
      <p:sp>
        <p:nvSpPr>
          <p:cNvPr id="34" name="Content Placeholder 2"/>
          <p:cNvSpPr txBox="1">
            <a:spLocks/>
          </p:cNvSpPr>
          <p:nvPr/>
        </p:nvSpPr>
        <p:spPr bwMode="gray">
          <a:xfrm>
            <a:off x="150813" y="3127375"/>
            <a:ext cx="3713162" cy="1557338"/>
          </a:xfrm>
          <a:prstGeom prst="rect">
            <a:avLst/>
          </a:prstGeom>
          <a:noFill/>
          <a:ln w="28575">
            <a:solidFill>
              <a:schemeClr val="accent1"/>
            </a:solidFill>
          </a:ln>
          <a:effectLst/>
          <a:extLst>
            <a:ext uri="{909E8E84-426E-40DD-AFC4-6F175D3DCCD1}"/>
            <a:ext uri="{AF507438-7753-43E0-B8FC-AC1667EBCBE1}"/>
          </a:extLst>
        </p:spPr>
        <p:txBody>
          <a:bodyPr lIns="0" tIns="0" rIns="0" bIns="0"/>
          <a:lstStyle>
            <a:lvl1pPr algn="l" rtl="0" eaLnBrk="1" fontAlgn="base" hangingPunct="1">
              <a:spcBef>
                <a:spcPts val="300"/>
              </a:spcBef>
              <a:spcAft>
                <a:spcPts val="600"/>
              </a:spcAft>
              <a:defRPr>
                <a:solidFill>
                  <a:schemeClr val="tx1"/>
                </a:solidFill>
                <a:latin typeface="+mn-lt"/>
                <a:ea typeface="+mn-ea"/>
                <a:cs typeface="+mn-cs"/>
              </a:defRPr>
            </a:lvl1pPr>
            <a:lvl2pPr marL="271463"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2pPr>
            <a:lvl3pPr marL="542925"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3pPr>
            <a:lvl4pPr marL="809625" indent="-265113" algn="l" rtl="0" eaLnBrk="1" fontAlgn="base" hangingPunct="1">
              <a:spcBef>
                <a:spcPts val="300"/>
              </a:spcBef>
              <a:spcAft>
                <a:spcPts val="600"/>
              </a:spcAft>
              <a:buClr>
                <a:schemeClr val="accent2"/>
              </a:buClr>
              <a:buSzPct val="110000"/>
              <a:buChar char="•"/>
              <a:defRPr>
                <a:solidFill>
                  <a:schemeClr val="tx1"/>
                </a:solidFill>
                <a:latin typeface="+mn-lt"/>
                <a:cs typeface="+mn-cs"/>
              </a:defRPr>
            </a:lvl4pPr>
            <a:lvl5pPr marL="10810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5pPr>
            <a:lvl6pPr marL="15382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6pPr>
            <a:lvl7pPr marL="19954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7pPr>
            <a:lvl8pPr marL="24526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8pPr>
            <a:lvl9pPr marL="29098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9pPr>
          </a:lstStyle>
          <a:p>
            <a:pPr algn="ctr">
              <a:defRPr/>
            </a:pPr>
            <a:endParaRPr lang="en-US" sz="1600" b="1" kern="0" dirty="0">
              <a:solidFill>
                <a:srgbClr val="676767"/>
              </a:solidFill>
            </a:endParaRPr>
          </a:p>
        </p:txBody>
      </p:sp>
      <p:sp>
        <p:nvSpPr>
          <p:cNvPr id="7" name="Rectangle 6"/>
          <p:cNvSpPr/>
          <p:nvPr/>
        </p:nvSpPr>
        <p:spPr>
          <a:xfrm>
            <a:off x="1814513" y="3268663"/>
            <a:ext cx="1878012" cy="1323975"/>
          </a:xfrm>
          <a:prstGeom prst="rect">
            <a:avLst/>
          </a:prstGeom>
        </p:spPr>
        <p:txBody>
          <a:bodyPr>
            <a:spAutoFit/>
          </a:bodyPr>
          <a:lstStyle/>
          <a:p>
            <a:pPr>
              <a:spcBef>
                <a:spcPts val="300"/>
              </a:spcBef>
              <a:spcAft>
                <a:spcPts val="300"/>
              </a:spcAft>
              <a:defRPr/>
            </a:pPr>
            <a:r>
              <a:rPr lang="en-US" sz="1600" b="1" kern="0" dirty="0">
                <a:solidFill>
                  <a:srgbClr val="676767"/>
                </a:solidFill>
                <a:latin typeface="Arial"/>
              </a:rPr>
              <a:t>EPA sued – suspension of  clothianidin and thiamethoxam  filed (3/ 21/13 )</a:t>
            </a:r>
          </a:p>
        </p:txBody>
      </p:sp>
      <p:sp>
        <p:nvSpPr>
          <p:cNvPr id="8" name="TextBox 7"/>
          <p:cNvSpPr txBox="1"/>
          <p:nvPr/>
        </p:nvSpPr>
        <p:spPr>
          <a:xfrm>
            <a:off x="1728788" y="1608138"/>
            <a:ext cx="2049462" cy="1076325"/>
          </a:xfrm>
          <a:prstGeom prst="rect">
            <a:avLst/>
          </a:prstGeom>
          <a:noFill/>
        </p:spPr>
        <p:txBody>
          <a:bodyPr>
            <a:spAutoFit/>
          </a:bodyPr>
          <a:lstStyle/>
          <a:p>
            <a:pPr>
              <a:defRPr/>
            </a:pPr>
            <a:r>
              <a:rPr lang="en-US" sz="1600" b="1" kern="0" dirty="0">
                <a:solidFill>
                  <a:srgbClr val="676767"/>
                </a:solidFill>
                <a:latin typeface="Arial"/>
              </a:rPr>
              <a:t>Rare incidents, have drawn intense attention</a:t>
            </a:r>
          </a:p>
          <a:p>
            <a:pPr>
              <a:defRPr/>
            </a:pPr>
            <a:endParaRPr lang="en-US" sz="1600" dirty="0"/>
          </a:p>
        </p:txBody>
      </p:sp>
      <p:sp>
        <p:nvSpPr>
          <p:cNvPr id="40" name="Content Placeholder 2"/>
          <p:cNvSpPr txBox="1">
            <a:spLocks/>
          </p:cNvSpPr>
          <p:nvPr/>
        </p:nvSpPr>
        <p:spPr bwMode="gray">
          <a:xfrm>
            <a:off x="5013325" y="4665663"/>
            <a:ext cx="3719513" cy="1611312"/>
          </a:xfrm>
          <a:prstGeom prst="rect">
            <a:avLst/>
          </a:prstGeom>
          <a:noFill/>
          <a:ln w="28575">
            <a:solidFill>
              <a:schemeClr val="accent1"/>
            </a:solidFill>
          </a:ln>
          <a:effectLst/>
          <a:extLst>
            <a:ext uri="{909E8E84-426E-40DD-AFC4-6F175D3DCCD1}"/>
            <a:ext uri="{AF507438-7753-43E0-B8FC-AC1667EBCBE1}"/>
          </a:extLst>
        </p:spPr>
        <p:txBody>
          <a:bodyPr lIns="0" tIns="0" rIns="0" bIns="0"/>
          <a:lstStyle>
            <a:lvl1pPr algn="l" rtl="0" eaLnBrk="1" fontAlgn="base" hangingPunct="1">
              <a:spcBef>
                <a:spcPts val="300"/>
              </a:spcBef>
              <a:spcAft>
                <a:spcPts val="600"/>
              </a:spcAft>
              <a:defRPr>
                <a:solidFill>
                  <a:schemeClr val="tx1"/>
                </a:solidFill>
                <a:latin typeface="+mn-lt"/>
                <a:ea typeface="+mn-ea"/>
                <a:cs typeface="+mn-cs"/>
              </a:defRPr>
            </a:lvl1pPr>
            <a:lvl2pPr marL="271463"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2pPr>
            <a:lvl3pPr marL="542925"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3pPr>
            <a:lvl4pPr marL="809625" indent="-265113" algn="l" rtl="0" eaLnBrk="1" fontAlgn="base" hangingPunct="1">
              <a:spcBef>
                <a:spcPts val="300"/>
              </a:spcBef>
              <a:spcAft>
                <a:spcPts val="600"/>
              </a:spcAft>
              <a:buClr>
                <a:schemeClr val="accent2"/>
              </a:buClr>
              <a:buSzPct val="110000"/>
              <a:buChar char="•"/>
              <a:defRPr>
                <a:solidFill>
                  <a:schemeClr val="tx1"/>
                </a:solidFill>
                <a:latin typeface="+mn-lt"/>
                <a:cs typeface="+mn-cs"/>
              </a:defRPr>
            </a:lvl4pPr>
            <a:lvl5pPr marL="10810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5pPr>
            <a:lvl6pPr marL="15382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6pPr>
            <a:lvl7pPr marL="19954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7pPr>
            <a:lvl8pPr marL="24526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8pPr>
            <a:lvl9pPr marL="2909888" indent="-269875" algn="l" rtl="0" eaLnBrk="1" fontAlgn="base" hangingPunct="1">
              <a:spcBef>
                <a:spcPts val="300"/>
              </a:spcBef>
              <a:spcAft>
                <a:spcPts val="600"/>
              </a:spcAft>
              <a:buClr>
                <a:schemeClr val="accent2"/>
              </a:buClr>
              <a:buSzPct val="110000"/>
              <a:buChar char="•"/>
              <a:defRPr>
                <a:solidFill>
                  <a:schemeClr val="tx1"/>
                </a:solidFill>
                <a:latin typeface="+mn-lt"/>
                <a:cs typeface="+mn-cs"/>
              </a:defRPr>
            </a:lvl9pPr>
          </a:lstStyle>
          <a:p>
            <a:pPr algn="ctr">
              <a:defRPr/>
            </a:pPr>
            <a:endParaRPr lang="en-US" sz="1600" b="1" kern="0" dirty="0">
              <a:solidFill>
                <a:srgbClr val="676767"/>
              </a:solidFill>
            </a:endParaRPr>
          </a:p>
        </p:txBody>
      </p:sp>
      <p:sp>
        <p:nvSpPr>
          <p:cNvPr id="42" name="TextBox 41"/>
          <p:cNvSpPr txBox="1">
            <a:spLocks noChangeArrowheads="1"/>
          </p:cNvSpPr>
          <p:nvPr/>
        </p:nvSpPr>
        <p:spPr bwMode="auto">
          <a:xfrm>
            <a:off x="1731963" y="2482850"/>
            <a:ext cx="5510212" cy="2246313"/>
          </a:xfrm>
          <a:prstGeom prst="rect">
            <a:avLst/>
          </a:prstGeom>
          <a:solidFill>
            <a:schemeClr val="accent2"/>
          </a:solidFill>
          <a:ln w="25400">
            <a:solidFill>
              <a:srgbClr val="FF0000"/>
            </a:solidFill>
            <a:miter lim="800000"/>
            <a:headEnd/>
            <a:tailEnd/>
          </a:ln>
        </p:spPr>
        <p:txBody>
          <a:bodyPr>
            <a:spAutoFit/>
          </a:bodyPr>
          <a:lstStyle/>
          <a:p>
            <a:r>
              <a:rPr lang="en-US" sz="2800">
                <a:solidFill>
                  <a:srgbClr val="FFFF00"/>
                </a:solidFill>
                <a:ea typeface="ヒラギノ角ゴ Pro W3"/>
                <a:cs typeface="ヒラギノ角ゴ Pro W3"/>
              </a:rPr>
              <a:t>A well organized and highly misleading campaign is alleging pesticides are the main cause of losses of bees and other pollinators</a:t>
            </a:r>
          </a:p>
        </p:txBody>
      </p:sp>
      <p:grpSp>
        <p:nvGrpSpPr>
          <p:cNvPr id="43" name="Gruppieren 1158"/>
          <p:cNvGrpSpPr/>
          <p:nvPr/>
        </p:nvGrpSpPr>
        <p:grpSpPr bwMode="gray">
          <a:xfrm>
            <a:off x="5182358" y="4862286"/>
            <a:ext cx="2060271" cy="991200"/>
            <a:chOff x="465138" y="1628775"/>
            <a:chExt cx="8215312" cy="4006851"/>
          </a:xfrm>
          <a:solidFill>
            <a:schemeClr val="bg2"/>
          </a:solidFill>
        </p:grpSpPr>
        <p:sp>
          <p:nvSpPr>
            <p:cNvPr id="44" name="Freeform 5"/>
            <p:cNvSpPr>
              <a:spLocks/>
            </p:cNvSpPr>
            <p:nvPr/>
          </p:nvSpPr>
          <p:spPr bwMode="gray">
            <a:xfrm>
              <a:off x="5356225" y="4344988"/>
              <a:ext cx="228600" cy="417513"/>
            </a:xfrm>
            <a:custGeom>
              <a:avLst/>
              <a:gdLst>
                <a:gd name="T0" fmla="*/ 88 w 409"/>
                <a:gd name="T1" fmla="*/ 219 h 746"/>
                <a:gd name="T2" fmla="*/ 104 w 409"/>
                <a:gd name="T3" fmla="*/ 214 h 746"/>
                <a:gd name="T4" fmla="*/ 134 w 409"/>
                <a:gd name="T5" fmla="*/ 218 h 746"/>
                <a:gd name="T6" fmla="*/ 134 w 409"/>
                <a:gd name="T7" fmla="*/ 202 h 746"/>
                <a:gd name="T8" fmla="*/ 173 w 409"/>
                <a:gd name="T9" fmla="*/ 207 h 746"/>
                <a:gd name="T10" fmla="*/ 186 w 409"/>
                <a:gd name="T11" fmla="*/ 188 h 746"/>
                <a:gd name="T12" fmla="*/ 216 w 409"/>
                <a:gd name="T13" fmla="*/ 193 h 746"/>
                <a:gd name="T14" fmla="*/ 214 w 409"/>
                <a:gd name="T15" fmla="*/ 172 h 746"/>
                <a:gd name="T16" fmla="*/ 223 w 409"/>
                <a:gd name="T17" fmla="*/ 150 h 746"/>
                <a:gd name="T18" fmla="*/ 225 w 409"/>
                <a:gd name="T19" fmla="*/ 172 h 746"/>
                <a:gd name="T20" fmla="*/ 230 w 409"/>
                <a:gd name="T21" fmla="*/ 186 h 746"/>
                <a:gd name="T22" fmla="*/ 239 w 409"/>
                <a:gd name="T23" fmla="*/ 159 h 746"/>
                <a:gd name="T24" fmla="*/ 244 w 409"/>
                <a:gd name="T25" fmla="*/ 124 h 746"/>
                <a:gd name="T26" fmla="*/ 255 w 409"/>
                <a:gd name="T27" fmla="*/ 138 h 746"/>
                <a:gd name="T28" fmla="*/ 269 w 409"/>
                <a:gd name="T29" fmla="*/ 126 h 746"/>
                <a:gd name="T30" fmla="*/ 271 w 409"/>
                <a:gd name="T31" fmla="*/ 88 h 746"/>
                <a:gd name="T32" fmla="*/ 288 w 409"/>
                <a:gd name="T33" fmla="*/ 88 h 746"/>
                <a:gd name="T34" fmla="*/ 312 w 409"/>
                <a:gd name="T35" fmla="*/ 62 h 746"/>
                <a:gd name="T36" fmla="*/ 315 w 409"/>
                <a:gd name="T37" fmla="*/ 26 h 746"/>
                <a:gd name="T38" fmla="*/ 336 w 409"/>
                <a:gd name="T39" fmla="*/ 0 h 746"/>
                <a:gd name="T40" fmla="*/ 372 w 409"/>
                <a:gd name="T41" fmla="*/ 41 h 746"/>
                <a:gd name="T42" fmla="*/ 372 w 409"/>
                <a:gd name="T43" fmla="*/ 56 h 746"/>
                <a:gd name="T44" fmla="*/ 395 w 409"/>
                <a:gd name="T45" fmla="*/ 110 h 746"/>
                <a:gd name="T46" fmla="*/ 382 w 409"/>
                <a:gd name="T47" fmla="*/ 143 h 746"/>
                <a:gd name="T48" fmla="*/ 402 w 409"/>
                <a:gd name="T49" fmla="*/ 193 h 746"/>
                <a:gd name="T50" fmla="*/ 375 w 409"/>
                <a:gd name="T51" fmla="*/ 188 h 746"/>
                <a:gd name="T52" fmla="*/ 354 w 409"/>
                <a:gd name="T53" fmla="*/ 193 h 746"/>
                <a:gd name="T54" fmla="*/ 358 w 409"/>
                <a:gd name="T55" fmla="*/ 221 h 746"/>
                <a:gd name="T56" fmla="*/ 333 w 409"/>
                <a:gd name="T57" fmla="*/ 259 h 746"/>
                <a:gd name="T58" fmla="*/ 338 w 409"/>
                <a:gd name="T59" fmla="*/ 312 h 746"/>
                <a:gd name="T60" fmla="*/ 267 w 409"/>
                <a:gd name="T61" fmla="*/ 478 h 746"/>
                <a:gd name="T62" fmla="*/ 211 w 409"/>
                <a:gd name="T63" fmla="*/ 609 h 746"/>
                <a:gd name="T64" fmla="*/ 189 w 409"/>
                <a:gd name="T65" fmla="*/ 676 h 746"/>
                <a:gd name="T66" fmla="*/ 149 w 409"/>
                <a:gd name="T67" fmla="*/ 712 h 746"/>
                <a:gd name="T68" fmla="*/ 133 w 409"/>
                <a:gd name="T69" fmla="*/ 710 h 746"/>
                <a:gd name="T70" fmla="*/ 60 w 409"/>
                <a:gd name="T71" fmla="*/ 717 h 746"/>
                <a:gd name="T72" fmla="*/ 28 w 409"/>
                <a:gd name="T73" fmla="*/ 675 h 746"/>
                <a:gd name="T74" fmla="*/ 41 w 409"/>
                <a:gd name="T75" fmla="*/ 659 h 746"/>
                <a:gd name="T76" fmla="*/ 5 w 409"/>
                <a:gd name="T77" fmla="*/ 556 h 746"/>
                <a:gd name="T78" fmla="*/ 39 w 409"/>
                <a:gd name="T79" fmla="*/ 473 h 746"/>
                <a:gd name="T80" fmla="*/ 79 w 409"/>
                <a:gd name="T81" fmla="*/ 436 h 746"/>
                <a:gd name="T82" fmla="*/ 71 w 409"/>
                <a:gd name="T83" fmla="*/ 349 h 746"/>
                <a:gd name="T84" fmla="*/ 67 w 409"/>
                <a:gd name="T85" fmla="*/ 271 h 746"/>
                <a:gd name="T86" fmla="*/ 94 w 409"/>
                <a:gd name="T87" fmla="*/ 239 h 746"/>
                <a:gd name="T88" fmla="*/ 88 w 409"/>
                <a:gd name="T89" fmla="*/ 219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09" h="746">
                  <a:moveTo>
                    <a:pt x="88" y="219"/>
                  </a:moveTo>
                  <a:cubicBezTo>
                    <a:pt x="104" y="214"/>
                    <a:pt x="104" y="214"/>
                    <a:pt x="104" y="214"/>
                  </a:cubicBezTo>
                  <a:cubicBezTo>
                    <a:pt x="134" y="218"/>
                    <a:pt x="134" y="218"/>
                    <a:pt x="134" y="218"/>
                  </a:cubicBezTo>
                  <a:cubicBezTo>
                    <a:pt x="134" y="202"/>
                    <a:pt x="134" y="202"/>
                    <a:pt x="134" y="202"/>
                  </a:cubicBezTo>
                  <a:cubicBezTo>
                    <a:pt x="173" y="207"/>
                    <a:pt x="173" y="207"/>
                    <a:pt x="173" y="207"/>
                  </a:cubicBezTo>
                  <a:cubicBezTo>
                    <a:pt x="186" y="188"/>
                    <a:pt x="186" y="188"/>
                    <a:pt x="186" y="188"/>
                  </a:cubicBezTo>
                  <a:cubicBezTo>
                    <a:pt x="216" y="193"/>
                    <a:pt x="216" y="193"/>
                    <a:pt x="216" y="193"/>
                  </a:cubicBezTo>
                  <a:cubicBezTo>
                    <a:pt x="214" y="172"/>
                    <a:pt x="214" y="172"/>
                    <a:pt x="214" y="172"/>
                  </a:cubicBezTo>
                  <a:cubicBezTo>
                    <a:pt x="223" y="150"/>
                    <a:pt x="223" y="150"/>
                    <a:pt x="223" y="150"/>
                  </a:cubicBezTo>
                  <a:cubicBezTo>
                    <a:pt x="225" y="172"/>
                    <a:pt x="225" y="172"/>
                    <a:pt x="225" y="172"/>
                  </a:cubicBezTo>
                  <a:cubicBezTo>
                    <a:pt x="230" y="186"/>
                    <a:pt x="230" y="186"/>
                    <a:pt x="230" y="186"/>
                  </a:cubicBezTo>
                  <a:cubicBezTo>
                    <a:pt x="239" y="159"/>
                    <a:pt x="239" y="159"/>
                    <a:pt x="239" y="159"/>
                  </a:cubicBezTo>
                  <a:cubicBezTo>
                    <a:pt x="239" y="159"/>
                    <a:pt x="237" y="129"/>
                    <a:pt x="244" y="124"/>
                  </a:cubicBezTo>
                  <a:cubicBezTo>
                    <a:pt x="251" y="118"/>
                    <a:pt x="255" y="138"/>
                    <a:pt x="255" y="138"/>
                  </a:cubicBezTo>
                  <a:cubicBezTo>
                    <a:pt x="255" y="138"/>
                    <a:pt x="260" y="136"/>
                    <a:pt x="269" y="126"/>
                  </a:cubicBezTo>
                  <a:cubicBezTo>
                    <a:pt x="278" y="115"/>
                    <a:pt x="264" y="95"/>
                    <a:pt x="271" y="88"/>
                  </a:cubicBezTo>
                  <a:cubicBezTo>
                    <a:pt x="278" y="81"/>
                    <a:pt x="288" y="88"/>
                    <a:pt x="288" y="88"/>
                  </a:cubicBezTo>
                  <a:cubicBezTo>
                    <a:pt x="288" y="88"/>
                    <a:pt x="306" y="74"/>
                    <a:pt x="312" y="62"/>
                  </a:cubicBezTo>
                  <a:cubicBezTo>
                    <a:pt x="317" y="49"/>
                    <a:pt x="315" y="26"/>
                    <a:pt x="315" y="26"/>
                  </a:cubicBezTo>
                  <a:cubicBezTo>
                    <a:pt x="336" y="0"/>
                    <a:pt x="336" y="0"/>
                    <a:pt x="336" y="0"/>
                  </a:cubicBezTo>
                  <a:cubicBezTo>
                    <a:pt x="372" y="41"/>
                    <a:pt x="372" y="41"/>
                    <a:pt x="372" y="41"/>
                  </a:cubicBezTo>
                  <a:cubicBezTo>
                    <a:pt x="372" y="41"/>
                    <a:pt x="372" y="51"/>
                    <a:pt x="372" y="56"/>
                  </a:cubicBezTo>
                  <a:cubicBezTo>
                    <a:pt x="372" y="62"/>
                    <a:pt x="395" y="110"/>
                    <a:pt x="395" y="110"/>
                  </a:cubicBezTo>
                  <a:cubicBezTo>
                    <a:pt x="382" y="143"/>
                    <a:pt x="382" y="143"/>
                    <a:pt x="382" y="143"/>
                  </a:cubicBezTo>
                  <a:cubicBezTo>
                    <a:pt x="382" y="143"/>
                    <a:pt x="409" y="188"/>
                    <a:pt x="402" y="193"/>
                  </a:cubicBezTo>
                  <a:cubicBezTo>
                    <a:pt x="395" y="198"/>
                    <a:pt x="375" y="188"/>
                    <a:pt x="375" y="188"/>
                  </a:cubicBezTo>
                  <a:cubicBezTo>
                    <a:pt x="354" y="193"/>
                    <a:pt x="354" y="193"/>
                    <a:pt x="354" y="193"/>
                  </a:cubicBezTo>
                  <a:cubicBezTo>
                    <a:pt x="358" y="221"/>
                    <a:pt x="358" y="221"/>
                    <a:pt x="358" y="221"/>
                  </a:cubicBezTo>
                  <a:cubicBezTo>
                    <a:pt x="358" y="221"/>
                    <a:pt x="335" y="245"/>
                    <a:pt x="333" y="259"/>
                  </a:cubicBezTo>
                  <a:cubicBezTo>
                    <a:pt x="331" y="273"/>
                    <a:pt x="345" y="287"/>
                    <a:pt x="338" y="312"/>
                  </a:cubicBezTo>
                  <a:cubicBezTo>
                    <a:pt x="331" y="336"/>
                    <a:pt x="306" y="409"/>
                    <a:pt x="267" y="478"/>
                  </a:cubicBezTo>
                  <a:cubicBezTo>
                    <a:pt x="228" y="547"/>
                    <a:pt x="211" y="609"/>
                    <a:pt x="211" y="609"/>
                  </a:cubicBezTo>
                  <a:cubicBezTo>
                    <a:pt x="211" y="609"/>
                    <a:pt x="214" y="653"/>
                    <a:pt x="189" y="676"/>
                  </a:cubicBezTo>
                  <a:cubicBezTo>
                    <a:pt x="165" y="699"/>
                    <a:pt x="156" y="708"/>
                    <a:pt x="149" y="712"/>
                  </a:cubicBezTo>
                  <a:cubicBezTo>
                    <a:pt x="141" y="715"/>
                    <a:pt x="133" y="710"/>
                    <a:pt x="133" y="710"/>
                  </a:cubicBezTo>
                  <a:cubicBezTo>
                    <a:pt x="133" y="710"/>
                    <a:pt x="90" y="746"/>
                    <a:pt x="60" y="717"/>
                  </a:cubicBezTo>
                  <a:cubicBezTo>
                    <a:pt x="30" y="689"/>
                    <a:pt x="28" y="675"/>
                    <a:pt x="28" y="675"/>
                  </a:cubicBezTo>
                  <a:cubicBezTo>
                    <a:pt x="41" y="659"/>
                    <a:pt x="41" y="659"/>
                    <a:pt x="41" y="659"/>
                  </a:cubicBezTo>
                  <a:cubicBezTo>
                    <a:pt x="41" y="659"/>
                    <a:pt x="10" y="622"/>
                    <a:pt x="5" y="556"/>
                  </a:cubicBezTo>
                  <a:cubicBezTo>
                    <a:pt x="0" y="490"/>
                    <a:pt x="23" y="492"/>
                    <a:pt x="39" y="473"/>
                  </a:cubicBezTo>
                  <a:cubicBezTo>
                    <a:pt x="55" y="453"/>
                    <a:pt x="79" y="436"/>
                    <a:pt x="79" y="436"/>
                  </a:cubicBezTo>
                  <a:cubicBezTo>
                    <a:pt x="79" y="436"/>
                    <a:pt x="72" y="370"/>
                    <a:pt x="71" y="349"/>
                  </a:cubicBezTo>
                  <a:cubicBezTo>
                    <a:pt x="69" y="327"/>
                    <a:pt x="53" y="283"/>
                    <a:pt x="67" y="271"/>
                  </a:cubicBezTo>
                  <a:cubicBezTo>
                    <a:pt x="81" y="259"/>
                    <a:pt x="94" y="239"/>
                    <a:pt x="94" y="239"/>
                  </a:cubicBezTo>
                  <a:lnTo>
                    <a:pt x="88" y="219"/>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45" name="Freeform 6"/>
            <p:cNvSpPr>
              <a:spLocks noEditPoints="1"/>
            </p:cNvSpPr>
            <p:nvPr/>
          </p:nvSpPr>
          <p:spPr bwMode="gray">
            <a:xfrm>
              <a:off x="2036763" y="3276600"/>
              <a:ext cx="276225" cy="103188"/>
            </a:xfrm>
            <a:custGeom>
              <a:avLst/>
              <a:gdLst>
                <a:gd name="T0" fmla="*/ 475 w 493"/>
                <a:gd name="T1" fmla="*/ 151 h 185"/>
                <a:gd name="T2" fmla="*/ 445 w 493"/>
                <a:gd name="T3" fmla="*/ 148 h 185"/>
                <a:gd name="T4" fmla="*/ 434 w 493"/>
                <a:gd name="T5" fmla="*/ 129 h 185"/>
                <a:gd name="T6" fmla="*/ 399 w 493"/>
                <a:gd name="T7" fmla="*/ 128 h 185"/>
                <a:gd name="T8" fmla="*/ 416 w 493"/>
                <a:gd name="T9" fmla="*/ 114 h 185"/>
                <a:gd name="T10" fmla="*/ 378 w 493"/>
                <a:gd name="T11" fmla="*/ 106 h 185"/>
                <a:gd name="T12" fmla="*/ 349 w 493"/>
                <a:gd name="T13" fmla="*/ 96 h 185"/>
                <a:gd name="T14" fmla="*/ 351 w 493"/>
                <a:gd name="T15" fmla="*/ 79 h 185"/>
                <a:gd name="T16" fmla="*/ 338 w 493"/>
                <a:gd name="T17" fmla="*/ 77 h 185"/>
                <a:gd name="T18" fmla="*/ 290 w 493"/>
                <a:gd name="T19" fmla="*/ 45 h 185"/>
                <a:gd name="T20" fmla="*/ 300 w 493"/>
                <a:gd name="T21" fmla="*/ 64 h 185"/>
                <a:gd name="T22" fmla="*/ 255 w 493"/>
                <a:gd name="T23" fmla="*/ 42 h 185"/>
                <a:gd name="T24" fmla="*/ 220 w 493"/>
                <a:gd name="T25" fmla="*/ 12 h 185"/>
                <a:gd name="T26" fmla="*/ 180 w 493"/>
                <a:gd name="T27" fmla="*/ 12 h 185"/>
                <a:gd name="T28" fmla="*/ 118 w 493"/>
                <a:gd name="T29" fmla="*/ 0 h 185"/>
                <a:gd name="T30" fmla="*/ 48 w 493"/>
                <a:gd name="T31" fmla="*/ 26 h 185"/>
                <a:gd name="T32" fmla="*/ 0 w 493"/>
                <a:gd name="T33" fmla="*/ 51 h 185"/>
                <a:gd name="T34" fmla="*/ 51 w 493"/>
                <a:gd name="T35" fmla="*/ 49 h 185"/>
                <a:gd name="T36" fmla="*/ 51 w 493"/>
                <a:gd name="T37" fmla="*/ 39 h 185"/>
                <a:gd name="T38" fmla="*/ 102 w 493"/>
                <a:gd name="T39" fmla="*/ 36 h 185"/>
                <a:gd name="T40" fmla="*/ 115 w 493"/>
                <a:gd name="T41" fmla="*/ 29 h 185"/>
                <a:gd name="T42" fmla="*/ 150 w 493"/>
                <a:gd name="T43" fmla="*/ 34 h 185"/>
                <a:gd name="T44" fmla="*/ 126 w 493"/>
                <a:gd name="T45" fmla="*/ 46 h 185"/>
                <a:gd name="T46" fmla="*/ 137 w 493"/>
                <a:gd name="T47" fmla="*/ 54 h 185"/>
                <a:gd name="T48" fmla="*/ 172 w 493"/>
                <a:gd name="T49" fmla="*/ 66 h 185"/>
                <a:gd name="T50" fmla="*/ 188 w 493"/>
                <a:gd name="T51" fmla="*/ 61 h 185"/>
                <a:gd name="T52" fmla="*/ 220 w 493"/>
                <a:gd name="T53" fmla="*/ 81 h 185"/>
                <a:gd name="T54" fmla="*/ 268 w 493"/>
                <a:gd name="T55" fmla="*/ 79 h 185"/>
                <a:gd name="T56" fmla="*/ 263 w 493"/>
                <a:gd name="T57" fmla="*/ 96 h 185"/>
                <a:gd name="T58" fmla="*/ 303 w 493"/>
                <a:gd name="T59" fmla="*/ 113 h 185"/>
                <a:gd name="T60" fmla="*/ 319 w 493"/>
                <a:gd name="T61" fmla="*/ 136 h 185"/>
                <a:gd name="T62" fmla="*/ 335 w 493"/>
                <a:gd name="T63" fmla="*/ 150 h 185"/>
                <a:gd name="T64" fmla="*/ 316 w 493"/>
                <a:gd name="T65" fmla="*/ 172 h 185"/>
                <a:gd name="T66" fmla="*/ 356 w 493"/>
                <a:gd name="T67" fmla="*/ 163 h 185"/>
                <a:gd name="T68" fmla="*/ 367 w 493"/>
                <a:gd name="T69" fmla="*/ 168 h 185"/>
                <a:gd name="T70" fmla="*/ 375 w 493"/>
                <a:gd name="T71" fmla="*/ 180 h 185"/>
                <a:gd name="T72" fmla="*/ 426 w 493"/>
                <a:gd name="T73" fmla="*/ 178 h 185"/>
                <a:gd name="T74" fmla="*/ 493 w 493"/>
                <a:gd name="T75" fmla="*/ 163 h 185"/>
                <a:gd name="T76" fmla="*/ 475 w 493"/>
                <a:gd name="T77" fmla="*/ 151 h 185"/>
                <a:gd name="T78" fmla="*/ 78 w 493"/>
                <a:gd name="T79" fmla="*/ 84 h 185"/>
                <a:gd name="T80" fmla="*/ 104 w 493"/>
                <a:gd name="T81" fmla="*/ 84 h 185"/>
                <a:gd name="T82" fmla="*/ 78 w 493"/>
                <a:gd name="T83" fmla="*/ 84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93" h="185">
                  <a:moveTo>
                    <a:pt x="475" y="151"/>
                  </a:moveTo>
                  <a:cubicBezTo>
                    <a:pt x="456" y="148"/>
                    <a:pt x="445" y="148"/>
                    <a:pt x="445" y="148"/>
                  </a:cubicBezTo>
                  <a:cubicBezTo>
                    <a:pt x="445" y="148"/>
                    <a:pt x="453" y="131"/>
                    <a:pt x="434" y="129"/>
                  </a:cubicBezTo>
                  <a:cubicBezTo>
                    <a:pt x="416" y="126"/>
                    <a:pt x="399" y="128"/>
                    <a:pt x="399" y="128"/>
                  </a:cubicBezTo>
                  <a:cubicBezTo>
                    <a:pt x="416" y="114"/>
                    <a:pt x="416" y="114"/>
                    <a:pt x="416" y="114"/>
                  </a:cubicBezTo>
                  <a:cubicBezTo>
                    <a:pt x="416" y="114"/>
                    <a:pt x="386" y="106"/>
                    <a:pt x="378" y="106"/>
                  </a:cubicBezTo>
                  <a:cubicBezTo>
                    <a:pt x="370" y="106"/>
                    <a:pt x="349" y="96"/>
                    <a:pt x="349" y="96"/>
                  </a:cubicBezTo>
                  <a:cubicBezTo>
                    <a:pt x="349" y="96"/>
                    <a:pt x="359" y="79"/>
                    <a:pt x="351" y="79"/>
                  </a:cubicBezTo>
                  <a:cubicBezTo>
                    <a:pt x="343" y="79"/>
                    <a:pt x="338" y="77"/>
                    <a:pt x="338" y="77"/>
                  </a:cubicBezTo>
                  <a:cubicBezTo>
                    <a:pt x="338" y="77"/>
                    <a:pt x="298" y="37"/>
                    <a:pt x="290" y="45"/>
                  </a:cubicBezTo>
                  <a:cubicBezTo>
                    <a:pt x="282" y="52"/>
                    <a:pt x="300" y="64"/>
                    <a:pt x="300" y="64"/>
                  </a:cubicBezTo>
                  <a:cubicBezTo>
                    <a:pt x="255" y="42"/>
                    <a:pt x="255" y="42"/>
                    <a:pt x="255" y="42"/>
                  </a:cubicBezTo>
                  <a:cubicBezTo>
                    <a:pt x="255" y="42"/>
                    <a:pt x="231" y="17"/>
                    <a:pt x="220" y="12"/>
                  </a:cubicBezTo>
                  <a:cubicBezTo>
                    <a:pt x="209" y="7"/>
                    <a:pt x="180" y="12"/>
                    <a:pt x="180" y="12"/>
                  </a:cubicBezTo>
                  <a:cubicBezTo>
                    <a:pt x="180" y="12"/>
                    <a:pt x="156" y="0"/>
                    <a:pt x="118" y="0"/>
                  </a:cubicBezTo>
                  <a:cubicBezTo>
                    <a:pt x="81" y="0"/>
                    <a:pt x="64" y="12"/>
                    <a:pt x="48" y="26"/>
                  </a:cubicBezTo>
                  <a:cubicBezTo>
                    <a:pt x="32" y="41"/>
                    <a:pt x="0" y="51"/>
                    <a:pt x="0" y="51"/>
                  </a:cubicBezTo>
                  <a:cubicBezTo>
                    <a:pt x="51" y="49"/>
                    <a:pt x="51" y="49"/>
                    <a:pt x="51" y="49"/>
                  </a:cubicBezTo>
                  <a:cubicBezTo>
                    <a:pt x="51" y="39"/>
                    <a:pt x="51" y="39"/>
                    <a:pt x="51" y="39"/>
                  </a:cubicBezTo>
                  <a:cubicBezTo>
                    <a:pt x="102" y="36"/>
                    <a:pt x="102" y="36"/>
                    <a:pt x="102" y="36"/>
                  </a:cubicBezTo>
                  <a:cubicBezTo>
                    <a:pt x="115" y="29"/>
                    <a:pt x="115" y="29"/>
                    <a:pt x="115" y="29"/>
                  </a:cubicBezTo>
                  <a:cubicBezTo>
                    <a:pt x="115" y="29"/>
                    <a:pt x="142" y="27"/>
                    <a:pt x="150" y="34"/>
                  </a:cubicBezTo>
                  <a:cubicBezTo>
                    <a:pt x="158" y="42"/>
                    <a:pt x="126" y="46"/>
                    <a:pt x="126" y="46"/>
                  </a:cubicBezTo>
                  <a:cubicBezTo>
                    <a:pt x="137" y="54"/>
                    <a:pt x="137" y="54"/>
                    <a:pt x="137" y="54"/>
                  </a:cubicBezTo>
                  <a:cubicBezTo>
                    <a:pt x="137" y="54"/>
                    <a:pt x="155" y="61"/>
                    <a:pt x="172" y="66"/>
                  </a:cubicBezTo>
                  <a:cubicBezTo>
                    <a:pt x="188" y="71"/>
                    <a:pt x="188" y="61"/>
                    <a:pt x="188" y="61"/>
                  </a:cubicBezTo>
                  <a:cubicBezTo>
                    <a:pt x="188" y="61"/>
                    <a:pt x="204" y="74"/>
                    <a:pt x="220" y="81"/>
                  </a:cubicBezTo>
                  <a:cubicBezTo>
                    <a:pt x="236" y="89"/>
                    <a:pt x="268" y="79"/>
                    <a:pt x="268" y="79"/>
                  </a:cubicBezTo>
                  <a:cubicBezTo>
                    <a:pt x="263" y="96"/>
                    <a:pt x="263" y="96"/>
                    <a:pt x="263" y="96"/>
                  </a:cubicBezTo>
                  <a:cubicBezTo>
                    <a:pt x="303" y="113"/>
                    <a:pt x="303" y="113"/>
                    <a:pt x="303" y="113"/>
                  </a:cubicBezTo>
                  <a:cubicBezTo>
                    <a:pt x="319" y="136"/>
                    <a:pt x="319" y="136"/>
                    <a:pt x="319" y="136"/>
                  </a:cubicBezTo>
                  <a:cubicBezTo>
                    <a:pt x="319" y="136"/>
                    <a:pt x="335" y="143"/>
                    <a:pt x="335" y="150"/>
                  </a:cubicBezTo>
                  <a:cubicBezTo>
                    <a:pt x="335" y="158"/>
                    <a:pt x="308" y="165"/>
                    <a:pt x="316" y="172"/>
                  </a:cubicBezTo>
                  <a:cubicBezTo>
                    <a:pt x="324" y="180"/>
                    <a:pt x="348" y="163"/>
                    <a:pt x="356" y="163"/>
                  </a:cubicBezTo>
                  <a:cubicBezTo>
                    <a:pt x="364" y="163"/>
                    <a:pt x="381" y="165"/>
                    <a:pt x="367" y="168"/>
                  </a:cubicBezTo>
                  <a:cubicBezTo>
                    <a:pt x="354" y="170"/>
                    <a:pt x="375" y="180"/>
                    <a:pt x="375" y="180"/>
                  </a:cubicBezTo>
                  <a:cubicBezTo>
                    <a:pt x="375" y="180"/>
                    <a:pt x="397" y="185"/>
                    <a:pt x="426" y="178"/>
                  </a:cubicBezTo>
                  <a:cubicBezTo>
                    <a:pt x="456" y="170"/>
                    <a:pt x="493" y="163"/>
                    <a:pt x="493" y="163"/>
                  </a:cubicBezTo>
                  <a:cubicBezTo>
                    <a:pt x="493" y="163"/>
                    <a:pt x="493" y="153"/>
                    <a:pt x="475" y="151"/>
                  </a:cubicBezTo>
                  <a:close/>
                  <a:moveTo>
                    <a:pt x="78" y="84"/>
                  </a:moveTo>
                  <a:cubicBezTo>
                    <a:pt x="75" y="97"/>
                    <a:pt x="102" y="99"/>
                    <a:pt x="104" y="84"/>
                  </a:cubicBezTo>
                  <a:cubicBezTo>
                    <a:pt x="107" y="70"/>
                    <a:pt x="78" y="84"/>
                    <a:pt x="78" y="84"/>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46" name="Freeform 7"/>
            <p:cNvSpPr>
              <a:spLocks/>
            </p:cNvSpPr>
            <p:nvPr/>
          </p:nvSpPr>
          <p:spPr bwMode="gray">
            <a:xfrm>
              <a:off x="2189163" y="3419475"/>
              <a:ext cx="60325" cy="23813"/>
            </a:xfrm>
            <a:custGeom>
              <a:avLst/>
              <a:gdLst>
                <a:gd name="T0" fmla="*/ 72 w 108"/>
                <a:gd name="T1" fmla="*/ 42 h 42"/>
                <a:gd name="T2" fmla="*/ 79 w 108"/>
                <a:gd name="T3" fmla="*/ 28 h 42"/>
                <a:gd name="T4" fmla="*/ 108 w 108"/>
                <a:gd name="T5" fmla="*/ 34 h 42"/>
                <a:gd name="T6" fmla="*/ 85 w 108"/>
                <a:gd name="T7" fmla="*/ 9 h 42"/>
                <a:gd name="T8" fmla="*/ 48 w 108"/>
                <a:gd name="T9" fmla="*/ 6 h 42"/>
                <a:gd name="T10" fmla="*/ 19 w 108"/>
                <a:gd name="T11" fmla="*/ 4 h 42"/>
                <a:gd name="T12" fmla="*/ 0 w 108"/>
                <a:gd name="T13" fmla="*/ 9 h 42"/>
                <a:gd name="T14" fmla="*/ 17 w 108"/>
                <a:gd name="T15" fmla="*/ 26 h 42"/>
                <a:gd name="T16" fmla="*/ 43 w 108"/>
                <a:gd name="T17" fmla="*/ 32 h 42"/>
                <a:gd name="T18" fmla="*/ 54 w 108"/>
                <a:gd name="T19" fmla="*/ 38 h 42"/>
                <a:gd name="T20" fmla="*/ 72 w 108"/>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42">
                  <a:moveTo>
                    <a:pt x="72" y="42"/>
                  </a:moveTo>
                  <a:cubicBezTo>
                    <a:pt x="79" y="28"/>
                    <a:pt x="79" y="28"/>
                    <a:pt x="79" y="28"/>
                  </a:cubicBezTo>
                  <a:cubicBezTo>
                    <a:pt x="108" y="34"/>
                    <a:pt x="108" y="34"/>
                    <a:pt x="108" y="34"/>
                  </a:cubicBezTo>
                  <a:cubicBezTo>
                    <a:pt x="108" y="34"/>
                    <a:pt x="95" y="9"/>
                    <a:pt x="85" y="9"/>
                  </a:cubicBezTo>
                  <a:cubicBezTo>
                    <a:pt x="75" y="9"/>
                    <a:pt x="58" y="7"/>
                    <a:pt x="48" y="6"/>
                  </a:cubicBezTo>
                  <a:cubicBezTo>
                    <a:pt x="37" y="4"/>
                    <a:pt x="27" y="0"/>
                    <a:pt x="19" y="4"/>
                  </a:cubicBezTo>
                  <a:cubicBezTo>
                    <a:pt x="11" y="7"/>
                    <a:pt x="0" y="9"/>
                    <a:pt x="0" y="9"/>
                  </a:cubicBezTo>
                  <a:cubicBezTo>
                    <a:pt x="0" y="9"/>
                    <a:pt x="8" y="20"/>
                    <a:pt x="17" y="26"/>
                  </a:cubicBezTo>
                  <a:cubicBezTo>
                    <a:pt x="25" y="32"/>
                    <a:pt x="43" y="32"/>
                    <a:pt x="43" y="32"/>
                  </a:cubicBezTo>
                  <a:cubicBezTo>
                    <a:pt x="54" y="38"/>
                    <a:pt x="54" y="38"/>
                    <a:pt x="54" y="38"/>
                  </a:cubicBezTo>
                  <a:lnTo>
                    <a:pt x="72" y="42"/>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47" name="Freeform 8"/>
            <p:cNvSpPr>
              <a:spLocks/>
            </p:cNvSpPr>
            <p:nvPr/>
          </p:nvSpPr>
          <p:spPr bwMode="gray">
            <a:xfrm>
              <a:off x="2486025" y="3421063"/>
              <a:ext cx="53975" cy="22225"/>
            </a:xfrm>
            <a:custGeom>
              <a:avLst/>
              <a:gdLst>
                <a:gd name="T0" fmla="*/ 60 w 97"/>
                <a:gd name="T1" fmla="*/ 9 h 40"/>
                <a:gd name="T2" fmla="*/ 15 w 97"/>
                <a:gd name="T3" fmla="*/ 0 h 40"/>
                <a:gd name="T4" fmla="*/ 2 w 97"/>
                <a:gd name="T5" fmla="*/ 32 h 40"/>
                <a:gd name="T6" fmla="*/ 27 w 97"/>
                <a:gd name="T7" fmla="*/ 40 h 40"/>
                <a:gd name="T8" fmla="*/ 33 w 97"/>
                <a:gd name="T9" fmla="*/ 34 h 40"/>
                <a:gd name="T10" fmla="*/ 64 w 97"/>
                <a:gd name="T11" fmla="*/ 34 h 40"/>
                <a:gd name="T12" fmla="*/ 95 w 97"/>
                <a:gd name="T13" fmla="*/ 10 h 40"/>
                <a:gd name="T14" fmla="*/ 60 w 97"/>
                <a:gd name="T15" fmla="*/ 9 h 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7" h="40">
                  <a:moveTo>
                    <a:pt x="60" y="9"/>
                  </a:moveTo>
                  <a:cubicBezTo>
                    <a:pt x="52" y="9"/>
                    <a:pt x="29" y="0"/>
                    <a:pt x="15" y="0"/>
                  </a:cubicBezTo>
                  <a:cubicBezTo>
                    <a:pt x="0" y="0"/>
                    <a:pt x="2" y="32"/>
                    <a:pt x="2" y="32"/>
                  </a:cubicBezTo>
                  <a:cubicBezTo>
                    <a:pt x="27" y="40"/>
                    <a:pt x="27" y="40"/>
                    <a:pt x="27" y="40"/>
                  </a:cubicBezTo>
                  <a:cubicBezTo>
                    <a:pt x="33" y="34"/>
                    <a:pt x="33" y="34"/>
                    <a:pt x="33" y="34"/>
                  </a:cubicBezTo>
                  <a:cubicBezTo>
                    <a:pt x="33" y="34"/>
                    <a:pt x="48" y="36"/>
                    <a:pt x="64" y="34"/>
                  </a:cubicBezTo>
                  <a:cubicBezTo>
                    <a:pt x="81" y="32"/>
                    <a:pt x="97" y="17"/>
                    <a:pt x="95" y="10"/>
                  </a:cubicBezTo>
                  <a:cubicBezTo>
                    <a:pt x="93" y="2"/>
                    <a:pt x="68" y="10"/>
                    <a:pt x="60" y="9"/>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48" name="Freeform 9"/>
            <p:cNvSpPr>
              <a:spLocks/>
            </p:cNvSpPr>
            <p:nvPr/>
          </p:nvSpPr>
          <p:spPr bwMode="gray">
            <a:xfrm>
              <a:off x="2879725" y="2432050"/>
              <a:ext cx="163512" cy="146050"/>
            </a:xfrm>
            <a:custGeom>
              <a:avLst/>
              <a:gdLst>
                <a:gd name="T0" fmla="*/ 180 w 291"/>
                <a:gd name="T1" fmla="*/ 17 h 260"/>
                <a:gd name="T2" fmla="*/ 226 w 291"/>
                <a:gd name="T3" fmla="*/ 5 h 260"/>
                <a:gd name="T4" fmla="*/ 229 w 291"/>
                <a:gd name="T5" fmla="*/ 20 h 260"/>
                <a:gd name="T6" fmla="*/ 215 w 291"/>
                <a:gd name="T7" fmla="*/ 29 h 260"/>
                <a:gd name="T8" fmla="*/ 198 w 291"/>
                <a:gd name="T9" fmla="*/ 60 h 260"/>
                <a:gd name="T10" fmla="*/ 171 w 291"/>
                <a:gd name="T11" fmla="*/ 72 h 260"/>
                <a:gd name="T12" fmla="*/ 147 w 291"/>
                <a:gd name="T13" fmla="*/ 101 h 260"/>
                <a:gd name="T14" fmla="*/ 145 w 291"/>
                <a:gd name="T15" fmla="*/ 119 h 260"/>
                <a:gd name="T16" fmla="*/ 162 w 291"/>
                <a:gd name="T17" fmla="*/ 106 h 260"/>
                <a:gd name="T18" fmla="*/ 180 w 291"/>
                <a:gd name="T19" fmla="*/ 76 h 260"/>
                <a:gd name="T20" fmla="*/ 194 w 291"/>
                <a:gd name="T21" fmla="*/ 88 h 260"/>
                <a:gd name="T22" fmla="*/ 210 w 291"/>
                <a:gd name="T23" fmla="*/ 94 h 260"/>
                <a:gd name="T24" fmla="*/ 202 w 291"/>
                <a:gd name="T25" fmla="*/ 115 h 260"/>
                <a:gd name="T26" fmla="*/ 222 w 291"/>
                <a:gd name="T27" fmla="*/ 113 h 260"/>
                <a:gd name="T28" fmla="*/ 228 w 291"/>
                <a:gd name="T29" fmla="*/ 132 h 260"/>
                <a:gd name="T30" fmla="*/ 262 w 291"/>
                <a:gd name="T31" fmla="*/ 111 h 260"/>
                <a:gd name="T32" fmla="*/ 275 w 291"/>
                <a:gd name="T33" fmla="*/ 120 h 260"/>
                <a:gd name="T34" fmla="*/ 256 w 291"/>
                <a:gd name="T35" fmla="*/ 138 h 260"/>
                <a:gd name="T36" fmla="*/ 280 w 291"/>
                <a:gd name="T37" fmla="*/ 144 h 260"/>
                <a:gd name="T38" fmla="*/ 242 w 291"/>
                <a:gd name="T39" fmla="*/ 197 h 260"/>
                <a:gd name="T40" fmla="*/ 266 w 291"/>
                <a:gd name="T41" fmla="*/ 198 h 260"/>
                <a:gd name="T42" fmla="*/ 244 w 291"/>
                <a:gd name="T43" fmla="*/ 212 h 260"/>
                <a:gd name="T44" fmla="*/ 264 w 291"/>
                <a:gd name="T45" fmla="*/ 213 h 260"/>
                <a:gd name="T46" fmla="*/ 286 w 291"/>
                <a:gd name="T47" fmla="*/ 204 h 260"/>
                <a:gd name="T48" fmla="*/ 291 w 291"/>
                <a:gd name="T49" fmla="*/ 219 h 260"/>
                <a:gd name="T50" fmla="*/ 244 w 291"/>
                <a:gd name="T51" fmla="*/ 260 h 260"/>
                <a:gd name="T52" fmla="*/ 216 w 291"/>
                <a:gd name="T53" fmla="*/ 256 h 260"/>
                <a:gd name="T54" fmla="*/ 232 w 291"/>
                <a:gd name="T55" fmla="*/ 240 h 260"/>
                <a:gd name="T56" fmla="*/ 210 w 291"/>
                <a:gd name="T57" fmla="*/ 242 h 260"/>
                <a:gd name="T58" fmla="*/ 205 w 291"/>
                <a:gd name="T59" fmla="*/ 237 h 260"/>
                <a:gd name="T60" fmla="*/ 158 w 291"/>
                <a:gd name="T61" fmla="*/ 243 h 260"/>
                <a:gd name="T62" fmla="*/ 133 w 291"/>
                <a:gd name="T63" fmla="*/ 239 h 260"/>
                <a:gd name="T64" fmla="*/ 131 w 291"/>
                <a:gd name="T65" fmla="*/ 236 h 260"/>
                <a:gd name="T66" fmla="*/ 159 w 291"/>
                <a:gd name="T67" fmla="*/ 228 h 260"/>
                <a:gd name="T68" fmla="*/ 152 w 291"/>
                <a:gd name="T69" fmla="*/ 217 h 260"/>
                <a:gd name="T70" fmla="*/ 64 w 291"/>
                <a:gd name="T71" fmla="*/ 199 h 260"/>
                <a:gd name="T72" fmla="*/ 12 w 291"/>
                <a:gd name="T73" fmla="*/ 201 h 260"/>
                <a:gd name="T74" fmla="*/ 34 w 291"/>
                <a:gd name="T75" fmla="*/ 186 h 260"/>
                <a:gd name="T76" fmla="*/ 8 w 291"/>
                <a:gd name="T77" fmla="*/ 176 h 260"/>
                <a:gd name="T78" fmla="*/ 50 w 291"/>
                <a:gd name="T79" fmla="*/ 153 h 260"/>
                <a:gd name="T80" fmla="*/ 106 w 291"/>
                <a:gd name="T81" fmla="*/ 101 h 260"/>
                <a:gd name="T82" fmla="*/ 143 w 291"/>
                <a:gd name="T83" fmla="*/ 65 h 260"/>
                <a:gd name="T84" fmla="*/ 180 w 291"/>
                <a:gd name="T85" fmla="*/ 17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91" h="260">
                  <a:moveTo>
                    <a:pt x="180" y="17"/>
                  </a:moveTo>
                  <a:cubicBezTo>
                    <a:pt x="180" y="17"/>
                    <a:pt x="209" y="0"/>
                    <a:pt x="226" y="5"/>
                  </a:cubicBezTo>
                  <a:cubicBezTo>
                    <a:pt x="244" y="10"/>
                    <a:pt x="229" y="20"/>
                    <a:pt x="229" y="20"/>
                  </a:cubicBezTo>
                  <a:cubicBezTo>
                    <a:pt x="215" y="29"/>
                    <a:pt x="215" y="29"/>
                    <a:pt x="215" y="29"/>
                  </a:cubicBezTo>
                  <a:cubicBezTo>
                    <a:pt x="215" y="29"/>
                    <a:pt x="210" y="49"/>
                    <a:pt x="198" y="60"/>
                  </a:cubicBezTo>
                  <a:cubicBezTo>
                    <a:pt x="186" y="71"/>
                    <a:pt x="171" y="72"/>
                    <a:pt x="171" y="72"/>
                  </a:cubicBezTo>
                  <a:cubicBezTo>
                    <a:pt x="147" y="101"/>
                    <a:pt x="147" y="101"/>
                    <a:pt x="147" y="101"/>
                  </a:cubicBezTo>
                  <a:cubicBezTo>
                    <a:pt x="145" y="119"/>
                    <a:pt x="145" y="119"/>
                    <a:pt x="145" y="119"/>
                  </a:cubicBezTo>
                  <a:cubicBezTo>
                    <a:pt x="162" y="106"/>
                    <a:pt x="162" y="106"/>
                    <a:pt x="162" y="106"/>
                  </a:cubicBezTo>
                  <a:cubicBezTo>
                    <a:pt x="180" y="76"/>
                    <a:pt x="180" y="76"/>
                    <a:pt x="180" y="76"/>
                  </a:cubicBezTo>
                  <a:cubicBezTo>
                    <a:pt x="194" y="88"/>
                    <a:pt x="194" y="88"/>
                    <a:pt x="194" y="88"/>
                  </a:cubicBezTo>
                  <a:cubicBezTo>
                    <a:pt x="210" y="94"/>
                    <a:pt x="210" y="94"/>
                    <a:pt x="210" y="94"/>
                  </a:cubicBezTo>
                  <a:cubicBezTo>
                    <a:pt x="202" y="115"/>
                    <a:pt x="202" y="115"/>
                    <a:pt x="202" y="115"/>
                  </a:cubicBezTo>
                  <a:cubicBezTo>
                    <a:pt x="222" y="113"/>
                    <a:pt x="222" y="113"/>
                    <a:pt x="222" y="113"/>
                  </a:cubicBezTo>
                  <a:cubicBezTo>
                    <a:pt x="228" y="132"/>
                    <a:pt x="228" y="132"/>
                    <a:pt x="228" y="132"/>
                  </a:cubicBezTo>
                  <a:cubicBezTo>
                    <a:pt x="262" y="111"/>
                    <a:pt x="262" y="111"/>
                    <a:pt x="262" y="111"/>
                  </a:cubicBezTo>
                  <a:cubicBezTo>
                    <a:pt x="275" y="120"/>
                    <a:pt x="275" y="120"/>
                    <a:pt x="275" y="120"/>
                  </a:cubicBezTo>
                  <a:cubicBezTo>
                    <a:pt x="275" y="120"/>
                    <a:pt x="265" y="135"/>
                    <a:pt x="256" y="138"/>
                  </a:cubicBezTo>
                  <a:cubicBezTo>
                    <a:pt x="248" y="141"/>
                    <a:pt x="274" y="144"/>
                    <a:pt x="280" y="144"/>
                  </a:cubicBezTo>
                  <a:cubicBezTo>
                    <a:pt x="286" y="145"/>
                    <a:pt x="242" y="197"/>
                    <a:pt x="242" y="197"/>
                  </a:cubicBezTo>
                  <a:cubicBezTo>
                    <a:pt x="266" y="198"/>
                    <a:pt x="266" y="198"/>
                    <a:pt x="266" y="198"/>
                  </a:cubicBezTo>
                  <a:cubicBezTo>
                    <a:pt x="244" y="212"/>
                    <a:pt x="244" y="212"/>
                    <a:pt x="244" y="212"/>
                  </a:cubicBezTo>
                  <a:cubicBezTo>
                    <a:pt x="264" y="213"/>
                    <a:pt x="264" y="213"/>
                    <a:pt x="264" y="213"/>
                  </a:cubicBezTo>
                  <a:cubicBezTo>
                    <a:pt x="286" y="204"/>
                    <a:pt x="286" y="204"/>
                    <a:pt x="286" y="204"/>
                  </a:cubicBezTo>
                  <a:cubicBezTo>
                    <a:pt x="291" y="219"/>
                    <a:pt x="291" y="219"/>
                    <a:pt x="291" y="219"/>
                  </a:cubicBezTo>
                  <a:cubicBezTo>
                    <a:pt x="244" y="260"/>
                    <a:pt x="244" y="260"/>
                    <a:pt x="244" y="260"/>
                  </a:cubicBezTo>
                  <a:cubicBezTo>
                    <a:pt x="216" y="256"/>
                    <a:pt x="216" y="256"/>
                    <a:pt x="216" y="256"/>
                  </a:cubicBezTo>
                  <a:cubicBezTo>
                    <a:pt x="232" y="240"/>
                    <a:pt x="232" y="240"/>
                    <a:pt x="232" y="240"/>
                  </a:cubicBezTo>
                  <a:cubicBezTo>
                    <a:pt x="210" y="242"/>
                    <a:pt x="210" y="242"/>
                    <a:pt x="210" y="242"/>
                  </a:cubicBezTo>
                  <a:cubicBezTo>
                    <a:pt x="205" y="237"/>
                    <a:pt x="205" y="237"/>
                    <a:pt x="205" y="237"/>
                  </a:cubicBezTo>
                  <a:cubicBezTo>
                    <a:pt x="158" y="243"/>
                    <a:pt x="158" y="243"/>
                    <a:pt x="158" y="243"/>
                  </a:cubicBezTo>
                  <a:cubicBezTo>
                    <a:pt x="133" y="239"/>
                    <a:pt x="133" y="239"/>
                    <a:pt x="133" y="239"/>
                  </a:cubicBezTo>
                  <a:cubicBezTo>
                    <a:pt x="131" y="236"/>
                    <a:pt x="131" y="236"/>
                    <a:pt x="131" y="236"/>
                  </a:cubicBezTo>
                  <a:cubicBezTo>
                    <a:pt x="159" y="228"/>
                    <a:pt x="159" y="228"/>
                    <a:pt x="159" y="228"/>
                  </a:cubicBezTo>
                  <a:cubicBezTo>
                    <a:pt x="159" y="228"/>
                    <a:pt x="168" y="217"/>
                    <a:pt x="152" y="217"/>
                  </a:cubicBezTo>
                  <a:cubicBezTo>
                    <a:pt x="136" y="216"/>
                    <a:pt x="64" y="199"/>
                    <a:pt x="64" y="199"/>
                  </a:cubicBezTo>
                  <a:cubicBezTo>
                    <a:pt x="64" y="199"/>
                    <a:pt x="24" y="213"/>
                    <a:pt x="12" y="201"/>
                  </a:cubicBezTo>
                  <a:cubicBezTo>
                    <a:pt x="0" y="189"/>
                    <a:pt x="34" y="186"/>
                    <a:pt x="34" y="186"/>
                  </a:cubicBezTo>
                  <a:cubicBezTo>
                    <a:pt x="34" y="186"/>
                    <a:pt x="6" y="183"/>
                    <a:pt x="8" y="176"/>
                  </a:cubicBezTo>
                  <a:cubicBezTo>
                    <a:pt x="10" y="170"/>
                    <a:pt x="50" y="153"/>
                    <a:pt x="50" y="153"/>
                  </a:cubicBezTo>
                  <a:cubicBezTo>
                    <a:pt x="106" y="101"/>
                    <a:pt x="106" y="101"/>
                    <a:pt x="106" y="101"/>
                  </a:cubicBezTo>
                  <a:cubicBezTo>
                    <a:pt x="143" y="65"/>
                    <a:pt x="143" y="65"/>
                    <a:pt x="143" y="65"/>
                  </a:cubicBezTo>
                  <a:lnTo>
                    <a:pt x="180" y="17"/>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49" name="Freeform 10"/>
            <p:cNvSpPr>
              <a:spLocks/>
            </p:cNvSpPr>
            <p:nvPr/>
          </p:nvSpPr>
          <p:spPr bwMode="gray">
            <a:xfrm>
              <a:off x="1865313" y="3541713"/>
              <a:ext cx="65087" cy="41275"/>
            </a:xfrm>
            <a:custGeom>
              <a:avLst/>
              <a:gdLst>
                <a:gd name="T0" fmla="*/ 116 w 117"/>
                <a:gd name="T1" fmla="*/ 57 h 74"/>
                <a:gd name="T2" fmla="*/ 115 w 117"/>
                <a:gd name="T3" fmla="*/ 28 h 74"/>
                <a:gd name="T4" fmla="*/ 100 w 117"/>
                <a:gd name="T5" fmla="*/ 26 h 74"/>
                <a:gd name="T6" fmla="*/ 84 w 117"/>
                <a:gd name="T7" fmla="*/ 32 h 74"/>
                <a:gd name="T8" fmla="*/ 76 w 117"/>
                <a:gd name="T9" fmla="*/ 16 h 74"/>
                <a:gd name="T10" fmla="*/ 61 w 117"/>
                <a:gd name="T11" fmla="*/ 16 h 74"/>
                <a:gd name="T12" fmla="*/ 48 w 117"/>
                <a:gd name="T13" fmla="*/ 0 h 74"/>
                <a:gd name="T14" fmla="*/ 33 w 117"/>
                <a:gd name="T15" fmla="*/ 4 h 74"/>
                <a:gd name="T16" fmla="*/ 32 w 117"/>
                <a:gd name="T17" fmla="*/ 12 h 74"/>
                <a:gd name="T18" fmla="*/ 19 w 117"/>
                <a:gd name="T19" fmla="*/ 24 h 74"/>
                <a:gd name="T20" fmla="*/ 0 w 117"/>
                <a:gd name="T21" fmla="*/ 39 h 74"/>
                <a:gd name="T22" fmla="*/ 20 w 117"/>
                <a:gd name="T23" fmla="*/ 52 h 74"/>
                <a:gd name="T24" fmla="*/ 48 w 117"/>
                <a:gd name="T25" fmla="*/ 53 h 74"/>
                <a:gd name="T26" fmla="*/ 64 w 117"/>
                <a:gd name="T27" fmla="*/ 66 h 74"/>
                <a:gd name="T28" fmla="*/ 86 w 117"/>
                <a:gd name="T29" fmla="*/ 64 h 74"/>
                <a:gd name="T30" fmla="*/ 98 w 117"/>
                <a:gd name="T31" fmla="*/ 74 h 74"/>
                <a:gd name="T32" fmla="*/ 110 w 117"/>
                <a:gd name="T33" fmla="*/ 55 h 74"/>
                <a:gd name="T34" fmla="*/ 117 w 117"/>
                <a:gd name="T35" fmla="*/ 57 h 74"/>
                <a:gd name="T36" fmla="*/ 116 w 117"/>
                <a:gd name="T37" fmla="*/ 57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7" h="74">
                  <a:moveTo>
                    <a:pt x="116" y="57"/>
                  </a:moveTo>
                  <a:cubicBezTo>
                    <a:pt x="115" y="28"/>
                    <a:pt x="115" y="28"/>
                    <a:pt x="115" y="28"/>
                  </a:cubicBezTo>
                  <a:cubicBezTo>
                    <a:pt x="115" y="28"/>
                    <a:pt x="105" y="27"/>
                    <a:pt x="100" y="26"/>
                  </a:cubicBezTo>
                  <a:cubicBezTo>
                    <a:pt x="95" y="25"/>
                    <a:pt x="93" y="30"/>
                    <a:pt x="84" y="32"/>
                  </a:cubicBezTo>
                  <a:cubicBezTo>
                    <a:pt x="75" y="34"/>
                    <a:pt x="76" y="16"/>
                    <a:pt x="76" y="16"/>
                  </a:cubicBezTo>
                  <a:cubicBezTo>
                    <a:pt x="76" y="16"/>
                    <a:pt x="70" y="16"/>
                    <a:pt x="61" y="16"/>
                  </a:cubicBezTo>
                  <a:cubicBezTo>
                    <a:pt x="54" y="16"/>
                    <a:pt x="50" y="5"/>
                    <a:pt x="48" y="0"/>
                  </a:cubicBezTo>
                  <a:cubicBezTo>
                    <a:pt x="41" y="3"/>
                    <a:pt x="33" y="4"/>
                    <a:pt x="33" y="4"/>
                  </a:cubicBezTo>
                  <a:cubicBezTo>
                    <a:pt x="32" y="12"/>
                    <a:pt x="32" y="12"/>
                    <a:pt x="32" y="12"/>
                  </a:cubicBezTo>
                  <a:cubicBezTo>
                    <a:pt x="32" y="12"/>
                    <a:pt x="27" y="22"/>
                    <a:pt x="19" y="24"/>
                  </a:cubicBezTo>
                  <a:cubicBezTo>
                    <a:pt x="13" y="25"/>
                    <a:pt x="5" y="34"/>
                    <a:pt x="0" y="39"/>
                  </a:cubicBezTo>
                  <a:cubicBezTo>
                    <a:pt x="7" y="44"/>
                    <a:pt x="16" y="50"/>
                    <a:pt x="20" y="52"/>
                  </a:cubicBezTo>
                  <a:cubicBezTo>
                    <a:pt x="28" y="55"/>
                    <a:pt x="48" y="53"/>
                    <a:pt x="48" y="53"/>
                  </a:cubicBezTo>
                  <a:cubicBezTo>
                    <a:pt x="64" y="66"/>
                    <a:pt x="64" y="66"/>
                    <a:pt x="64" y="66"/>
                  </a:cubicBezTo>
                  <a:cubicBezTo>
                    <a:pt x="86" y="64"/>
                    <a:pt x="86" y="64"/>
                    <a:pt x="86" y="64"/>
                  </a:cubicBezTo>
                  <a:cubicBezTo>
                    <a:pt x="98" y="74"/>
                    <a:pt x="98" y="74"/>
                    <a:pt x="98" y="74"/>
                  </a:cubicBezTo>
                  <a:cubicBezTo>
                    <a:pt x="110" y="55"/>
                    <a:pt x="110" y="55"/>
                    <a:pt x="110" y="55"/>
                  </a:cubicBezTo>
                  <a:cubicBezTo>
                    <a:pt x="117" y="57"/>
                    <a:pt x="117" y="57"/>
                    <a:pt x="117" y="57"/>
                  </a:cubicBezTo>
                  <a:lnTo>
                    <a:pt x="116" y="57"/>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50" name="Freeform 11"/>
            <p:cNvSpPr>
              <a:spLocks/>
            </p:cNvSpPr>
            <p:nvPr/>
          </p:nvSpPr>
          <p:spPr bwMode="gray">
            <a:xfrm>
              <a:off x="1898650" y="3419475"/>
              <a:ext cx="41275" cy="77788"/>
            </a:xfrm>
            <a:custGeom>
              <a:avLst/>
              <a:gdLst>
                <a:gd name="T0" fmla="*/ 72 w 72"/>
                <a:gd name="T1" fmla="*/ 22 h 140"/>
                <a:gd name="T2" fmla="*/ 54 w 72"/>
                <a:gd name="T3" fmla="*/ 11 h 140"/>
                <a:gd name="T4" fmla="*/ 51 w 72"/>
                <a:gd name="T5" fmla="*/ 0 h 140"/>
                <a:gd name="T6" fmla="*/ 33 w 72"/>
                <a:gd name="T7" fmla="*/ 33 h 140"/>
                <a:gd name="T8" fmla="*/ 23 w 72"/>
                <a:gd name="T9" fmla="*/ 26 h 140"/>
                <a:gd name="T10" fmla="*/ 16 w 72"/>
                <a:gd name="T11" fmla="*/ 36 h 140"/>
                <a:gd name="T12" fmla="*/ 0 w 72"/>
                <a:gd name="T13" fmla="*/ 140 h 140"/>
                <a:gd name="T14" fmla="*/ 18 w 72"/>
                <a:gd name="T15" fmla="*/ 140 h 140"/>
                <a:gd name="T16" fmla="*/ 28 w 72"/>
                <a:gd name="T17" fmla="*/ 114 h 140"/>
                <a:gd name="T18" fmla="*/ 39 w 72"/>
                <a:gd name="T19" fmla="*/ 118 h 140"/>
                <a:gd name="T20" fmla="*/ 55 w 72"/>
                <a:gd name="T21" fmla="*/ 93 h 140"/>
                <a:gd name="T22" fmla="*/ 55 w 72"/>
                <a:gd name="T23" fmla="*/ 60 h 140"/>
                <a:gd name="T24" fmla="*/ 72 w 72"/>
                <a:gd name="T25" fmla="*/ 22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2" h="140">
                  <a:moveTo>
                    <a:pt x="72" y="22"/>
                  </a:moveTo>
                  <a:cubicBezTo>
                    <a:pt x="72" y="17"/>
                    <a:pt x="54" y="11"/>
                    <a:pt x="54" y="11"/>
                  </a:cubicBezTo>
                  <a:cubicBezTo>
                    <a:pt x="51" y="0"/>
                    <a:pt x="51" y="0"/>
                    <a:pt x="51" y="0"/>
                  </a:cubicBezTo>
                  <a:cubicBezTo>
                    <a:pt x="51" y="0"/>
                    <a:pt x="44" y="32"/>
                    <a:pt x="33" y="33"/>
                  </a:cubicBezTo>
                  <a:cubicBezTo>
                    <a:pt x="22" y="34"/>
                    <a:pt x="28" y="26"/>
                    <a:pt x="23" y="26"/>
                  </a:cubicBezTo>
                  <a:cubicBezTo>
                    <a:pt x="18" y="26"/>
                    <a:pt x="16" y="36"/>
                    <a:pt x="16" y="36"/>
                  </a:cubicBezTo>
                  <a:cubicBezTo>
                    <a:pt x="0" y="140"/>
                    <a:pt x="0" y="140"/>
                    <a:pt x="0" y="140"/>
                  </a:cubicBezTo>
                  <a:cubicBezTo>
                    <a:pt x="18" y="140"/>
                    <a:pt x="18" y="140"/>
                    <a:pt x="18" y="140"/>
                  </a:cubicBezTo>
                  <a:cubicBezTo>
                    <a:pt x="28" y="114"/>
                    <a:pt x="28" y="114"/>
                    <a:pt x="28" y="114"/>
                  </a:cubicBezTo>
                  <a:cubicBezTo>
                    <a:pt x="39" y="118"/>
                    <a:pt x="39" y="118"/>
                    <a:pt x="39" y="118"/>
                  </a:cubicBezTo>
                  <a:cubicBezTo>
                    <a:pt x="39" y="118"/>
                    <a:pt x="55" y="104"/>
                    <a:pt x="55" y="93"/>
                  </a:cubicBezTo>
                  <a:cubicBezTo>
                    <a:pt x="55" y="82"/>
                    <a:pt x="51" y="70"/>
                    <a:pt x="55" y="60"/>
                  </a:cubicBezTo>
                  <a:cubicBezTo>
                    <a:pt x="59" y="50"/>
                    <a:pt x="72" y="27"/>
                    <a:pt x="72" y="22"/>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51" name="Freeform 12"/>
            <p:cNvSpPr>
              <a:spLocks/>
            </p:cNvSpPr>
            <p:nvPr/>
          </p:nvSpPr>
          <p:spPr bwMode="gray">
            <a:xfrm>
              <a:off x="1814513" y="3438525"/>
              <a:ext cx="111125" cy="123825"/>
            </a:xfrm>
            <a:custGeom>
              <a:avLst/>
              <a:gdLst>
                <a:gd name="T0" fmla="*/ 190 w 199"/>
                <a:gd name="T1" fmla="*/ 103 h 222"/>
                <a:gd name="T2" fmla="*/ 179 w 199"/>
                <a:gd name="T3" fmla="*/ 110 h 222"/>
                <a:gd name="T4" fmla="*/ 170 w 199"/>
                <a:gd name="T5" fmla="*/ 105 h 222"/>
                <a:gd name="T6" fmla="*/ 152 w 199"/>
                <a:gd name="T7" fmla="*/ 105 h 222"/>
                <a:gd name="T8" fmla="*/ 168 w 199"/>
                <a:gd name="T9" fmla="*/ 1 h 222"/>
                <a:gd name="T10" fmla="*/ 81 w 199"/>
                <a:gd name="T11" fmla="*/ 0 h 222"/>
                <a:gd name="T12" fmla="*/ 82 w 199"/>
                <a:gd name="T13" fmla="*/ 30 h 222"/>
                <a:gd name="T14" fmla="*/ 54 w 199"/>
                <a:gd name="T15" fmla="*/ 34 h 222"/>
                <a:gd name="T16" fmla="*/ 64 w 199"/>
                <a:gd name="T17" fmla="*/ 38 h 222"/>
                <a:gd name="T18" fmla="*/ 75 w 199"/>
                <a:gd name="T19" fmla="*/ 56 h 222"/>
                <a:gd name="T20" fmla="*/ 87 w 199"/>
                <a:gd name="T21" fmla="*/ 57 h 222"/>
                <a:gd name="T22" fmla="*/ 91 w 199"/>
                <a:gd name="T23" fmla="*/ 73 h 222"/>
                <a:gd name="T24" fmla="*/ 103 w 199"/>
                <a:gd name="T25" fmla="*/ 79 h 222"/>
                <a:gd name="T26" fmla="*/ 94 w 199"/>
                <a:gd name="T27" fmla="*/ 86 h 222"/>
                <a:gd name="T28" fmla="*/ 94 w 199"/>
                <a:gd name="T29" fmla="*/ 97 h 222"/>
                <a:gd name="T30" fmla="*/ 35 w 199"/>
                <a:gd name="T31" fmla="*/ 96 h 222"/>
                <a:gd name="T32" fmla="*/ 14 w 199"/>
                <a:gd name="T33" fmla="*/ 127 h 222"/>
                <a:gd name="T34" fmla="*/ 14 w 199"/>
                <a:gd name="T35" fmla="*/ 165 h 222"/>
                <a:gd name="T36" fmla="*/ 0 w 199"/>
                <a:gd name="T37" fmla="*/ 179 h 222"/>
                <a:gd name="T38" fmla="*/ 14 w 199"/>
                <a:gd name="T39" fmla="*/ 192 h 222"/>
                <a:gd name="T40" fmla="*/ 47 w 199"/>
                <a:gd name="T41" fmla="*/ 213 h 222"/>
                <a:gd name="T42" fmla="*/ 80 w 199"/>
                <a:gd name="T43" fmla="*/ 213 h 222"/>
                <a:gd name="T44" fmla="*/ 92 w 199"/>
                <a:gd name="T45" fmla="*/ 222 h 222"/>
                <a:gd name="T46" fmla="*/ 111 w 199"/>
                <a:gd name="T47" fmla="*/ 207 h 222"/>
                <a:gd name="T48" fmla="*/ 124 w 199"/>
                <a:gd name="T49" fmla="*/ 195 h 222"/>
                <a:gd name="T50" fmla="*/ 125 w 199"/>
                <a:gd name="T51" fmla="*/ 187 h 222"/>
                <a:gd name="T52" fmla="*/ 149 w 199"/>
                <a:gd name="T53" fmla="*/ 176 h 222"/>
                <a:gd name="T54" fmla="*/ 151 w 199"/>
                <a:gd name="T55" fmla="*/ 155 h 222"/>
                <a:gd name="T56" fmla="*/ 179 w 199"/>
                <a:gd name="T57" fmla="*/ 131 h 222"/>
                <a:gd name="T58" fmla="*/ 199 w 199"/>
                <a:gd name="T59" fmla="*/ 112 h 222"/>
                <a:gd name="T60" fmla="*/ 190 w 199"/>
                <a:gd name="T61" fmla="*/ 103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99" h="222">
                  <a:moveTo>
                    <a:pt x="190" y="103"/>
                  </a:moveTo>
                  <a:cubicBezTo>
                    <a:pt x="179" y="110"/>
                    <a:pt x="179" y="110"/>
                    <a:pt x="179" y="110"/>
                  </a:cubicBezTo>
                  <a:cubicBezTo>
                    <a:pt x="170" y="105"/>
                    <a:pt x="170" y="105"/>
                    <a:pt x="170" y="105"/>
                  </a:cubicBezTo>
                  <a:cubicBezTo>
                    <a:pt x="152" y="105"/>
                    <a:pt x="152" y="105"/>
                    <a:pt x="152" y="105"/>
                  </a:cubicBezTo>
                  <a:cubicBezTo>
                    <a:pt x="168" y="1"/>
                    <a:pt x="168" y="1"/>
                    <a:pt x="168" y="1"/>
                  </a:cubicBezTo>
                  <a:cubicBezTo>
                    <a:pt x="81" y="0"/>
                    <a:pt x="81" y="0"/>
                    <a:pt x="81" y="0"/>
                  </a:cubicBezTo>
                  <a:cubicBezTo>
                    <a:pt x="81" y="0"/>
                    <a:pt x="84" y="24"/>
                    <a:pt x="82" y="30"/>
                  </a:cubicBezTo>
                  <a:cubicBezTo>
                    <a:pt x="80" y="36"/>
                    <a:pt x="54" y="34"/>
                    <a:pt x="54" y="34"/>
                  </a:cubicBezTo>
                  <a:cubicBezTo>
                    <a:pt x="64" y="38"/>
                    <a:pt x="64" y="38"/>
                    <a:pt x="64" y="38"/>
                  </a:cubicBezTo>
                  <a:cubicBezTo>
                    <a:pt x="64" y="38"/>
                    <a:pt x="65" y="54"/>
                    <a:pt x="75" y="56"/>
                  </a:cubicBezTo>
                  <a:cubicBezTo>
                    <a:pt x="85" y="58"/>
                    <a:pt x="87" y="57"/>
                    <a:pt x="87" y="57"/>
                  </a:cubicBezTo>
                  <a:cubicBezTo>
                    <a:pt x="91" y="73"/>
                    <a:pt x="91" y="73"/>
                    <a:pt x="91" y="73"/>
                  </a:cubicBezTo>
                  <a:cubicBezTo>
                    <a:pt x="91" y="73"/>
                    <a:pt x="103" y="69"/>
                    <a:pt x="103" y="79"/>
                  </a:cubicBezTo>
                  <a:cubicBezTo>
                    <a:pt x="103" y="89"/>
                    <a:pt x="94" y="86"/>
                    <a:pt x="94" y="86"/>
                  </a:cubicBezTo>
                  <a:cubicBezTo>
                    <a:pt x="94" y="97"/>
                    <a:pt x="94" y="97"/>
                    <a:pt x="94" y="97"/>
                  </a:cubicBezTo>
                  <a:cubicBezTo>
                    <a:pt x="35" y="96"/>
                    <a:pt x="35" y="96"/>
                    <a:pt x="35" y="96"/>
                  </a:cubicBezTo>
                  <a:cubicBezTo>
                    <a:pt x="14" y="127"/>
                    <a:pt x="14" y="127"/>
                    <a:pt x="14" y="127"/>
                  </a:cubicBezTo>
                  <a:cubicBezTo>
                    <a:pt x="14" y="127"/>
                    <a:pt x="14" y="149"/>
                    <a:pt x="14" y="165"/>
                  </a:cubicBezTo>
                  <a:cubicBezTo>
                    <a:pt x="14" y="181"/>
                    <a:pt x="0" y="179"/>
                    <a:pt x="0" y="179"/>
                  </a:cubicBezTo>
                  <a:cubicBezTo>
                    <a:pt x="3" y="185"/>
                    <a:pt x="7" y="189"/>
                    <a:pt x="14" y="192"/>
                  </a:cubicBezTo>
                  <a:cubicBezTo>
                    <a:pt x="33" y="199"/>
                    <a:pt x="36" y="209"/>
                    <a:pt x="47" y="213"/>
                  </a:cubicBezTo>
                  <a:cubicBezTo>
                    <a:pt x="58" y="217"/>
                    <a:pt x="80" y="213"/>
                    <a:pt x="80" y="213"/>
                  </a:cubicBezTo>
                  <a:cubicBezTo>
                    <a:pt x="80" y="213"/>
                    <a:pt x="86" y="217"/>
                    <a:pt x="92" y="222"/>
                  </a:cubicBezTo>
                  <a:cubicBezTo>
                    <a:pt x="97" y="217"/>
                    <a:pt x="105" y="208"/>
                    <a:pt x="111" y="207"/>
                  </a:cubicBezTo>
                  <a:cubicBezTo>
                    <a:pt x="119" y="205"/>
                    <a:pt x="124" y="195"/>
                    <a:pt x="124" y="195"/>
                  </a:cubicBezTo>
                  <a:cubicBezTo>
                    <a:pt x="125" y="187"/>
                    <a:pt x="125" y="187"/>
                    <a:pt x="125" y="187"/>
                  </a:cubicBezTo>
                  <a:cubicBezTo>
                    <a:pt x="125" y="187"/>
                    <a:pt x="146" y="185"/>
                    <a:pt x="149" y="176"/>
                  </a:cubicBezTo>
                  <a:cubicBezTo>
                    <a:pt x="152" y="167"/>
                    <a:pt x="151" y="155"/>
                    <a:pt x="151" y="155"/>
                  </a:cubicBezTo>
                  <a:cubicBezTo>
                    <a:pt x="151" y="155"/>
                    <a:pt x="164" y="139"/>
                    <a:pt x="179" y="131"/>
                  </a:cubicBezTo>
                  <a:cubicBezTo>
                    <a:pt x="194" y="123"/>
                    <a:pt x="199" y="112"/>
                    <a:pt x="199" y="112"/>
                  </a:cubicBezTo>
                  <a:lnTo>
                    <a:pt x="190" y="103"/>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52" name="Freeform 13"/>
            <p:cNvSpPr>
              <a:spLocks/>
            </p:cNvSpPr>
            <p:nvPr/>
          </p:nvSpPr>
          <p:spPr bwMode="gray">
            <a:xfrm>
              <a:off x="1292225" y="2994025"/>
              <a:ext cx="696912" cy="546100"/>
            </a:xfrm>
            <a:custGeom>
              <a:avLst/>
              <a:gdLst>
                <a:gd name="T0" fmla="*/ 968 w 1247"/>
                <a:gd name="T1" fmla="*/ 891 h 976"/>
                <a:gd name="T2" fmla="*/ 1036 w 1247"/>
                <a:gd name="T3" fmla="*/ 874 h 976"/>
                <a:gd name="T4" fmla="*/ 1008 w 1247"/>
                <a:gd name="T5" fmla="*/ 851 h 976"/>
                <a:gd name="T6" fmla="*/ 1015 w 1247"/>
                <a:gd name="T7" fmla="*/ 825 h 976"/>
                <a:gd name="T8" fmla="*/ 1108 w 1247"/>
                <a:gd name="T9" fmla="*/ 786 h 976"/>
                <a:gd name="T10" fmla="*/ 1139 w 1247"/>
                <a:gd name="T11" fmla="*/ 771 h 976"/>
                <a:gd name="T12" fmla="*/ 1162 w 1247"/>
                <a:gd name="T13" fmla="*/ 767 h 976"/>
                <a:gd name="T14" fmla="*/ 1182 w 1247"/>
                <a:gd name="T15" fmla="*/ 717 h 976"/>
                <a:gd name="T16" fmla="*/ 1184 w 1247"/>
                <a:gd name="T17" fmla="*/ 701 h 976"/>
                <a:gd name="T18" fmla="*/ 1234 w 1247"/>
                <a:gd name="T19" fmla="*/ 632 h 976"/>
                <a:gd name="T20" fmla="*/ 1172 w 1247"/>
                <a:gd name="T21" fmla="*/ 594 h 976"/>
                <a:gd name="T22" fmla="*/ 1060 w 1247"/>
                <a:gd name="T23" fmla="*/ 655 h 976"/>
                <a:gd name="T24" fmla="*/ 1043 w 1247"/>
                <a:gd name="T25" fmla="*/ 716 h 976"/>
                <a:gd name="T26" fmla="*/ 974 w 1247"/>
                <a:gd name="T27" fmla="*/ 749 h 976"/>
                <a:gd name="T28" fmla="*/ 836 w 1247"/>
                <a:gd name="T29" fmla="*/ 753 h 976"/>
                <a:gd name="T30" fmla="*/ 777 w 1247"/>
                <a:gd name="T31" fmla="*/ 708 h 976"/>
                <a:gd name="T32" fmla="*/ 750 w 1247"/>
                <a:gd name="T33" fmla="*/ 616 h 976"/>
                <a:gd name="T34" fmla="*/ 752 w 1247"/>
                <a:gd name="T35" fmla="*/ 507 h 976"/>
                <a:gd name="T36" fmla="*/ 768 w 1247"/>
                <a:gd name="T37" fmla="*/ 434 h 976"/>
                <a:gd name="T38" fmla="*/ 806 w 1247"/>
                <a:gd name="T39" fmla="*/ 364 h 976"/>
                <a:gd name="T40" fmla="*/ 780 w 1247"/>
                <a:gd name="T41" fmla="*/ 355 h 976"/>
                <a:gd name="T42" fmla="*/ 720 w 1247"/>
                <a:gd name="T43" fmla="*/ 332 h 976"/>
                <a:gd name="T44" fmla="*/ 714 w 1247"/>
                <a:gd name="T45" fmla="*/ 280 h 976"/>
                <a:gd name="T46" fmla="*/ 700 w 1247"/>
                <a:gd name="T47" fmla="*/ 241 h 976"/>
                <a:gd name="T48" fmla="*/ 661 w 1247"/>
                <a:gd name="T49" fmla="*/ 154 h 976"/>
                <a:gd name="T50" fmla="*/ 621 w 1247"/>
                <a:gd name="T51" fmla="*/ 154 h 976"/>
                <a:gd name="T52" fmla="*/ 519 w 1247"/>
                <a:gd name="T53" fmla="*/ 161 h 976"/>
                <a:gd name="T54" fmla="*/ 491 w 1247"/>
                <a:gd name="T55" fmla="*/ 76 h 976"/>
                <a:gd name="T56" fmla="*/ 390 w 1247"/>
                <a:gd name="T57" fmla="*/ 45 h 976"/>
                <a:gd name="T58" fmla="*/ 378 w 1247"/>
                <a:gd name="T59" fmla="*/ 72 h 976"/>
                <a:gd name="T60" fmla="*/ 106 w 1247"/>
                <a:gd name="T61" fmla="*/ 0 h 976"/>
                <a:gd name="T62" fmla="*/ 0 w 1247"/>
                <a:gd name="T63" fmla="*/ 25 h 976"/>
                <a:gd name="T64" fmla="*/ 10 w 1247"/>
                <a:gd name="T65" fmla="*/ 76 h 976"/>
                <a:gd name="T66" fmla="*/ 5 w 1247"/>
                <a:gd name="T67" fmla="*/ 117 h 976"/>
                <a:gd name="T68" fmla="*/ 42 w 1247"/>
                <a:gd name="T69" fmla="*/ 176 h 976"/>
                <a:gd name="T70" fmla="*/ 58 w 1247"/>
                <a:gd name="T71" fmla="*/ 267 h 976"/>
                <a:gd name="T72" fmla="*/ 7 w 1247"/>
                <a:gd name="T73" fmla="*/ 261 h 976"/>
                <a:gd name="T74" fmla="*/ 43 w 1247"/>
                <a:gd name="T75" fmla="*/ 296 h 976"/>
                <a:gd name="T76" fmla="*/ 91 w 1247"/>
                <a:gd name="T77" fmla="*/ 337 h 976"/>
                <a:gd name="T78" fmla="*/ 142 w 1247"/>
                <a:gd name="T79" fmla="*/ 459 h 976"/>
                <a:gd name="T80" fmla="*/ 210 w 1247"/>
                <a:gd name="T81" fmla="*/ 506 h 976"/>
                <a:gd name="T82" fmla="*/ 172 w 1247"/>
                <a:gd name="T83" fmla="*/ 452 h 976"/>
                <a:gd name="T84" fmla="*/ 162 w 1247"/>
                <a:gd name="T85" fmla="*/ 387 h 976"/>
                <a:gd name="T86" fmla="*/ 131 w 1247"/>
                <a:gd name="T87" fmla="*/ 319 h 976"/>
                <a:gd name="T88" fmla="*/ 116 w 1247"/>
                <a:gd name="T89" fmla="*/ 227 h 976"/>
                <a:gd name="T90" fmla="*/ 66 w 1247"/>
                <a:gd name="T91" fmla="*/ 128 h 976"/>
                <a:gd name="T92" fmla="*/ 84 w 1247"/>
                <a:gd name="T93" fmla="*/ 42 h 976"/>
                <a:gd name="T94" fmla="*/ 138 w 1247"/>
                <a:gd name="T95" fmla="*/ 73 h 976"/>
                <a:gd name="T96" fmla="*/ 160 w 1247"/>
                <a:gd name="T97" fmla="*/ 180 h 976"/>
                <a:gd name="T98" fmla="*/ 208 w 1247"/>
                <a:gd name="T99" fmla="*/ 284 h 976"/>
                <a:gd name="T100" fmla="*/ 257 w 1247"/>
                <a:gd name="T101" fmla="*/ 318 h 976"/>
                <a:gd name="T102" fmla="*/ 255 w 1247"/>
                <a:gd name="T103" fmla="*/ 375 h 976"/>
                <a:gd name="T104" fmla="*/ 294 w 1247"/>
                <a:gd name="T105" fmla="*/ 418 h 976"/>
                <a:gd name="T106" fmla="*/ 313 w 1247"/>
                <a:gd name="T107" fmla="*/ 456 h 976"/>
                <a:gd name="T108" fmla="*/ 371 w 1247"/>
                <a:gd name="T109" fmla="*/ 575 h 976"/>
                <a:gd name="T110" fmla="*/ 375 w 1247"/>
                <a:gd name="T111" fmla="*/ 645 h 976"/>
                <a:gd name="T112" fmla="*/ 423 w 1247"/>
                <a:gd name="T113" fmla="*/ 740 h 976"/>
                <a:gd name="T114" fmla="*/ 556 w 1247"/>
                <a:gd name="T115" fmla="*/ 838 h 976"/>
                <a:gd name="T116" fmla="*/ 677 w 1247"/>
                <a:gd name="T117" fmla="*/ 899 h 976"/>
                <a:gd name="T118" fmla="*/ 840 w 1247"/>
                <a:gd name="T119" fmla="*/ 878 h 976"/>
                <a:gd name="T120" fmla="*/ 947 w 1247"/>
                <a:gd name="T121" fmla="*/ 960 h 9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47" h="976">
                  <a:moveTo>
                    <a:pt x="947" y="960"/>
                  </a:moveTo>
                  <a:cubicBezTo>
                    <a:pt x="947" y="944"/>
                    <a:pt x="947" y="922"/>
                    <a:pt x="947" y="922"/>
                  </a:cubicBezTo>
                  <a:cubicBezTo>
                    <a:pt x="968" y="891"/>
                    <a:pt x="968" y="891"/>
                    <a:pt x="968" y="891"/>
                  </a:cubicBezTo>
                  <a:cubicBezTo>
                    <a:pt x="1027" y="892"/>
                    <a:pt x="1027" y="892"/>
                    <a:pt x="1027" y="892"/>
                  </a:cubicBezTo>
                  <a:cubicBezTo>
                    <a:pt x="1027" y="881"/>
                    <a:pt x="1027" y="881"/>
                    <a:pt x="1027" y="881"/>
                  </a:cubicBezTo>
                  <a:cubicBezTo>
                    <a:pt x="1027" y="881"/>
                    <a:pt x="1036" y="884"/>
                    <a:pt x="1036" y="874"/>
                  </a:cubicBezTo>
                  <a:cubicBezTo>
                    <a:pt x="1036" y="864"/>
                    <a:pt x="1024" y="868"/>
                    <a:pt x="1024" y="868"/>
                  </a:cubicBezTo>
                  <a:cubicBezTo>
                    <a:pt x="1020" y="852"/>
                    <a:pt x="1020" y="852"/>
                    <a:pt x="1020" y="852"/>
                  </a:cubicBezTo>
                  <a:cubicBezTo>
                    <a:pt x="1020" y="852"/>
                    <a:pt x="1018" y="853"/>
                    <a:pt x="1008" y="851"/>
                  </a:cubicBezTo>
                  <a:cubicBezTo>
                    <a:pt x="998" y="849"/>
                    <a:pt x="997" y="833"/>
                    <a:pt x="997" y="833"/>
                  </a:cubicBezTo>
                  <a:cubicBezTo>
                    <a:pt x="987" y="829"/>
                    <a:pt x="987" y="829"/>
                    <a:pt x="987" y="829"/>
                  </a:cubicBezTo>
                  <a:cubicBezTo>
                    <a:pt x="987" y="829"/>
                    <a:pt x="1013" y="831"/>
                    <a:pt x="1015" y="825"/>
                  </a:cubicBezTo>
                  <a:cubicBezTo>
                    <a:pt x="1017" y="819"/>
                    <a:pt x="1014" y="795"/>
                    <a:pt x="1014" y="795"/>
                  </a:cubicBezTo>
                  <a:cubicBezTo>
                    <a:pt x="1101" y="796"/>
                    <a:pt x="1101" y="796"/>
                    <a:pt x="1101" y="796"/>
                  </a:cubicBezTo>
                  <a:cubicBezTo>
                    <a:pt x="1101" y="796"/>
                    <a:pt x="1103" y="786"/>
                    <a:pt x="1108" y="786"/>
                  </a:cubicBezTo>
                  <a:cubicBezTo>
                    <a:pt x="1113" y="786"/>
                    <a:pt x="1107" y="794"/>
                    <a:pt x="1118" y="793"/>
                  </a:cubicBezTo>
                  <a:cubicBezTo>
                    <a:pt x="1129" y="792"/>
                    <a:pt x="1136" y="760"/>
                    <a:pt x="1136" y="760"/>
                  </a:cubicBezTo>
                  <a:cubicBezTo>
                    <a:pt x="1139" y="771"/>
                    <a:pt x="1139" y="771"/>
                    <a:pt x="1139" y="771"/>
                  </a:cubicBezTo>
                  <a:cubicBezTo>
                    <a:pt x="1150" y="761"/>
                    <a:pt x="1150" y="761"/>
                    <a:pt x="1150" y="761"/>
                  </a:cubicBezTo>
                  <a:cubicBezTo>
                    <a:pt x="1164" y="745"/>
                    <a:pt x="1164" y="745"/>
                    <a:pt x="1164" y="745"/>
                  </a:cubicBezTo>
                  <a:cubicBezTo>
                    <a:pt x="1164" y="745"/>
                    <a:pt x="1158" y="764"/>
                    <a:pt x="1162" y="767"/>
                  </a:cubicBezTo>
                  <a:cubicBezTo>
                    <a:pt x="1166" y="770"/>
                    <a:pt x="1173" y="770"/>
                    <a:pt x="1173" y="770"/>
                  </a:cubicBezTo>
                  <a:cubicBezTo>
                    <a:pt x="1188" y="725"/>
                    <a:pt x="1188" y="725"/>
                    <a:pt x="1188" y="725"/>
                  </a:cubicBezTo>
                  <a:cubicBezTo>
                    <a:pt x="1182" y="717"/>
                    <a:pt x="1182" y="717"/>
                    <a:pt x="1182" y="717"/>
                  </a:cubicBezTo>
                  <a:cubicBezTo>
                    <a:pt x="1195" y="713"/>
                    <a:pt x="1195" y="713"/>
                    <a:pt x="1195" y="713"/>
                  </a:cubicBezTo>
                  <a:cubicBezTo>
                    <a:pt x="1196" y="705"/>
                    <a:pt x="1196" y="705"/>
                    <a:pt x="1196" y="705"/>
                  </a:cubicBezTo>
                  <a:cubicBezTo>
                    <a:pt x="1184" y="701"/>
                    <a:pt x="1184" y="701"/>
                    <a:pt x="1184" y="701"/>
                  </a:cubicBezTo>
                  <a:cubicBezTo>
                    <a:pt x="1196" y="688"/>
                    <a:pt x="1196" y="688"/>
                    <a:pt x="1196" y="688"/>
                  </a:cubicBezTo>
                  <a:cubicBezTo>
                    <a:pt x="1200" y="672"/>
                    <a:pt x="1200" y="672"/>
                    <a:pt x="1200" y="672"/>
                  </a:cubicBezTo>
                  <a:cubicBezTo>
                    <a:pt x="1200" y="672"/>
                    <a:pt x="1230" y="641"/>
                    <a:pt x="1234" y="632"/>
                  </a:cubicBezTo>
                  <a:cubicBezTo>
                    <a:pt x="1238" y="623"/>
                    <a:pt x="1247" y="600"/>
                    <a:pt x="1236" y="597"/>
                  </a:cubicBezTo>
                  <a:cubicBezTo>
                    <a:pt x="1225" y="594"/>
                    <a:pt x="1203" y="601"/>
                    <a:pt x="1203" y="601"/>
                  </a:cubicBezTo>
                  <a:cubicBezTo>
                    <a:pt x="1203" y="601"/>
                    <a:pt x="1179" y="594"/>
                    <a:pt x="1172" y="594"/>
                  </a:cubicBezTo>
                  <a:cubicBezTo>
                    <a:pt x="1165" y="594"/>
                    <a:pt x="1137" y="602"/>
                    <a:pt x="1123" y="606"/>
                  </a:cubicBezTo>
                  <a:cubicBezTo>
                    <a:pt x="1109" y="610"/>
                    <a:pt x="1084" y="606"/>
                    <a:pt x="1078" y="612"/>
                  </a:cubicBezTo>
                  <a:cubicBezTo>
                    <a:pt x="1072" y="618"/>
                    <a:pt x="1061" y="639"/>
                    <a:pt x="1060" y="655"/>
                  </a:cubicBezTo>
                  <a:cubicBezTo>
                    <a:pt x="1059" y="671"/>
                    <a:pt x="1059" y="686"/>
                    <a:pt x="1059" y="686"/>
                  </a:cubicBezTo>
                  <a:cubicBezTo>
                    <a:pt x="1049" y="690"/>
                    <a:pt x="1049" y="690"/>
                    <a:pt x="1049" y="690"/>
                  </a:cubicBezTo>
                  <a:cubicBezTo>
                    <a:pt x="1049" y="690"/>
                    <a:pt x="1049" y="710"/>
                    <a:pt x="1043" y="716"/>
                  </a:cubicBezTo>
                  <a:cubicBezTo>
                    <a:pt x="1037" y="722"/>
                    <a:pt x="1016" y="728"/>
                    <a:pt x="1011" y="737"/>
                  </a:cubicBezTo>
                  <a:cubicBezTo>
                    <a:pt x="1006" y="746"/>
                    <a:pt x="1009" y="765"/>
                    <a:pt x="996" y="766"/>
                  </a:cubicBezTo>
                  <a:cubicBezTo>
                    <a:pt x="983" y="767"/>
                    <a:pt x="990" y="749"/>
                    <a:pt x="974" y="749"/>
                  </a:cubicBezTo>
                  <a:cubicBezTo>
                    <a:pt x="958" y="749"/>
                    <a:pt x="932" y="761"/>
                    <a:pt x="912" y="761"/>
                  </a:cubicBezTo>
                  <a:cubicBezTo>
                    <a:pt x="892" y="761"/>
                    <a:pt x="864" y="784"/>
                    <a:pt x="855" y="780"/>
                  </a:cubicBezTo>
                  <a:cubicBezTo>
                    <a:pt x="846" y="776"/>
                    <a:pt x="847" y="755"/>
                    <a:pt x="836" y="753"/>
                  </a:cubicBezTo>
                  <a:cubicBezTo>
                    <a:pt x="825" y="751"/>
                    <a:pt x="797" y="748"/>
                    <a:pt x="797" y="748"/>
                  </a:cubicBezTo>
                  <a:cubicBezTo>
                    <a:pt x="797" y="748"/>
                    <a:pt x="795" y="731"/>
                    <a:pt x="790" y="724"/>
                  </a:cubicBezTo>
                  <a:cubicBezTo>
                    <a:pt x="785" y="717"/>
                    <a:pt x="777" y="708"/>
                    <a:pt x="777" y="708"/>
                  </a:cubicBezTo>
                  <a:cubicBezTo>
                    <a:pt x="777" y="685"/>
                    <a:pt x="777" y="685"/>
                    <a:pt x="777" y="685"/>
                  </a:cubicBezTo>
                  <a:cubicBezTo>
                    <a:pt x="751" y="644"/>
                    <a:pt x="751" y="644"/>
                    <a:pt x="751" y="644"/>
                  </a:cubicBezTo>
                  <a:cubicBezTo>
                    <a:pt x="750" y="616"/>
                    <a:pt x="750" y="616"/>
                    <a:pt x="750" y="616"/>
                  </a:cubicBezTo>
                  <a:cubicBezTo>
                    <a:pt x="739" y="596"/>
                    <a:pt x="739" y="596"/>
                    <a:pt x="739" y="596"/>
                  </a:cubicBezTo>
                  <a:cubicBezTo>
                    <a:pt x="736" y="539"/>
                    <a:pt x="736" y="539"/>
                    <a:pt x="736" y="539"/>
                  </a:cubicBezTo>
                  <a:cubicBezTo>
                    <a:pt x="736" y="539"/>
                    <a:pt x="752" y="518"/>
                    <a:pt x="752" y="507"/>
                  </a:cubicBezTo>
                  <a:cubicBezTo>
                    <a:pt x="752" y="496"/>
                    <a:pt x="754" y="466"/>
                    <a:pt x="754" y="466"/>
                  </a:cubicBezTo>
                  <a:cubicBezTo>
                    <a:pt x="752" y="439"/>
                    <a:pt x="752" y="439"/>
                    <a:pt x="752" y="439"/>
                  </a:cubicBezTo>
                  <a:cubicBezTo>
                    <a:pt x="768" y="434"/>
                    <a:pt x="768" y="434"/>
                    <a:pt x="768" y="434"/>
                  </a:cubicBezTo>
                  <a:cubicBezTo>
                    <a:pt x="768" y="434"/>
                    <a:pt x="767" y="394"/>
                    <a:pt x="775" y="392"/>
                  </a:cubicBezTo>
                  <a:cubicBezTo>
                    <a:pt x="783" y="390"/>
                    <a:pt x="791" y="401"/>
                    <a:pt x="793" y="392"/>
                  </a:cubicBezTo>
                  <a:cubicBezTo>
                    <a:pt x="795" y="383"/>
                    <a:pt x="806" y="364"/>
                    <a:pt x="806" y="364"/>
                  </a:cubicBezTo>
                  <a:cubicBezTo>
                    <a:pt x="806" y="363"/>
                    <a:pt x="806" y="363"/>
                    <a:pt x="806" y="363"/>
                  </a:cubicBezTo>
                  <a:cubicBezTo>
                    <a:pt x="803" y="364"/>
                    <a:pt x="799" y="365"/>
                    <a:pt x="794" y="365"/>
                  </a:cubicBezTo>
                  <a:cubicBezTo>
                    <a:pt x="783" y="365"/>
                    <a:pt x="785" y="355"/>
                    <a:pt x="780" y="355"/>
                  </a:cubicBezTo>
                  <a:cubicBezTo>
                    <a:pt x="775" y="355"/>
                    <a:pt x="756" y="355"/>
                    <a:pt x="756" y="355"/>
                  </a:cubicBezTo>
                  <a:cubicBezTo>
                    <a:pt x="750" y="344"/>
                    <a:pt x="750" y="344"/>
                    <a:pt x="750" y="344"/>
                  </a:cubicBezTo>
                  <a:cubicBezTo>
                    <a:pt x="750" y="344"/>
                    <a:pt x="720" y="343"/>
                    <a:pt x="720" y="332"/>
                  </a:cubicBezTo>
                  <a:cubicBezTo>
                    <a:pt x="720" y="321"/>
                    <a:pt x="722" y="313"/>
                    <a:pt x="722" y="313"/>
                  </a:cubicBezTo>
                  <a:cubicBezTo>
                    <a:pt x="714" y="307"/>
                    <a:pt x="714" y="307"/>
                    <a:pt x="714" y="307"/>
                  </a:cubicBezTo>
                  <a:cubicBezTo>
                    <a:pt x="714" y="280"/>
                    <a:pt x="714" y="280"/>
                    <a:pt x="714" y="280"/>
                  </a:cubicBezTo>
                  <a:cubicBezTo>
                    <a:pt x="714" y="280"/>
                    <a:pt x="724" y="277"/>
                    <a:pt x="717" y="270"/>
                  </a:cubicBezTo>
                  <a:cubicBezTo>
                    <a:pt x="710" y="263"/>
                    <a:pt x="701" y="262"/>
                    <a:pt x="701" y="254"/>
                  </a:cubicBezTo>
                  <a:cubicBezTo>
                    <a:pt x="701" y="247"/>
                    <a:pt x="700" y="241"/>
                    <a:pt x="700" y="241"/>
                  </a:cubicBezTo>
                  <a:cubicBezTo>
                    <a:pt x="700" y="241"/>
                    <a:pt x="689" y="234"/>
                    <a:pt x="689" y="225"/>
                  </a:cubicBezTo>
                  <a:cubicBezTo>
                    <a:pt x="689" y="216"/>
                    <a:pt x="697" y="201"/>
                    <a:pt x="689" y="193"/>
                  </a:cubicBezTo>
                  <a:cubicBezTo>
                    <a:pt x="681" y="185"/>
                    <a:pt x="661" y="154"/>
                    <a:pt x="661" y="154"/>
                  </a:cubicBezTo>
                  <a:cubicBezTo>
                    <a:pt x="632" y="153"/>
                    <a:pt x="632" y="153"/>
                    <a:pt x="632" y="153"/>
                  </a:cubicBezTo>
                  <a:cubicBezTo>
                    <a:pt x="622" y="148"/>
                    <a:pt x="622" y="148"/>
                    <a:pt x="622" y="148"/>
                  </a:cubicBezTo>
                  <a:cubicBezTo>
                    <a:pt x="621" y="154"/>
                    <a:pt x="621" y="154"/>
                    <a:pt x="621" y="154"/>
                  </a:cubicBezTo>
                  <a:cubicBezTo>
                    <a:pt x="621" y="154"/>
                    <a:pt x="609" y="153"/>
                    <a:pt x="605" y="157"/>
                  </a:cubicBezTo>
                  <a:cubicBezTo>
                    <a:pt x="601" y="161"/>
                    <a:pt x="588" y="195"/>
                    <a:pt x="569" y="195"/>
                  </a:cubicBezTo>
                  <a:cubicBezTo>
                    <a:pt x="550" y="195"/>
                    <a:pt x="519" y="161"/>
                    <a:pt x="519" y="161"/>
                  </a:cubicBezTo>
                  <a:cubicBezTo>
                    <a:pt x="519" y="161"/>
                    <a:pt x="529" y="119"/>
                    <a:pt x="519" y="109"/>
                  </a:cubicBezTo>
                  <a:cubicBezTo>
                    <a:pt x="508" y="98"/>
                    <a:pt x="497" y="97"/>
                    <a:pt x="497" y="97"/>
                  </a:cubicBezTo>
                  <a:cubicBezTo>
                    <a:pt x="491" y="76"/>
                    <a:pt x="491" y="76"/>
                    <a:pt x="491" y="76"/>
                  </a:cubicBezTo>
                  <a:cubicBezTo>
                    <a:pt x="473" y="68"/>
                    <a:pt x="473" y="68"/>
                    <a:pt x="473" y="68"/>
                  </a:cubicBezTo>
                  <a:cubicBezTo>
                    <a:pt x="473" y="68"/>
                    <a:pt x="478" y="60"/>
                    <a:pt x="463" y="45"/>
                  </a:cubicBezTo>
                  <a:cubicBezTo>
                    <a:pt x="390" y="45"/>
                    <a:pt x="390" y="45"/>
                    <a:pt x="390" y="45"/>
                  </a:cubicBezTo>
                  <a:cubicBezTo>
                    <a:pt x="390" y="45"/>
                    <a:pt x="383" y="49"/>
                    <a:pt x="383" y="55"/>
                  </a:cubicBezTo>
                  <a:cubicBezTo>
                    <a:pt x="383" y="61"/>
                    <a:pt x="385" y="65"/>
                    <a:pt x="382" y="69"/>
                  </a:cubicBezTo>
                  <a:cubicBezTo>
                    <a:pt x="378" y="72"/>
                    <a:pt x="378" y="72"/>
                    <a:pt x="378" y="72"/>
                  </a:cubicBezTo>
                  <a:cubicBezTo>
                    <a:pt x="246" y="74"/>
                    <a:pt x="246" y="74"/>
                    <a:pt x="246" y="74"/>
                  </a:cubicBezTo>
                  <a:cubicBezTo>
                    <a:pt x="106" y="10"/>
                    <a:pt x="106" y="10"/>
                    <a:pt x="106" y="10"/>
                  </a:cubicBezTo>
                  <a:cubicBezTo>
                    <a:pt x="106" y="10"/>
                    <a:pt x="96" y="10"/>
                    <a:pt x="106" y="0"/>
                  </a:cubicBezTo>
                  <a:cubicBezTo>
                    <a:pt x="7" y="4"/>
                    <a:pt x="7" y="4"/>
                    <a:pt x="7" y="4"/>
                  </a:cubicBezTo>
                  <a:cubicBezTo>
                    <a:pt x="4" y="2"/>
                    <a:pt x="4" y="2"/>
                    <a:pt x="4" y="2"/>
                  </a:cubicBezTo>
                  <a:cubicBezTo>
                    <a:pt x="2" y="12"/>
                    <a:pt x="0" y="20"/>
                    <a:pt x="0" y="25"/>
                  </a:cubicBezTo>
                  <a:cubicBezTo>
                    <a:pt x="0" y="36"/>
                    <a:pt x="13" y="54"/>
                    <a:pt x="13" y="54"/>
                  </a:cubicBezTo>
                  <a:cubicBezTo>
                    <a:pt x="2" y="61"/>
                    <a:pt x="2" y="61"/>
                    <a:pt x="2" y="61"/>
                  </a:cubicBezTo>
                  <a:cubicBezTo>
                    <a:pt x="10" y="76"/>
                    <a:pt x="10" y="76"/>
                    <a:pt x="10" y="76"/>
                  </a:cubicBezTo>
                  <a:cubicBezTo>
                    <a:pt x="3" y="86"/>
                    <a:pt x="3" y="86"/>
                    <a:pt x="3" y="86"/>
                  </a:cubicBezTo>
                  <a:cubicBezTo>
                    <a:pt x="16" y="97"/>
                    <a:pt x="16" y="97"/>
                    <a:pt x="16" y="97"/>
                  </a:cubicBezTo>
                  <a:cubicBezTo>
                    <a:pt x="5" y="117"/>
                    <a:pt x="5" y="117"/>
                    <a:pt x="5" y="117"/>
                  </a:cubicBezTo>
                  <a:cubicBezTo>
                    <a:pt x="14" y="121"/>
                    <a:pt x="14" y="121"/>
                    <a:pt x="14" y="121"/>
                  </a:cubicBezTo>
                  <a:cubicBezTo>
                    <a:pt x="14" y="121"/>
                    <a:pt x="11" y="162"/>
                    <a:pt x="20" y="171"/>
                  </a:cubicBezTo>
                  <a:cubicBezTo>
                    <a:pt x="29" y="180"/>
                    <a:pt x="42" y="176"/>
                    <a:pt x="42" y="176"/>
                  </a:cubicBezTo>
                  <a:cubicBezTo>
                    <a:pt x="42" y="176"/>
                    <a:pt x="66" y="219"/>
                    <a:pt x="66" y="227"/>
                  </a:cubicBezTo>
                  <a:cubicBezTo>
                    <a:pt x="66" y="235"/>
                    <a:pt x="47" y="260"/>
                    <a:pt x="47" y="260"/>
                  </a:cubicBezTo>
                  <a:cubicBezTo>
                    <a:pt x="58" y="267"/>
                    <a:pt x="58" y="267"/>
                    <a:pt x="58" y="267"/>
                  </a:cubicBezTo>
                  <a:cubicBezTo>
                    <a:pt x="50" y="276"/>
                    <a:pt x="50" y="276"/>
                    <a:pt x="50" y="276"/>
                  </a:cubicBezTo>
                  <a:cubicBezTo>
                    <a:pt x="41" y="264"/>
                    <a:pt x="41" y="264"/>
                    <a:pt x="41" y="264"/>
                  </a:cubicBezTo>
                  <a:cubicBezTo>
                    <a:pt x="7" y="261"/>
                    <a:pt x="7" y="261"/>
                    <a:pt x="7" y="261"/>
                  </a:cubicBezTo>
                  <a:cubicBezTo>
                    <a:pt x="23" y="279"/>
                    <a:pt x="23" y="279"/>
                    <a:pt x="23" y="279"/>
                  </a:cubicBezTo>
                  <a:cubicBezTo>
                    <a:pt x="29" y="295"/>
                    <a:pt x="29" y="295"/>
                    <a:pt x="29" y="295"/>
                  </a:cubicBezTo>
                  <a:cubicBezTo>
                    <a:pt x="43" y="296"/>
                    <a:pt x="43" y="296"/>
                    <a:pt x="43" y="296"/>
                  </a:cubicBezTo>
                  <a:cubicBezTo>
                    <a:pt x="43" y="296"/>
                    <a:pt x="60" y="319"/>
                    <a:pt x="65" y="317"/>
                  </a:cubicBezTo>
                  <a:cubicBezTo>
                    <a:pt x="70" y="315"/>
                    <a:pt x="85" y="305"/>
                    <a:pt x="85" y="305"/>
                  </a:cubicBezTo>
                  <a:cubicBezTo>
                    <a:pt x="85" y="305"/>
                    <a:pt x="84" y="328"/>
                    <a:pt x="91" y="337"/>
                  </a:cubicBezTo>
                  <a:cubicBezTo>
                    <a:pt x="98" y="346"/>
                    <a:pt x="113" y="358"/>
                    <a:pt x="113" y="368"/>
                  </a:cubicBezTo>
                  <a:cubicBezTo>
                    <a:pt x="113" y="378"/>
                    <a:pt x="96" y="398"/>
                    <a:pt x="102" y="412"/>
                  </a:cubicBezTo>
                  <a:cubicBezTo>
                    <a:pt x="108" y="426"/>
                    <a:pt x="128" y="442"/>
                    <a:pt x="142" y="459"/>
                  </a:cubicBezTo>
                  <a:cubicBezTo>
                    <a:pt x="156" y="476"/>
                    <a:pt x="175" y="497"/>
                    <a:pt x="175" y="497"/>
                  </a:cubicBezTo>
                  <a:cubicBezTo>
                    <a:pt x="175" y="497"/>
                    <a:pt x="162" y="524"/>
                    <a:pt x="178" y="525"/>
                  </a:cubicBezTo>
                  <a:cubicBezTo>
                    <a:pt x="194" y="526"/>
                    <a:pt x="210" y="506"/>
                    <a:pt x="210" y="506"/>
                  </a:cubicBezTo>
                  <a:cubicBezTo>
                    <a:pt x="206" y="493"/>
                    <a:pt x="206" y="493"/>
                    <a:pt x="206" y="493"/>
                  </a:cubicBezTo>
                  <a:cubicBezTo>
                    <a:pt x="206" y="493"/>
                    <a:pt x="198" y="457"/>
                    <a:pt x="190" y="453"/>
                  </a:cubicBezTo>
                  <a:cubicBezTo>
                    <a:pt x="182" y="449"/>
                    <a:pt x="172" y="452"/>
                    <a:pt x="172" y="452"/>
                  </a:cubicBezTo>
                  <a:cubicBezTo>
                    <a:pt x="160" y="435"/>
                    <a:pt x="160" y="435"/>
                    <a:pt x="160" y="435"/>
                  </a:cubicBezTo>
                  <a:cubicBezTo>
                    <a:pt x="160" y="435"/>
                    <a:pt x="164" y="422"/>
                    <a:pt x="162" y="414"/>
                  </a:cubicBezTo>
                  <a:cubicBezTo>
                    <a:pt x="160" y="406"/>
                    <a:pt x="162" y="387"/>
                    <a:pt x="162" y="387"/>
                  </a:cubicBezTo>
                  <a:cubicBezTo>
                    <a:pt x="150" y="365"/>
                    <a:pt x="150" y="365"/>
                    <a:pt x="150" y="365"/>
                  </a:cubicBezTo>
                  <a:cubicBezTo>
                    <a:pt x="150" y="365"/>
                    <a:pt x="160" y="341"/>
                    <a:pt x="156" y="329"/>
                  </a:cubicBezTo>
                  <a:cubicBezTo>
                    <a:pt x="152" y="317"/>
                    <a:pt x="131" y="319"/>
                    <a:pt x="131" y="319"/>
                  </a:cubicBezTo>
                  <a:cubicBezTo>
                    <a:pt x="131" y="288"/>
                    <a:pt x="131" y="288"/>
                    <a:pt x="131" y="288"/>
                  </a:cubicBezTo>
                  <a:cubicBezTo>
                    <a:pt x="114" y="267"/>
                    <a:pt x="114" y="267"/>
                    <a:pt x="114" y="267"/>
                  </a:cubicBezTo>
                  <a:cubicBezTo>
                    <a:pt x="116" y="227"/>
                    <a:pt x="116" y="227"/>
                    <a:pt x="116" y="227"/>
                  </a:cubicBezTo>
                  <a:cubicBezTo>
                    <a:pt x="116" y="227"/>
                    <a:pt x="102" y="207"/>
                    <a:pt x="97" y="201"/>
                  </a:cubicBezTo>
                  <a:cubicBezTo>
                    <a:pt x="92" y="195"/>
                    <a:pt x="89" y="170"/>
                    <a:pt x="89" y="170"/>
                  </a:cubicBezTo>
                  <a:cubicBezTo>
                    <a:pt x="89" y="170"/>
                    <a:pt x="63" y="132"/>
                    <a:pt x="66" y="128"/>
                  </a:cubicBezTo>
                  <a:cubicBezTo>
                    <a:pt x="69" y="124"/>
                    <a:pt x="79" y="107"/>
                    <a:pt x="75" y="95"/>
                  </a:cubicBezTo>
                  <a:cubicBezTo>
                    <a:pt x="71" y="83"/>
                    <a:pt x="85" y="67"/>
                    <a:pt x="85" y="67"/>
                  </a:cubicBezTo>
                  <a:cubicBezTo>
                    <a:pt x="84" y="42"/>
                    <a:pt x="84" y="42"/>
                    <a:pt x="84" y="42"/>
                  </a:cubicBezTo>
                  <a:cubicBezTo>
                    <a:pt x="84" y="42"/>
                    <a:pt x="104" y="62"/>
                    <a:pt x="113" y="62"/>
                  </a:cubicBezTo>
                  <a:cubicBezTo>
                    <a:pt x="122" y="62"/>
                    <a:pt x="134" y="58"/>
                    <a:pt x="134" y="58"/>
                  </a:cubicBezTo>
                  <a:cubicBezTo>
                    <a:pt x="134" y="58"/>
                    <a:pt x="131" y="69"/>
                    <a:pt x="138" y="73"/>
                  </a:cubicBezTo>
                  <a:cubicBezTo>
                    <a:pt x="145" y="77"/>
                    <a:pt x="155" y="77"/>
                    <a:pt x="155" y="77"/>
                  </a:cubicBezTo>
                  <a:cubicBezTo>
                    <a:pt x="155" y="77"/>
                    <a:pt x="152" y="88"/>
                    <a:pt x="152" y="106"/>
                  </a:cubicBezTo>
                  <a:cubicBezTo>
                    <a:pt x="152" y="124"/>
                    <a:pt x="160" y="180"/>
                    <a:pt x="160" y="180"/>
                  </a:cubicBezTo>
                  <a:cubicBezTo>
                    <a:pt x="160" y="180"/>
                    <a:pt x="181" y="255"/>
                    <a:pt x="189" y="257"/>
                  </a:cubicBezTo>
                  <a:cubicBezTo>
                    <a:pt x="197" y="259"/>
                    <a:pt x="217" y="257"/>
                    <a:pt x="217" y="257"/>
                  </a:cubicBezTo>
                  <a:cubicBezTo>
                    <a:pt x="217" y="257"/>
                    <a:pt x="199" y="268"/>
                    <a:pt x="208" y="284"/>
                  </a:cubicBezTo>
                  <a:cubicBezTo>
                    <a:pt x="217" y="300"/>
                    <a:pt x="234" y="302"/>
                    <a:pt x="234" y="302"/>
                  </a:cubicBezTo>
                  <a:cubicBezTo>
                    <a:pt x="236" y="317"/>
                    <a:pt x="236" y="317"/>
                    <a:pt x="236" y="317"/>
                  </a:cubicBezTo>
                  <a:cubicBezTo>
                    <a:pt x="257" y="318"/>
                    <a:pt x="257" y="318"/>
                    <a:pt x="257" y="318"/>
                  </a:cubicBezTo>
                  <a:cubicBezTo>
                    <a:pt x="260" y="346"/>
                    <a:pt x="260" y="346"/>
                    <a:pt x="260" y="346"/>
                  </a:cubicBezTo>
                  <a:cubicBezTo>
                    <a:pt x="260" y="346"/>
                    <a:pt x="228" y="359"/>
                    <a:pt x="238" y="374"/>
                  </a:cubicBezTo>
                  <a:cubicBezTo>
                    <a:pt x="248" y="389"/>
                    <a:pt x="255" y="375"/>
                    <a:pt x="255" y="375"/>
                  </a:cubicBezTo>
                  <a:cubicBezTo>
                    <a:pt x="255" y="375"/>
                    <a:pt x="264" y="395"/>
                    <a:pt x="270" y="397"/>
                  </a:cubicBezTo>
                  <a:cubicBezTo>
                    <a:pt x="276" y="399"/>
                    <a:pt x="294" y="401"/>
                    <a:pt x="294" y="404"/>
                  </a:cubicBezTo>
                  <a:cubicBezTo>
                    <a:pt x="294" y="407"/>
                    <a:pt x="294" y="418"/>
                    <a:pt x="294" y="418"/>
                  </a:cubicBezTo>
                  <a:cubicBezTo>
                    <a:pt x="294" y="418"/>
                    <a:pt x="279" y="437"/>
                    <a:pt x="290" y="438"/>
                  </a:cubicBezTo>
                  <a:cubicBezTo>
                    <a:pt x="301" y="439"/>
                    <a:pt x="313" y="437"/>
                    <a:pt x="313" y="437"/>
                  </a:cubicBezTo>
                  <a:cubicBezTo>
                    <a:pt x="313" y="456"/>
                    <a:pt x="313" y="456"/>
                    <a:pt x="313" y="456"/>
                  </a:cubicBezTo>
                  <a:cubicBezTo>
                    <a:pt x="313" y="456"/>
                    <a:pt x="335" y="481"/>
                    <a:pt x="345" y="495"/>
                  </a:cubicBezTo>
                  <a:cubicBezTo>
                    <a:pt x="355" y="509"/>
                    <a:pt x="373" y="538"/>
                    <a:pt x="373" y="547"/>
                  </a:cubicBezTo>
                  <a:cubicBezTo>
                    <a:pt x="373" y="556"/>
                    <a:pt x="370" y="562"/>
                    <a:pt x="371" y="575"/>
                  </a:cubicBezTo>
                  <a:cubicBezTo>
                    <a:pt x="372" y="588"/>
                    <a:pt x="386" y="595"/>
                    <a:pt x="384" y="606"/>
                  </a:cubicBezTo>
                  <a:cubicBezTo>
                    <a:pt x="382" y="617"/>
                    <a:pt x="364" y="625"/>
                    <a:pt x="364" y="632"/>
                  </a:cubicBezTo>
                  <a:cubicBezTo>
                    <a:pt x="364" y="639"/>
                    <a:pt x="375" y="645"/>
                    <a:pt x="375" y="645"/>
                  </a:cubicBezTo>
                  <a:cubicBezTo>
                    <a:pt x="375" y="645"/>
                    <a:pt x="351" y="642"/>
                    <a:pt x="351" y="659"/>
                  </a:cubicBezTo>
                  <a:cubicBezTo>
                    <a:pt x="351" y="676"/>
                    <a:pt x="350" y="717"/>
                    <a:pt x="373" y="719"/>
                  </a:cubicBezTo>
                  <a:cubicBezTo>
                    <a:pt x="396" y="721"/>
                    <a:pt x="416" y="727"/>
                    <a:pt x="423" y="740"/>
                  </a:cubicBezTo>
                  <a:cubicBezTo>
                    <a:pt x="430" y="753"/>
                    <a:pt x="437" y="779"/>
                    <a:pt x="453" y="781"/>
                  </a:cubicBezTo>
                  <a:cubicBezTo>
                    <a:pt x="469" y="783"/>
                    <a:pt x="496" y="777"/>
                    <a:pt x="507" y="788"/>
                  </a:cubicBezTo>
                  <a:cubicBezTo>
                    <a:pt x="518" y="799"/>
                    <a:pt x="525" y="825"/>
                    <a:pt x="556" y="838"/>
                  </a:cubicBezTo>
                  <a:cubicBezTo>
                    <a:pt x="587" y="851"/>
                    <a:pt x="632" y="851"/>
                    <a:pt x="639" y="861"/>
                  </a:cubicBezTo>
                  <a:cubicBezTo>
                    <a:pt x="646" y="871"/>
                    <a:pt x="649" y="881"/>
                    <a:pt x="659" y="881"/>
                  </a:cubicBezTo>
                  <a:cubicBezTo>
                    <a:pt x="669" y="881"/>
                    <a:pt x="677" y="899"/>
                    <a:pt x="677" y="899"/>
                  </a:cubicBezTo>
                  <a:cubicBezTo>
                    <a:pt x="677" y="899"/>
                    <a:pt x="720" y="894"/>
                    <a:pt x="722" y="897"/>
                  </a:cubicBezTo>
                  <a:cubicBezTo>
                    <a:pt x="724" y="900"/>
                    <a:pt x="731" y="921"/>
                    <a:pt x="745" y="917"/>
                  </a:cubicBezTo>
                  <a:cubicBezTo>
                    <a:pt x="759" y="913"/>
                    <a:pt x="829" y="875"/>
                    <a:pt x="840" y="878"/>
                  </a:cubicBezTo>
                  <a:cubicBezTo>
                    <a:pt x="851" y="881"/>
                    <a:pt x="921" y="938"/>
                    <a:pt x="924" y="946"/>
                  </a:cubicBezTo>
                  <a:cubicBezTo>
                    <a:pt x="926" y="951"/>
                    <a:pt x="927" y="964"/>
                    <a:pt x="933" y="974"/>
                  </a:cubicBezTo>
                  <a:cubicBezTo>
                    <a:pt x="933" y="974"/>
                    <a:pt x="947" y="976"/>
                    <a:pt x="947" y="960"/>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53" name="Freeform 14"/>
            <p:cNvSpPr>
              <a:spLocks/>
            </p:cNvSpPr>
            <p:nvPr/>
          </p:nvSpPr>
          <p:spPr bwMode="gray">
            <a:xfrm>
              <a:off x="1892300" y="3492500"/>
              <a:ext cx="165100" cy="93663"/>
            </a:xfrm>
            <a:custGeom>
              <a:avLst/>
              <a:gdLst>
                <a:gd name="T0" fmla="*/ 103 w 296"/>
                <a:gd name="T1" fmla="*/ 162 h 166"/>
                <a:gd name="T2" fmla="*/ 105 w 296"/>
                <a:gd name="T3" fmla="*/ 151 h 166"/>
                <a:gd name="T4" fmla="*/ 114 w 296"/>
                <a:gd name="T5" fmla="*/ 149 h 166"/>
                <a:gd name="T6" fmla="*/ 115 w 296"/>
                <a:gd name="T7" fmla="*/ 122 h 166"/>
                <a:gd name="T8" fmla="*/ 135 w 296"/>
                <a:gd name="T9" fmla="*/ 123 h 166"/>
                <a:gd name="T10" fmla="*/ 148 w 296"/>
                <a:gd name="T11" fmla="*/ 109 h 166"/>
                <a:gd name="T12" fmla="*/ 162 w 296"/>
                <a:gd name="T13" fmla="*/ 118 h 166"/>
                <a:gd name="T14" fmla="*/ 189 w 296"/>
                <a:gd name="T15" fmla="*/ 95 h 166"/>
                <a:gd name="T16" fmla="*/ 190 w 296"/>
                <a:gd name="T17" fmla="*/ 85 h 166"/>
                <a:gd name="T18" fmla="*/ 203 w 296"/>
                <a:gd name="T19" fmla="*/ 84 h 166"/>
                <a:gd name="T20" fmla="*/ 213 w 296"/>
                <a:gd name="T21" fmla="*/ 65 h 166"/>
                <a:gd name="T22" fmla="*/ 238 w 296"/>
                <a:gd name="T23" fmla="*/ 76 h 166"/>
                <a:gd name="T24" fmla="*/ 251 w 296"/>
                <a:gd name="T25" fmla="*/ 66 h 166"/>
                <a:gd name="T26" fmla="*/ 262 w 296"/>
                <a:gd name="T27" fmla="*/ 66 h 166"/>
                <a:gd name="T28" fmla="*/ 281 w 296"/>
                <a:gd name="T29" fmla="*/ 65 h 166"/>
                <a:gd name="T30" fmla="*/ 294 w 296"/>
                <a:gd name="T31" fmla="*/ 55 h 166"/>
                <a:gd name="T32" fmla="*/ 283 w 296"/>
                <a:gd name="T33" fmla="*/ 41 h 166"/>
                <a:gd name="T34" fmla="*/ 268 w 296"/>
                <a:gd name="T35" fmla="*/ 35 h 166"/>
                <a:gd name="T36" fmla="*/ 248 w 296"/>
                <a:gd name="T37" fmla="*/ 18 h 166"/>
                <a:gd name="T38" fmla="*/ 230 w 296"/>
                <a:gd name="T39" fmla="*/ 13 h 166"/>
                <a:gd name="T40" fmla="*/ 214 w 296"/>
                <a:gd name="T41" fmla="*/ 1 h 166"/>
                <a:gd name="T42" fmla="*/ 192 w 296"/>
                <a:gd name="T43" fmla="*/ 9 h 166"/>
                <a:gd name="T44" fmla="*/ 171 w 296"/>
                <a:gd name="T45" fmla="*/ 0 h 166"/>
                <a:gd name="T46" fmla="*/ 148 w 296"/>
                <a:gd name="T47" fmla="*/ 18 h 166"/>
                <a:gd name="T48" fmla="*/ 125 w 296"/>
                <a:gd name="T49" fmla="*/ 17 h 166"/>
                <a:gd name="T50" fmla="*/ 109 w 296"/>
                <a:gd name="T51" fmla="*/ 11 h 166"/>
                <a:gd name="T52" fmla="*/ 89 w 296"/>
                <a:gd name="T53" fmla="*/ 16 h 166"/>
                <a:gd name="T54" fmla="*/ 81 w 296"/>
                <a:gd name="T55" fmla="*/ 2 h 166"/>
                <a:gd name="T56" fmla="*/ 59 w 296"/>
                <a:gd name="T57" fmla="*/ 15 h 166"/>
                <a:gd name="T58" fmla="*/ 39 w 296"/>
                <a:gd name="T59" fmla="*/ 34 h 166"/>
                <a:gd name="T60" fmla="*/ 11 w 296"/>
                <a:gd name="T61" fmla="*/ 58 h 166"/>
                <a:gd name="T62" fmla="*/ 9 w 296"/>
                <a:gd name="T63" fmla="*/ 79 h 166"/>
                <a:gd name="T64" fmla="*/ 0 w 296"/>
                <a:gd name="T65" fmla="*/ 86 h 166"/>
                <a:gd name="T66" fmla="*/ 13 w 296"/>
                <a:gd name="T67" fmla="*/ 102 h 166"/>
                <a:gd name="T68" fmla="*/ 28 w 296"/>
                <a:gd name="T69" fmla="*/ 102 h 166"/>
                <a:gd name="T70" fmla="*/ 36 w 296"/>
                <a:gd name="T71" fmla="*/ 118 h 166"/>
                <a:gd name="T72" fmla="*/ 52 w 296"/>
                <a:gd name="T73" fmla="*/ 112 h 166"/>
                <a:gd name="T74" fmla="*/ 67 w 296"/>
                <a:gd name="T75" fmla="*/ 114 h 166"/>
                <a:gd name="T76" fmla="*/ 68 w 296"/>
                <a:gd name="T77" fmla="*/ 143 h 166"/>
                <a:gd name="T78" fmla="*/ 85 w 296"/>
                <a:gd name="T79" fmla="*/ 148 h 166"/>
                <a:gd name="T80" fmla="*/ 89 w 296"/>
                <a:gd name="T81" fmla="*/ 166 h 166"/>
                <a:gd name="T82" fmla="*/ 103 w 296"/>
                <a:gd name="T83" fmla="*/ 162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96" h="166">
                  <a:moveTo>
                    <a:pt x="103" y="162"/>
                  </a:moveTo>
                  <a:cubicBezTo>
                    <a:pt x="109" y="160"/>
                    <a:pt x="105" y="151"/>
                    <a:pt x="105" y="151"/>
                  </a:cubicBezTo>
                  <a:cubicBezTo>
                    <a:pt x="114" y="149"/>
                    <a:pt x="114" y="149"/>
                    <a:pt x="114" y="149"/>
                  </a:cubicBezTo>
                  <a:cubicBezTo>
                    <a:pt x="114" y="149"/>
                    <a:pt x="100" y="122"/>
                    <a:pt x="115" y="122"/>
                  </a:cubicBezTo>
                  <a:cubicBezTo>
                    <a:pt x="130" y="122"/>
                    <a:pt x="135" y="123"/>
                    <a:pt x="135" y="123"/>
                  </a:cubicBezTo>
                  <a:cubicBezTo>
                    <a:pt x="135" y="123"/>
                    <a:pt x="140" y="108"/>
                    <a:pt x="148" y="109"/>
                  </a:cubicBezTo>
                  <a:cubicBezTo>
                    <a:pt x="156" y="110"/>
                    <a:pt x="147" y="118"/>
                    <a:pt x="162" y="118"/>
                  </a:cubicBezTo>
                  <a:cubicBezTo>
                    <a:pt x="177" y="118"/>
                    <a:pt x="189" y="95"/>
                    <a:pt x="189" y="95"/>
                  </a:cubicBezTo>
                  <a:cubicBezTo>
                    <a:pt x="190" y="85"/>
                    <a:pt x="190" y="85"/>
                    <a:pt x="190" y="85"/>
                  </a:cubicBezTo>
                  <a:cubicBezTo>
                    <a:pt x="203" y="84"/>
                    <a:pt x="203" y="84"/>
                    <a:pt x="203" y="84"/>
                  </a:cubicBezTo>
                  <a:cubicBezTo>
                    <a:pt x="203" y="84"/>
                    <a:pt x="204" y="64"/>
                    <a:pt x="213" y="65"/>
                  </a:cubicBezTo>
                  <a:cubicBezTo>
                    <a:pt x="222" y="66"/>
                    <a:pt x="228" y="77"/>
                    <a:pt x="238" y="76"/>
                  </a:cubicBezTo>
                  <a:cubicBezTo>
                    <a:pt x="248" y="75"/>
                    <a:pt x="247" y="66"/>
                    <a:pt x="251" y="66"/>
                  </a:cubicBezTo>
                  <a:cubicBezTo>
                    <a:pt x="255" y="66"/>
                    <a:pt x="262" y="66"/>
                    <a:pt x="262" y="66"/>
                  </a:cubicBezTo>
                  <a:cubicBezTo>
                    <a:pt x="281" y="65"/>
                    <a:pt x="281" y="65"/>
                    <a:pt x="281" y="65"/>
                  </a:cubicBezTo>
                  <a:cubicBezTo>
                    <a:pt x="282" y="61"/>
                    <a:pt x="296" y="62"/>
                    <a:pt x="294" y="55"/>
                  </a:cubicBezTo>
                  <a:cubicBezTo>
                    <a:pt x="292" y="48"/>
                    <a:pt x="283" y="41"/>
                    <a:pt x="283" y="41"/>
                  </a:cubicBezTo>
                  <a:cubicBezTo>
                    <a:pt x="268" y="35"/>
                    <a:pt x="268" y="35"/>
                    <a:pt x="268" y="35"/>
                  </a:cubicBezTo>
                  <a:cubicBezTo>
                    <a:pt x="268" y="35"/>
                    <a:pt x="257" y="27"/>
                    <a:pt x="248" y="18"/>
                  </a:cubicBezTo>
                  <a:cubicBezTo>
                    <a:pt x="239" y="9"/>
                    <a:pt x="230" y="13"/>
                    <a:pt x="230" y="13"/>
                  </a:cubicBezTo>
                  <a:cubicBezTo>
                    <a:pt x="230" y="13"/>
                    <a:pt x="226" y="1"/>
                    <a:pt x="214" y="1"/>
                  </a:cubicBezTo>
                  <a:cubicBezTo>
                    <a:pt x="202" y="1"/>
                    <a:pt x="192" y="9"/>
                    <a:pt x="192" y="9"/>
                  </a:cubicBezTo>
                  <a:cubicBezTo>
                    <a:pt x="192" y="9"/>
                    <a:pt x="178" y="0"/>
                    <a:pt x="171" y="0"/>
                  </a:cubicBezTo>
                  <a:cubicBezTo>
                    <a:pt x="164" y="0"/>
                    <a:pt x="148" y="18"/>
                    <a:pt x="148" y="18"/>
                  </a:cubicBezTo>
                  <a:cubicBezTo>
                    <a:pt x="125" y="17"/>
                    <a:pt x="125" y="17"/>
                    <a:pt x="125" y="17"/>
                  </a:cubicBezTo>
                  <a:cubicBezTo>
                    <a:pt x="125" y="17"/>
                    <a:pt x="112" y="11"/>
                    <a:pt x="109" y="11"/>
                  </a:cubicBezTo>
                  <a:cubicBezTo>
                    <a:pt x="106" y="11"/>
                    <a:pt x="89" y="16"/>
                    <a:pt x="89" y="16"/>
                  </a:cubicBezTo>
                  <a:cubicBezTo>
                    <a:pt x="89" y="16"/>
                    <a:pt x="84" y="2"/>
                    <a:pt x="81" y="2"/>
                  </a:cubicBezTo>
                  <a:cubicBezTo>
                    <a:pt x="78" y="2"/>
                    <a:pt x="59" y="15"/>
                    <a:pt x="59" y="15"/>
                  </a:cubicBezTo>
                  <a:cubicBezTo>
                    <a:pt x="59" y="15"/>
                    <a:pt x="54" y="26"/>
                    <a:pt x="39" y="34"/>
                  </a:cubicBezTo>
                  <a:cubicBezTo>
                    <a:pt x="24" y="42"/>
                    <a:pt x="11" y="58"/>
                    <a:pt x="11" y="58"/>
                  </a:cubicBezTo>
                  <a:cubicBezTo>
                    <a:pt x="11" y="58"/>
                    <a:pt x="12" y="70"/>
                    <a:pt x="9" y="79"/>
                  </a:cubicBezTo>
                  <a:cubicBezTo>
                    <a:pt x="8" y="82"/>
                    <a:pt x="4" y="85"/>
                    <a:pt x="0" y="86"/>
                  </a:cubicBezTo>
                  <a:cubicBezTo>
                    <a:pt x="2" y="91"/>
                    <a:pt x="6" y="102"/>
                    <a:pt x="13" y="102"/>
                  </a:cubicBezTo>
                  <a:cubicBezTo>
                    <a:pt x="22" y="102"/>
                    <a:pt x="28" y="102"/>
                    <a:pt x="28" y="102"/>
                  </a:cubicBezTo>
                  <a:cubicBezTo>
                    <a:pt x="28" y="102"/>
                    <a:pt x="27" y="120"/>
                    <a:pt x="36" y="118"/>
                  </a:cubicBezTo>
                  <a:cubicBezTo>
                    <a:pt x="45" y="116"/>
                    <a:pt x="47" y="111"/>
                    <a:pt x="52" y="112"/>
                  </a:cubicBezTo>
                  <a:cubicBezTo>
                    <a:pt x="57" y="113"/>
                    <a:pt x="67" y="114"/>
                    <a:pt x="67" y="114"/>
                  </a:cubicBezTo>
                  <a:cubicBezTo>
                    <a:pt x="68" y="143"/>
                    <a:pt x="68" y="143"/>
                    <a:pt x="68" y="143"/>
                  </a:cubicBezTo>
                  <a:cubicBezTo>
                    <a:pt x="85" y="148"/>
                    <a:pt x="85" y="148"/>
                    <a:pt x="85" y="148"/>
                  </a:cubicBezTo>
                  <a:cubicBezTo>
                    <a:pt x="92" y="158"/>
                    <a:pt x="89" y="166"/>
                    <a:pt x="89" y="166"/>
                  </a:cubicBezTo>
                  <a:cubicBezTo>
                    <a:pt x="89" y="166"/>
                    <a:pt x="97" y="164"/>
                    <a:pt x="103" y="162"/>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54" name="Freeform 15"/>
            <p:cNvSpPr>
              <a:spLocks/>
            </p:cNvSpPr>
            <p:nvPr/>
          </p:nvSpPr>
          <p:spPr bwMode="gray">
            <a:xfrm>
              <a:off x="2698750" y="3795713"/>
              <a:ext cx="111125" cy="127000"/>
            </a:xfrm>
            <a:custGeom>
              <a:avLst/>
              <a:gdLst>
                <a:gd name="T0" fmla="*/ 43 w 199"/>
                <a:gd name="T1" fmla="*/ 52 h 228"/>
                <a:gd name="T2" fmla="*/ 10 w 199"/>
                <a:gd name="T3" fmla="*/ 61 h 228"/>
                <a:gd name="T4" fmla="*/ 11 w 199"/>
                <a:gd name="T5" fmla="*/ 89 h 228"/>
                <a:gd name="T6" fmla="*/ 1 w 199"/>
                <a:gd name="T7" fmla="*/ 107 h 228"/>
                <a:gd name="T8" fmla="*/ 12 w 199"/>
                <a:gd name="T9" fmla="*/ 122 h 228"/>
                <a:gd name="T10" fmla="*/ 26 w 199"/>
                <a:gd name="T11" fmla="*/ 144 h 228"/>
                <a:gd name="T12" fmla="*/ 40 w 199"/>
                <a:gd name="T13" fmla="*/ 137 h 228"/>
                <a:gd name="T14" fmla="*/ 40 w 199"/>
                <a:gd name="T15" fmla="*/ 173 h 228"/>
                <a:gd name="T16" fmla="*/ 65 w 199"/>
                <a:gd name="T17" fmla="*/ 212 h 228"/>
                <a:gd name="T18" fmla="*/ 103 w 199"/>
                <a:gd name="T19" fmla="*/ 224 h 228"/>
                <a:gd name="T20" fmla="*/ 95 w 199"/>
                <a:gd name="T21" fmla="*/ 204 h 228"/>
                <a:gd name="T22" fmla="*/ 102 w 199"/>
                <a:gd name="T23" fmla="*/ 187 h 228"/>
                <a:gd name="T24" fmla="*/ 107 w 199"/>
                <a:gd name="T25" fmla="*/ 195 h 228"/>
                <a:gd name="T26" fmla="*/ 125 w 199"/>
                <a:gd name="T27" fmla="*/ 195 h 228"/>
                <a:gd name="T28" fmla="*/ 142 w 199"/>
                <a:gd name="T29" fmla="*/ 183 h 228"/>
                <a:gd name="T30" fmla="*/ 154 w 199"/>
                <a:gd name="T31" fmla="*/ 193 h 228"/>
                <a:gd name="T32" fmla="*/ 167 w 199"/>
                <a:gd name="T33" fmla="*/ 199 h 228"/>
                <a:gd name="T34" fmla="*/ 174 w 199"/>
                <a:gd name="T35" fmla="*/ 182 h 228"/>
                <a:gd name="T36" fmla="*/ 186 w 199"/>
                <a:gd name="T37" fmla="*/ 175 h 228"/>
                <a:gd name="T38" fmla="*/ 184 w 199"/>
                <a:gd name="T39" fmla="*/ 147 h 228"/>
                <a:gd name="T40" fmla="*/ 195 w 199"/>
                <a:gd name="T41" fmla="*/ 132 h 228"/>
                <a:gd name="T42" fmla="*/ 174 w 199"/>
                <a:gd name="T43" fmla="*/ 105 h 228"/>
                <a:gd name="T44" fmla="*/ 173 w 199"/>
                <a:gd name="T45" fmla="*/ 55 h 228"/>
                <a:gd name="T46" fmla="*/ 195 w 199"/>
                <a:gd name="T47" fmla="*/ 32 h 228"/>
                <a:gd name="T48" fmla="*/ 199 w 199"/>
                <a:gd name="T49" fmla="*/ 11 h 228"/>
                <a:gd name="T50" fmla="*/ 199 w 199"/>
                <a:gd name="T51" fmla="*/ 11 h 228"/>
                <a:gd name="T52" fmla="*/ 197 w 199"/>
                <a:gd name="T53" fmla="*/ 9 h 228"/>
                <a:gd name="T54" fmla="*/ 143 w 199"/>
                <a:gd name="T55" fmla="*/ 0 h 228"/>
                <a:gd name="T56" fmla="*/ 139 w 199"/>
                <a:gd name="T57" fmla="*/ 9 h 228"/>
                <a:gd name="T58" fmla="*/ 109 w 199"/>
                <a:gd name="T59" fmla="*/ 4 h 228"/>
                <a:gd name="T60" fmla="*/ 108 w 199"/>
                <a:gd name="T61" fmla="*/ 15 h 228"/>
                <a:gd name="T62" fmla="*/ 69 w 199"/>
                <a:gd name="T63" fmla="*/ 1 h 228"/>
                <a:gd name="T64" fmla="*/ 50 w 199"/>
                <a:gd name="T65" fmla="*/ 7 h 228"/>
                <a:gd name="T66" fmla="*/ 39 w 199"/>
                <a:gd name="T67" fmla="*/ 29 h 228"/>
                <a:gd name="T68" fmla="*/ 43 w 199"/>
                <a:gd name="T69" fmla="*/ 5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99" h="228">
                  <a:moveTo>
                    <a:pt x="43" y="52"/>
                  </a:moveTo>
                  <a:cubicBezTo>
                    <a:pt x="31" y="55"/>
                    <a:pt x="13" y="52"/>
                    <a:pt x="10" y="61"/>
                  </a:cubicBezTo>
                  <a:cubicBezTo>
                    <a:pt x="7" y="70"/>
                    <a:pt x="11" y="89"/>
                    <a:pt x="11" y="89"/>
                  </a:cubicBezTo>
                  <a:cubicBezTo>
                    <a:pt x="11" y="89"/>
                    <a:pt x="0" y="96"/>
                    <a:pt x="1" y="107"/>
                  </a:cubicBezTo>
                  <a:cubicBezTo>
                    <a:pt x="2" y="117"/>
                    <a:pt x="12" y="115"/>
                    <a:pt x="12" y="122"/>
                  </a:cubicBezTo>
                  <a:cubicBezTo>
                    <a:pt x="12" y="129"/>
                    <a:pt x="22" y="143"/>
                    <a:pt x="26" y="144"/>
                  </a:cubicBezTo>
                  <a:cubicBezTo>
                    <a:pt x="30" y="145"/>
                    <a:pt x="39" y="130"/>
                    <a:pt x="40" y="137"/>
                  </a:cubicBezTo>
                  <a:cubicBezTo>
                    <a:pt x="41" y="144"/>
                    <a:pt x="31" y="165"/>
                    <a:pt x="40" y="173"/>
                  </a:cubicBezTo>
                  <a:cubicBezTo>
                    <a:pt x="49" y="181"/>
                    <a:pt x="65" y="212"/>
                    <a:pt x="65" y="212"/>
                  </a:cubicBezTo>
                  <a:cubicBezTo>
                    <a:pt x="65" y="212"/>
                    <a:pt x="94" y="228"/>
                    <a:pt x="103" y="224"/>
                  </a:cubicBezTo>
                  <a:cubicBezTo>
                    <a:pt x="112" y="220"/>
                    <a:pt x="98" y="210"/>
                    <a:pt x="95" y="204"/>
                  </a:cubicBezTo>
                  <a:cubicBezTo>
                    <a:pt x="92" y="198"/>
                    <a:pt x="96" y="188"/>
                    <a:pt x="102" y="187"/>
                  </a:cubicBezTo>
                  <a:cubicBezTo>
                    <a:pt x="108" y="186"/>
                    <a:pt x="107" y="195"/>
                    <a:pt x="107" y="195"/>
                  </a:cubicBezTo>
                  <a:cubicBezTo>
                    <a:pt x="125" y="195"/>
                    <a:pt x="125" y="195"/>
                    <a:pt x="125" y="195"/>
                  </a:cubicBezTo>
                  <a:cubicBezTo>
                    <a:pt x="125" y="195"/>
                    <a:pt x="134" y="184"/>
                    <a:pt x="142" y="183"/>
                  </a:cubicBezTo>
                  <a:cubicBezTo>
                    <a:pt x="150" y="182"/>
                    <a:pt x="154" y="193"/>
                    <a:pt x="154" y="193"/>
                  </a:cubicBezTo>
                  <a:cubicBezTo>
                    <a:pt x="167" y="199"/>
                    <a:pt x="167" y="199"/>
                    <a:pt x="167" y="199"/>
                  </a:cubicBezTo>
                  <a:cubicBezTo>
                    <a:pt x="167" y="199"/>
                    <a:pt x="173" y="185"/>
                    <a:pt x="174" y="182"/>
                  </a:cubicBezTo>
                  <a:cubicBezTo>
                    <a:pt x="175" y="179"/>
                    <a:pt x="186" y="175"/>
                    <a:pt x="186" y="175"/>
                  </a:cubicBezTo>
                  <a:cubicBezTo>
                    <a:pt x="184" y="147"/>
                    <a:pt x="184" y="147"/>
                    <a:pt x="184" y="147"/>
                  </a:cubicBezTo>
                  <a:cubicBezTo>
                    <a:pt x="184" y="147"/>
                    <a:pt x="196" y="142"/>
                    <a:pt x="195" y="132"/>
                  </a:cubicBezTo>
                  <a:cubicBezTo>
                    <a:pt x="194" y="122"/>
                    <a:pt x="175" y="117"/>
                    <a:pt x="174" y="105"/>
                  </a:cubicBezTo>
                  <a:cubicBezTo>
                    <a:pt x="173" y="92"/>
                    <a:pt x="163" y="71"/>
                    <a:pt x="173" y="55"/>
                  </a:cubicBezTo>
                  <a:cubicBezTo>
                    <a:pt x="184" y="38"/>
                    <a:pt x="195" y="39"/>
                    <a:pt x="195" y="32"/>
                  </a:cubicBezTo>
                  <a:cubicBezTo>
                    <a:pt x="195" y="27"/>
                    <a:pt x="195" y="18"/>
                    <a:pt x="199" y="11"/>
                  </a:cubicBezTo>
                  <a:cubicBezTo>
                    <a:pt x="199" y="11"/>
                    <a:pt x="199" y="11"/>
                    <a:pt x="199" y="11"/>
                  </a:cubicBezTo>
                  <a:cubicBezTo>
                    <a:pt x="198" y="10"/>
                    <a:pt x="197" y="10"/>
                    <a:pt x="197" y="9"/>
                  </a:cubicBezTo>
                  <a:cubicBezTo>
                    <a:pt x="190" y="0"/>
                    <a:pt x="143" y="0"/>
                    <a:pt x="143" y="0"/>
                  </a:cubicBezTo>
                  <a:cubicBezTo>
                    <a:pt x="139" y="9"/>
                    <a:pt x="139" y="9"/>
                    <a:pt x="139" y="9"/>
                  </a:cubicBezTo>
                  <a:cubicBezTo>
                    <a:pt x="109" y="4"/>
                    <a:pt x="109" y="4"/>
                    <a:pt x="109" y="4"/>
                  </a:cubicBezTo>
                  <a:cubicBezTo>
                    <a:pt x="108" y="15"/>
                    <a:pt x="108" y="15"/>
                    <a:pt x="108" y="15"/>
                  </a:cubicBezTo>
                  <a:cubicBezTo>
                    <a:pt x="69" y="1"/>
                    <a:pt x="69" y="1"/>
                    <a:pt x="69" y="1"/>
                  </a:cubicBezTo>
                  <a:cubicBezTo>
                    <a:pt x="50" y="7"/>
                    <a:pt x="50" y="7"/>
                    <a:pt x="50" y="7"/>
                  </a:cubicBezTo>
                  <a:cubicBezTo>
                    <a:pt x="50" y="7"/>
                    <a:pt x="39" y="21"/>
                    <a:pt x="39" y="29"/>
                  </a:cubicBezTo>
                  <a:cubicBezTo>
                    <a:pt x="39" y="37"/>
                    <a:pt x="55" y="49"/>
                    <a:pt x="43" y="52"/>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55" name="Freeform 16"/>
            <p:cNvSpPr>
              <a:spLocks/>
            </p:cNvSpPr>
            <p:nvPr/>
          </p:nvSpPr>
          <p:spPr bwMode="gray">
            <a:xfrm>
              <a:off x="2611438" y="3722688"/>
              <a:ext cx="125412" cy="217488"/>
            </a:xfrm>
            <a:custGeom>
              <a:avLst/>
              <a:gdLst>
                <a:gd name="T0" fmla="*/ 62 w 225"/>
                <a:gd name="T1" fmla="*/ 28 h 388"/>
                <a:gd name="T2" fmla="*/ 42 w 225"/>
                <a:gd name="T3" fmla="*/ 44 h 388"/>
                <a:gd name="T4" fmla="*/ 46 w 225"/>
                <a:gd name="T5" fmla="*/ 64 h 388"/>
                <a:gd name="T6" fmla="*/ 57 w 225"/>
                <a:gd name="T7" fmla="*/ 67 h 388"/>
                <a:gd name="T8" fmla="*/ 47 w 225"/>
                <a:gd name="T9" fmla="*/ 85 h 388"/>
                <a:gd name="T10" fmla="*/ 11 w 225"/>
                <a:gd name="T11" fmla="*/ 93 h 388"/>
                <a:gd name="T12" fmla="*/ 22 w 225"/>
                <a:gd name="T13" fmla="*/ 116 h 388"/>
                <a:gd name="T14" fmla="*/ 4 w 225"/>
                <a:gd name="T15" fmla="*/ 134 h 388"/>
                <a:gd name="T16" fmla="*/ 35 w 225"/>
                <a:gd name="T17" fmla="*/ 172 h 388"/>
                <a:gd name="T18" fmla="*/ 51 w 225"/>
                <a:gd name="T19" fmla="*/ 174 h 388"/>
                <a:gd name="T20" fmla="*/ 56 w 225"/>
                <a:gd name="T21" fmla="*/ 167 h 388"/>
                <a:gd name="T22" fmla="*/ 68 w 225"/>
                <a:gd name="T23" fmla="*/ 182 h 388"/>
                <a:gd name="T24" fmla="*/ 59 w 225"/>
                <a:gd name="T25" fmla="*/ 208 h 388"/>
                <a:gd name="T26" fmla="*/ 81 w 225"/>
                <a:gd name="T27" fmla="*/ 211 h 388"/>
                <a:gd name="T28" fmla="*/ 80 w 225"/>
                <a:gd name="T29" fmla="*/ 230 h 388"/>
                <a:gd name="T30" fmla="*/ 88 w 225"/>
                <a:gd name="T31" fmla="*/ 240 h 388"/>
                <a:gd name="T32" fmla="*/ 74 w 225"/>
                <a:gd name="T33" fmla="*/ 258 h 388"/>
                <a:gd name="T34" fmla="*/ 69 w 225"/>
                <a:gd name="T35" fmla="*/ 286 h 388"/>
                <a:gd name="T36" fmla="*/ 61 w 225"/>
                <a:gd name="T37" fmla="*/ 312 h 388"/>
                <a:gd name="T38" fmla="*/ 78 w 225"/>
                <a:gd name="T39" fmla="*/ 333 h 388"/>
                <a:gd name="T40" fmla="*/ 78 w 225"/>
                <a:gd name="T41" fmla="*/ 353 h 388"/>
                <a:gd name="T42" fmla="*/ 99 w 225"/>
                <a:gd name="T43" fmla="*/ 377 h 388"/>
                <a:gd name="T44" fmla="*/ 108 w 225"/>
                <a:gd name="T45" fmla="*/ 377 h 388"/>
                <a:gd name="T46" fmla="*/ 112 w 225"/>
                <a:gd name="T47" fmla="*/ 388 h 388"/>
                <a:gd name="T48" fmla="*/ 132 w 225"/>
                <a:gd name="T49" fmla="*/ 387 h 388"/>
                <a:gd name="T50" fmla="*/ 143 w 225"/>
                <a:gd name="T51" fmla="*/ 369 h 388"/>
                <a:gd name="T52" fmla="*/ 161 w 225"/>
                <a:gd name="T53" fmla="*/ 368 h 388"/>
                <a:gd name="T54" fmla="*/ 162 w 225"/>
                <a:gd name="T55" fmla="*/ 360 h 388"/>
                <a:gd name="T56" fmla="*/ 183 w 225"/>
                <a:gd name="T57" fmla="*/ 359 h 388"/>
                <a:gd name="T58" fmla="*/ 197 w 225"/>
                <a:gd name="T59" fmla="*/ 342 h 388"/>
                <a:gd name="T60" fmla="*/ 217 w 225"/>
                <a:gd name="T61" fmla="*/ 350 h 388"/>
                <a:gd name="T62" fmla="*/ 221 w 225"/>
                <a:gd name="T63" fmla="*/ 341 h 388"/>
                <a:gd name="T64" fmla="*/ 196 w 225"/>
                <a:gd name="T65" fmla="*/ 302 h 388"/>
                <a:gd name="T66" fmla="*/ 196 w 225"/>
                <a:gd name="T67" fmla="*/ 266 h 388"/>
                <a:gd name="T68" fmla="*/ 182 w 225"/>
                <a:gd name="T69" fmla="*/ 273 h 388"/>
                <a:gd name="T70" fmla="*/ 168 w 225"/>
                <a:gd name="T71" fmla="*/ 251 h 388"/>
                <a:gd name="T72" fmla="*/ 157 w 225"/>
                <a:gd name="T73" fmla="*/ 236 h 388"/>
                <a:gd name="T74" fmla="*/ 167 w 225"/>
                <a:gd name="T75" fmla="*/ 218 h 388"/>
                <a:gd name="T76" fmla="*/ 166 w 225"/>
                <a:gd name="T77" fmla="*/ 190 h 388"/>
                <a:gd name="T78" fmla="*/ 199 w 225"/>
                <a:gd name="T79" fmla="*/ 181 h 388"/>
                <a:gd name="T80" fmla="*/ 195 w 225"/>
                <a:gd name="T81" fmla="*/ 158 h 388"/>
                <a:gd name="T82" fmla="*/ 206 w 225"/>
                <a:gd name="T83" fmla="*/ 136 h 388"/>
                <a:gd name="T84" fmla="*/ 203 w 225"/>
                <a:gd name="T85" fmla="*/ 117 h 388"/>
                <a:gd name="T86" fmla="*/ 185 w 225"/>
                <a:gd name="T87" fmla="*/ 117 h 388"/>
                <a:gd name="T88" fmla="*/ 183 w 225"/>
                <a:gd name="T89" fmla="*/ 102 h 388"/>
                <a:gd name="T90" fmla="*/ 153 w 225"/>
                <a:gd name="T91" fmla="*/ 85 h 388"/>
                <a:gd name="T92" fmla="*/ 133 w 225"/>
                <a:gd name="T93" fmla="*/ 109 h 388"/>
                <a:gd name="T94" fmla="*/ 144 w 225"/>
                <a:gd name="T95" fmla="*/ 61 h 388"/>
                <a:gd name="T96" fmla="*/ 126 w 225"/>
                <a:gd name="T97" fmla="*/ 22 h 388"/>
                <a:gd name="T98" fmla="*/ 83 w 225"/>
                <a:gd name="T99" fmla="*/ 0 h 388"/>
                <a:gd name="T100" fmla="*/ 76 w 225"/>
                <a:gd name="T101" fmla="*/ 12 h 388"/>
                <a:gd name="T102" fmla="*/ 62 w 225"/>
                <a:gd name="T103" fmla="*/ 28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5" h="388">
                  <a:moveTo>
                    <a:pt x="62" y="28"/>
                  </a:moveTo>
                  <a:cubicBezTo>
                    <a:pt x="56" y="30"/>
                    <a:pt x="40" y="35"/>
                    <a:pt x="42" y="44"/>
                  </a:cubicBezTo>
                  <a:cubicBezTo>
                    <a:pt x="44" y="53"/>
                    <a:pt x="42" y="64"/>
                    <a:pt x="46" y="64"/>
                  </a:cubicBezTo>
                  <a:cubicBezTo>
                    <a:pt x="50" y="64"/>
                    <a:pt x="57" y="64"/>
                    <a:pt x="57" y="67"/>
                  </a:cubicBezTo>
                  <a:cubicBezTo>
                    <a:pt x="57" y="71"/>
                    <a:pt x="58" y="81"/>
                    <a:pt x="47" y="85"/>
                  </a:cubicBezTo>
                  <a:cubicBezTo>
                    <a:pt x="36" y="89"/>
                    <a:pt x="11" y="88"/>
                    <a:pt x="11" y="93"/>
                  </a:cubicBezTo>
                  <a:cubicBezTo>
                    <a:pt x="11" y="98"/>
                    <a:pt x="31" y="109"/>
                    <a:pt x="22" y="116"/>
                  </a:cubicBezTo>
                  <a:cubicBezTo>
                    <a:pt x="13" y="124"/>
                    <a:pt x="0" y="123"/>
                    <a:pt x="4" y="134"/>
                  </a:cubicBezTo>
                  <a:cubicBezTo>
                    <a:pt x="8" y="145"/>
                    <a:pt x="35" y="172"/>
                    <a:pt x="35" y="172"/>
                  </a:cubicBezTo>
                  <a:cubicBezTo>
                    <a:pt x="51" y="174"/>
                    <a:pt x="51" y="174"/>
                    <a:pt x="51" y="174"/>
                  </a:cubicBezTo>
                  <a:cubicBezTo>
                    <a:pt x="56" y="167"/>
                    <a:pt x="56" y="167"/>
                    <a:pt x="56" y="167"/>
                  </a:cubicBezTo>
                  <a:cubicBezTo>
                    <a:pt x="56" y="167"/>
                    <a:pt x="65" y="168"/>
                    <a:pt x="68" y="182"/>
                  </a:cubicBezTo>
                  <a:cubicBezTo>
                    <a:pt x="71" y="196"/>
                    <a:pt x="59" y="208"/>
                    <a:pt x="59" y="208"/>
                  </a:cubicBezTo>
                  <a:cubicBezTo>
                    <a:pt x="59" y="217"/>
                    <a:pt x="81" y="211"/>
                    <a:pt x="81" y="211"/>
                  </a:cubicBezTo>
                  <a:cubicBezTo>
                    <a:pt x="80" y="230"/>
                    <a:pt x="80" y="230"/>
                    <a:pt x="80" y="230"/>
                  </a:cubicBezTo>
                  <a:cubicBezTo>
                    <a:pt x="80" y="230"/>
                    <a:pt x="89" y="234"/>
                    <a:pt x="88" y="240"/>
                  </a:cubicBezTo>
                  <a:cubicBezTo>
                    <a:pt x="87" y="246"/>
                    <a:pt x="74" y="258"/>
                    <a:pt x="74" y="258"/>
                  </a:cubicBezTo>
                  <a:cubicBezTo>
                    <a:pt x="69" y="286"/>
                    <a:pt x="69" y="286"/>
                    <a:pt x="69" y="286"/>
                  </a:cubicBezTo>
                  <a:cubicBezTo>
                    <a:pt x="69" y="286"/>
                    <a:pt x="61" y="302"/>
                    <a:pt x="61" y="312"/>
                  </a:cubicBezTo>
                  <a:cubicBezTo>
                    <a:pt x="61" y="322"/>
                    <a:pt x="78" y="325"/>
                    <a:pt x="78" y="333"/>
                  </a:cubicBezTo>
                  <a:cubicBezTo>
                    <a:pt x="78" y="341"/>
                    <a:pt x="78" y="353"/>
                    <a:pt x="78" y="353"/>
                  </a:cubicBezTo>
                  <a:cubicBezTo>
                    <a:pt x="99" y="377"/>
                    <a:pt x="99" y="377"/>
                    <a:pt x="99" y="377"/>
                  </a:cubicBezTo>
                  <a:cubicBezTo>
                    <a:pt x="108" y="377"/>
                    <a:pt x="108" y="377"/>
                    <a:pt x="108" y="377"/>
                  </a:cubicBezTo>
                  <a:cubicBezTo>
                    <a:pt x="112" y="388"/>
                    <a:pt x="112" y="388"/>
                    <a:pt x="112" y="388"/>
                  </a:cubicBezTo>
                  <a:cubicBezTo>
                    <a:pt x="112" y="388"/>
                    <a:pt x="122" y="388"/>
                    <a:pt x="132" y="387"/>
                  </a:cubicBezTo>
                  <a:cubicBezTo>
                    <a:pt x="142" y="386"/>
                    <a:pt x="137" y="373"/>
                    <a:pt x="143" y="369"/>
                  </a:cubicBezTo>
                  <a:cubicBezTo>
                    <a:pt x="149" y="365"/>
                    <a:pt x="161" y="368"/>
                    <a:pt x="161" y="368"/>
                  </a:cubicBezTo>
                  <a:cubicBezTo>
                    <a:pt x="162" y="360"/>
                    <a:pt x="162" y="360"/>
                    <a:pt x="162" y="360"/>
                  </a:cubicBezTo>
                  <a:cubicBezTo>
                    <a:pt x="183" y="359"/>
                    <a:pt x="183" y="359"/>
                    <a:pt x="183" y="359"/>
                  </a:cubicBezTo>
                  <a:cubicBezTo>
                    <a:pt x="183" y="359"/>
                    <a:pt x="187" y="343"/>
                    <a:pt x="197" y="342"/>
                  </a:cubicBezTo>
                  <a:cubicBezTo>
                    <a:pt x="207" y="341"/>
                    <a:pt x="209" y="352"/>
                    <a:pt x="217" y="350"/>
                  </a:cubicBezTo>
                  <a:cubicBezTo>
                    <a:pt x="225" y="348"/>
                    <a:pt x="221" y="341"/>
                    <a:pt x="221" y="341"/>
                  </a:cubicBezTo>
                  <a:cubicBezTo>
                    <a:pt x="221" y="341"/>
                    <a:pt x="205" y="310"/>
                    <a:pt x="196" y="302"/>
                  </a:cubicBezTo>
                  <a:cubicBezTo>
                    <a:pt x="187" y="294"/>
                    <a:pt x="197" y="273"/>
                    <a:pt x="196" y="266"/>
                  </a:cubicBezTo>
                  <a:cubicBezTo>
                    <a:pt x="195" y="259"/>
                    <a:pt x="186" y="274"/>
                    <a:pt x="182" y="273"/>
                  </a:cubicBezTo>
                  <a:cubicBezTo>
                    <a:pt x="178" y="272"/>
                    <a:pt x="168" y="258"/>
                    <a:pt x="168" y="251"/>
                  </a:cubicBezTo>
                  <a:cubicBezTo>
                    <a:pt x="168" y="244"/>
                    <a:pt x="158" y="246"/>
                    <a:pt x="157" y="236"/>
                  </a:cubicBezTo>
                  <a:cubicBezTo>
                    <a:pt x="156" y="225"/>
                    <a:pt x="167" y="218"/>
                    <a:pt x="167" y="218"/>
                  </a:cubicBezTo>
                  <a:cubicBezTo>
                    <a:pt x="167" y="218"/>
                    <a:pt x="163" y="199"/>
                    <a:pt x="166" y="190"/>
                  </a:cubicBezTo>
                  <a:cubicBezTo>
                    <a:pt x="169" y="181"/>
                    <a:pt x="187" y="184"/>
                    <a:pt x="199" y="181"/>
                  </a:cubicBezTo>
                  <a:cubicBezTo>
                    <a:pt x="211" y="178"/>
                    <a:pt x="195" y="166"/>
                    <a:pt x="195" y="158"/>
                  </a:cubicBezTo>
                  <a:cubicBezTo>
                    <a:pt x="195" y="150"/>
                    <a:pt x="206" y="136"/>
                    <a:pt x="206" y="136"/>
                  </a:cubicBezTo>
                  <a:cubicBezTo>
                    <a:pt x="206" y="136"/>
                    <a:pt x="206" y="125"/>
                    <a:pt x="203" y="117"/>
                  </a:cubicBezTo>
                  <a:cubicBezTo>
                    <a:pt x="200" y="109"/>
                    <a:pt x="185" y="117"/>
                    <a:pt x="185" y="117"/>
                  </a:cubicBezTo>
                  <a:cubicBezTo>
                    <a:pt x="183" y="102"/>
                    <a:pt x="183" y="102"/>
                    <a:pt x="183" y="102"/>
                  </a:cubicBezTo>
                  <a:cubicBezTo>
                    <a:pt x="183" y="102"/>
                    <a:pt x="166" y="87"/>
                    <a:pt x="153" y="85"/>
                  </a:cubicBezTo>
                  <a:cubicBezTo>
                    <a:pt x="140" y="83"/>
                    <a:pt x="133" y="109"/>
                    <a:pt x="133" y="109"/>
                  </a:cubicBezTo>
                  <a:cubicBezTo>
                    <a:pt x="133" y="109"/>
                    <a:pt x="142" y="69"/>
                    <a:pt x="144" y="61"/>
                  </a:cubicBezTo>
                  <a:cubicBezTo>
                    <a:pt x="146" y="53"/>
                    <a:pt x="132" y="30"/>
                    <a:pt x="126" y="22"/>
                  </a:cubicBezTo>
                  <a:cubicBezTo>
                    <a:pt x="120" y="14"/>
                    <a:pt x="83" y="0"/>
                    <a:pt x="83" y="0"/>
                  </a:cubicBezTo>
                  <a:cubicBezTo>
                    <a:pt x="76" y="12"/>
                    <a:pt x="76" y="12"/>
                    <a:pt x="76" y="12"/>
                  </a:cubicBezTo>
                  <a:cubicBezTo>
                    <a:pt x="76" y="12"/>
                    <a:pt x="69" y="26"/>
                    <a:pt x="62" y="28"/>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56" name="Freeform 17"/>
            <p:cNvSpPr>
              <a:spLocks noEditPoints="1"/>
            </p:cNvSpPr>
            <p:nvPr/>
          </p:nvSpPr>
          <p:spPr bwMode="gray">
            <a:xfrm>
              <a:off x="2298700" y="3608388"/>
              <a:ext cx="358775" cy="349250"/>
            </a:xfrm>
            <a:custGeom>
              <a:avLst/>
              <a:gdLst>
                <a:gd name="T0" fmla="*/ 175 w 642"/>
                <a:gd name="T1" fmla="*/ 3 h 625"/>
                <a:gd name="T2" fmla="*/ 165 w 642"/>
                <a:gd name="T3" fmla="*/ 34 h 625"/>
                <a:gd name="T4" fmla="*/ 630 w 642"/>
                <a:gd name="T5" fmla="*/ 190 h 625"/>
                <a:gd name="T6" fmla="*/ 595 w 642"/>
                <a:gd name="T7" fmla="*/ 194 h 625"/>
                <a:gd name="T8" fmla="*/ 553 w 642"/>
                <a:gd name="T9" fmla="*/ 194 h 625"/>
                <a:gd name="T10" fmla="*/ 586 w 642"/>
                <a:gd name="T11" fmla="*/ 167 h 625"/>
                <a:gd name="T12" fmla="*/ 572 w 642"/>
                <a:gd name="T13" fmla="*/ 143 h 625"/>
                <a:gd name="T14" fmla="*/ 556 w 642"/>
                <a:gd name="T15" fmla="*/ 143 h 625"/>
                <a:gd name="T16" fmla="*/ 536 w 642"/>
                <a:gd name="T17" fmla="*/ 123 h 625"/>
                <a:gd name="T18" fmla="*/ 522 w 642"/>
                <a:gd name="T19" fmla="*/ 129 h 625"/>
                <a:gd name="T20" fmla="*/ 498 w 642"/>
                <a:gd name="T21" fmla="*/ 117 h 625"/>
                <a:gd name="T22" fmla="*/ 501 w 642"/>
                <a:gd name="T23" fmla="*/ 93 h 625"/>
                <a:gd name="T24" fmla="*/ 457 w 642"/>
                <a:gd name="T25" fmla="*/ 84 h 625"/>
                <a:gd name="T26" fmla="*/ 435 w 642"/>
                <a:gd name="T27" fmla="*/ 99 h 625"/>
                <a:gd name="T28" fmla="*/ 346 w 642"/>
                <a:gd name="T29" fmla="*/ 88 h 625"/>
                <a:gd name="T30" fmla="*/ 242 w 642"/>
                <a:gd name="T31" fmla="*/ 68 h 625"/>
                <a:gd name="T32" fmla="*/ 147 w 642"/>
                <a:gd name="T33" fmla="*/ 56 h 625"/>
                <a:gd name="T34" fmla="*/ 113 w 642"/>
                <a:gd name="T35" fmla="*/ 136 h 625"/>
                <a:gd name="T36" fmla="*/ 89 w 642"/>
                <a:gd name="T37" fmla="*/ 154 h 625"/>
                <a:gd name="T38" fmla="*/ 82 w 642"/>
                <a:gd name="T39" fmla="*/ 102 h 625"/>
                <a:gd name="T40" fmla="*/ 77 w 642"/>
                <a:gd name="T41" fmla="*/ 38 h 625"/>
                <a:gd name="T42" fmla="*/ 38 w 642"/>
                <a:gd name="T43" fmla="*/ 77 h 625"/>
                <a:gd name="T44" fmla="*/ 24 w 642"/>
                <a:gd name="T45" fmla="*/ 115 h 625"/>
                <a:gd name="T46" fmla="*/ 5 w 642"/>
                <a:gd name="T47" fmla="*/ 162 h 625"/>
                <a:gd name="T48" fmla="*/ 35 w 642"/>
                <a:gd name="T49" fmla="*/ 180 h 625"/>
                <a:gd name="T50" fmla="*/ 50 w 642"/>
                <a:gd name="T51" fmla="*/ 216 h 625"/>
                <a:gd name="T52" fmla="*/ 41 w 642"/>
                <a:gd name="T53" fmla="*/ 259 h 625"/>
                <a:gd name="T54" fmla="*/ 59 w 642"/>
                <a:gd name="T55" fmla="*/ 280 h 625"/>
                <a:gd name="T56" fmla="*/ 111 w 642"/>
                <a:gd name="T57" fmla="*/ 284 h 625"/>
                <a:gd name="T58" fmla="*/ 136 w 642"/>
                <a:gd name="T59" fmla="*/ 284 h 625"/>
                <a:gd name="T60" fmla="*/ 181 w 642"/>
                <a:gd name="T61" fmla="*/ 330 h 625"/>
                <a:gd name="T62" fmla="*/ 203 w 642"/>
                <a:gd name="T63" fmla="*/ 322 h 625"/>
                <a:gd name="T64" fmla="*/ 232 w 642"/>
                <a:gd name="T65" fmla="*/ 324 h 625"/>
                <a:gd name="T66" fmla="*/ 276 w 642"/>
                <a:gd name="T67" fmla="*/ 323 h 625"/>
                <a:gd name="T68" fmla="*/ 263 w 642"/>
                <a:gd name="T69" fmla="*/ 362 h 625"/>
                <a:gd name="T70" fmla="*/ 254 w 642"/>
                <a:gd name="T71" fmla="*/ 404 h 625"/>
                <a:gd name="T72" fmla="*/ 261 w 642"/>
                <a:gd name="T73" fmla="*/ 440 h 625"/>
                <a:gd name="T74" fmla="*/ 278 w 642"/>
                <a:gd name="T75" fmla="*/ 476 h 625"/>
                <a:gd name="T76" fmla="*/ 259 w 642"/>
                <a:gd name="T77" fmla="*/ 507 h 625"/>
                <a:gd name="T78" fmla="*/ 284 w 642"/>
                <a:gd name="T79" fmla="*/ 549 h 625"/>
                <a:gd name="T80" fmla="*/ 299 w 642"/>
                <a:gd name="T81" fmla="*/ 594 h 625"/>
                <a:gd name="T82" fmla="*/ 326 w 642"/>
                <a:gd name="T83" fmla="*/ 619 h 625"/>
                <a:gd name="T84" fmla="*/ 362 w 642"/>
                <a:gd name="T85" fmla="*/ 624 h 625"/>
                <a:gd name="T86" fmla="*/ 400 w 642"/>
                <a:gd name="T87" fmla="*/ 593 h 625"/>
                <a:gd name="T88" fmla="*/ 420 w 642"/>
                <a:gd name="T89" fmla="*/ 579 h 625"/>
                <a:gd name="T90" fmla="*/ 457 w 642"/>
                <a:gd name="T91" fmla="*/ 547 h 625"/>
                <a:gd name="T92" fmla="*/ 432 w 642"/>
                <a:gd name="T93" fmla="*/ 524 h 625"/>
                <a:gd name="T94" fmla="*/ 419 w 642"/>
                <a:gd name="T95" fmla="*/ 490 h 625"/>
                <a:gd name="T96" fmla="*/ 400 w 642"/>
                <a:gd name="T97" fmla="*/ 425 h 625"/>
                <a:gd name="T98" fmla="*/ 429 w 642"/>
                <a:gd name="T99" fmla="*/ 433 h 625"/>
                <a:gd name="T100" fmla="*/ 450 w 642"/>
                <a:gd name="T101" fmla="*/ 444 h 625"/>
                <a:gd name="T102" fmla="*/ 469 w 642"/>
                <a:gd name="T103" fmla="*/ 446 h 625"/>
                <a:gd name="T104" fmla="*/ 507 w 642"/>
                <a:gd name="T105" fmla="*/ 432 h 625"/>
                <a:gd name="T106" fmla="*/ 551 w 642"/>
                <a:gd name="T107" fmla="*/ 424 h 625"/>
                <a:gd name="T108" fmla="*/ 583 w 642"/>
                <a:gd name="T109" fmla="*/ 414 h 625"/>
                <a:gd name="T110" fmla="*/ 596 w 642"/>
                <a:gd name="T111" fmla="*/ 399 h 625"/>
                <a:gd name="T112" fmla="*/ 563 w 642"/>
                <a:gd name="T113" fmla="*/ 340 h 625"/>
                <a:gd name="T114" fmla="*/ 570 w 642"/>
                <a:gd name="T115" fmla="*/ 299 h 625"/>
                <a:gd name="T116" fmla="*/ 616 w 642"/>
                <a:gd name="T117" fmla="*/ 273 h 625"/>
                <a:gd name="T118" fmla="*/ 601 w 642"/>
                <a:gd name="T119" fmla="*/ 250 h 625"/>
                <a:gd name="T120" fmla="*/ 635 w 642"/>
                <a:gd name="T121" fmla="*/ 218 h 625"/>
                <a:gd name="T122" fmla="*/ 630 w 642"/>
                <a:gd name="T123" fmla="*/ 190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2" h="625">
                  <a:moveTo>
                    <a:pt x="182" y="33"/>
                  </a:moveTo>
                  <a:cubicBezTo>
                    <a:pt x="182" y="33"/>
                    <a:pt x="187" y="6"/>
                    <a:pt x="175" y="3"/>
                  </a:cubicBezTo>
                  <a:cubicBezTo>
                    <a:pt x="164" y="0"/>
                    <a:pt x="158" y="7"/>
                    <a:pt x="158" y="13"/>
                  </a:cubicBezTo>
                  <a:cubicBezTo>
                    <a:pt x="158" y="18"/>
                    <a:pt x="165" y="34"/>
                    <a:pt x="165" y="34"/>
                  </a:cubicBezTo>
                  <a:lnTo>
                    <a:pt x="182" y="33"/>
                  </a:lnTo>
                  <a:close/>
                  <a:moveTo>
                    <a:pt x="630" y="190"/>
                  </a:moveTo>
                  <a:cubicBezTo>
                    <a:pt x="626" y="184"/>
                    <a:pt x="611" y="201"/>
                    <a:pt x="611" y="201"/>
                  </a:cubicBezTo>
                  <a:cubicBezTo>
                    <a:pt x="611" y="201"/>
                    <a:pt x="601" y="197"/>
                    <a:pt x="595" y="194"/>
                  </a:cubicBezTo>
                  <a:cubicBezTo>
                    <a:pt x="589" y="191"/>
                    <a:pt x="575" y="208"/>
                    <a:pt x="575" y="208"/>
                  </a:cubicBezTo>
                  <a:cubicBezTo>
                    <a:pt x="553" y="194"/>
                    <a:pt x="553" y="194"/>
                    <a:pt x="553" y="194"/>
                  </a:cubicBezTo>
                  <a:cubicBezTo>
                    <a:pt x="553" y="194"/>
                    <a:pt x="579" y="194"/>
                    <a:pt x="583" y="187"/>
                  </a:cubicBezTo>
                  <a:cubicBezTo>
                    <a:pt x="587" y="180"/>
                    <a:pt x="586" y="167"/>
                    <a:pt x="586" y="167"/>
                  </a:cubicBezTo>
                  <a:cubicBezTo>
                    <a:pt x="586" y="167"/>
                    <a:pt x="596" y="166"/>
                    <a:pt x="598" y="153"/>
                  </a:cubicBezTo>
                  <a:cubicBezTo>
                    <a:pt x="600" y="140"/>
                    <a:pt x="572" y="143"/>
                    <a:pt x="572" y="143"/>
                  </a:cubicBezTo>
                  <a:cubicBezTo>
                    <a:pt x="572" y="143"/>
                    <a:pt x="568" y="129"/>
                    <a:pt x="561" y="128"/>
                  </a:cubicBezTo>
                  <a:cubicBezTo>
                    <a:pt x="554" y="127"/>
                    <a:pt x="556" y="143"/>
                    <a:pt x="556" y="143"/>
                  </a:cubicBezTo>
                  <a:cubicBezTo>
                    <a:pt x="556" y="143"/>
                    <a:pt x="550" y="134"/>
                    <a:pt x="550" y="128"/>
                  </a:cubicBezTo>
                  <a:cubicBezTo>
                    <a:pt x="550" y="122"/>
                    <a:pt x="536" y="123"/>
                    <a:pt x="536" y="123"/>
                  </a:cubicBezTo>
                  <a:cubicBezTo>
                    <a:pt x="532" y="143"/>
                    <a:pt x="532" y="143"/>
                    <a:pt x="532" y="143"/>
                  </a:cubicBezTo>
                  <a:cubicBezTo>
                    <a:pt x="532" y="143"/>
                    <a:pt x="524" y="135"/>
                    <a:pt x="522" y="129"/>
                  </a:cubicBezTo>
                  <a:cubicBezTo>
                    <a:pt x="520" y="123"/>
                    <a:pt x="519" y="109"/>
                    <a:pt x="519" y="109"/>
                  </a:cubicBezTo>
                  <a:cubicBezTo>
                    <a:pt x="498" y="117"/>
                    <a:pt x="498" y="117"/>
                    <a:pt x="498" y="117"/>
                  </a:cubicBezTo>
                  <a:cubicBezTo>
                    <a:pt x="498" y="117"/>
                    <a:pt x="514" y="108"/>
                    <a:pt x="514" y="103"/>
                  </a:cubicBezTo>
                  <a:cubicBezTo>
                    <a:pt x="514" y="98"/>
                    <a:pt x="501" y="98"/>
                    <a:pt x="501" y="93"/>
                  </a:cubicBezTo>
                  <a:cubicBezTo>
                    <a:pt x="501" y="88"/>
                    <a:pt x="543" y="88"/>
                    <a:pt x="547" y="82"/>
                  </a:cubicBezTo>
                  <a:cubicBezTo>
                    <a:pt x="551" y="76"/>
                    <a:pt x="457" y="84"/>
                    <a:pt x="457" y="84"/>
                  </a:cubicBezTo>
                  <a:cubicBezTo>
                    <a:pt x="466" y="94"/>
                    <a:pt x="466" y="94"/>
                    <a:pt x="466" y="94"/>
                  </a:cubicBezTo>
                  <a:cubicBezTo>
                    <a:pt x="466" y="94"/>
                    <a:pt x="444" y="96"/>
                    <a:pt x="435" y="99"/>
                  </a:cubicBezTo>
                  <a:cubicBezTo>
                    <a:pt x="426" y="102"/>
                    <a:pt x="402" y="119"/>
                    <a:pt x="402" y="119"/>
                  </a:cubicBezTo>
                  <a:cubicBezTo>
                    <a:pt x="378" y="120"/>
                    <a:pt x="346" y="88"/>
                    <a:pt x="346" y="88"/>
                  </a:cubicBezTo>
                  <a:cubicBezTo>
                    <a:pt x="346" y="88"/>
                    <a:pt x="265" y="93"/>
                    <a:pt x="255" y="92"/>
                  </a:cubicBezTo>
                  <a:cubicBezTo>
                    <a:pt x="245" y="91"/>
                    <a:pt x="242" y="82"/>
                    <a:pt x="242" y="68"/>
                  </a:cubicBezTo>
                  <a:cubicBezTo>
                    <a:pt x="242" y="54"/>
                    <a:pt x="236" y="44"/>
                    <a:pt x="210" y="39"/>
                  </a:cubicBezTo>
                  <a:cubicBezTo>
                    <a:pt x="184" y="34"/>
                    <a:pt x="147" y="56"/>
                    <a:pt x="147" y="56"/>
                  </a:cubicBezTo>
                  <a:cubicBezTo>
                    <a:pt x="147" y="56"/>
                    <a:pt x="120" y="62"/>
                    <a:pt x="104" y="76"/>
                  </a:cubicBezTo>
                  <a:cubicBezTo>
                    <a:pt x="88" y="90"/>
                    <a:pt x="111" y="116"/>
                    <a:pt x="113" y="136"/>
                  </a:cubicBezTo>
                  <a:cubicBezTo>
                    <a:pt x="115" y="156"/>
                    <a:pt x="88" y="172"/>
                    <a:pt x="88" y="172"/>
                  </a:cubicBezTo>
                  <a:cubicBezTo>
                    <a:pt x="89" y="154"/>
                    <a:pt x="89" y="154"/>
                    <a:pt x="89" y="154"/>
                  </a:cubicBezTo>
                  <a:cubicBezTo>
                    <a:pt x="89" y="154"/>
                    <a:pt x="71" y="149"/>
                    <a:pt x="65" y="139"/>
                  </a:cubicBezTo>
                  <a:cubicBezTo>
                    <a:pt x="59" y="129"/>
                    <a:pt x="75" y="111"/>
                    <a:pt x="82" y="102"/>
                  </a:cubicBezTo>
                  <a:cubicBezTo>
                    <a:pt x="89" y="93"/>
                    <a:pt x="88" y="77"/>
                    <a:pt x="88" y="65"/>
                  </a:cubicBezTo>
                  <a:cubicBezTo>
                    <a:pt x="88" y="53"/>
                    <a:pt x="77" y="38"/>
                    <a:pt x="77" y="38"/>
                  </a:cubicBezTo>
                  <a:cubicBezTo>
                    <a:pt x="77" y="38"/>
                    <a:pt x="76" y="53"/>
                    <a:pt x="65" y="56"/>
                  </a:cubicBezTo>
                  <a:cubicBezTo>
                    <a:pt x="54" y="60"/>
                    <a:pt x="45" y="64"/>
                    <a:pt x="38" y="77"/>
                  </a:cubicBezTo>
                  <a:cubicBezTo>
                    <a:pt x="30" y="90"/>
                    <a:pt x="30" y="110"/>
                    <a:pt x="30" y="110"/>
                  </a:cubicBezTo>
                  <a:cubicBezTo>
                    <a:pt x="24" y="115"/>
                    <a:pt x="24" y="115"/>
                    <a:pt x="24" y="115"/>
                  </a:cubicBezTo>
                  <a:cubicBezTo>
                    <a:pt x="24" y="133"/>
                    <a:pt x="24" y="133"/>
                    <a:pt x="24" y="133"/>
                  </a:cubicBezTo>
                  <a:cubicBezTo>
                    <a:pt x="24" y="133"/>
                    <a:pt x="0" y="154"/>
                    <a:pt x="5" y="162"/>
                  </a:cubicBezTo>
                  <a:cubicBezTo>
                    <a:pt x="10" y="171"/>
                    <a:pt x="14" y="157"/>
                    <a:pt x="21" y="157"/>
                  </a:cubicBezTo>
                  <a:cubicBezTo>
                    <a:pt x="28" y="157"/>
                    <a:pt x="35" y="171"/>
                    <a:pt x="35" y="180"/>
                  </a:cubicBezTo>
                  <a:cubicBezTo>
                    <a:pt x="35" y="189"/>
                    <a:pt x="36" y="195"/>
                    <a:pt x="36" y="195"/>
                  </a:cubicBezTo>
                  <a:cubicBezTo>
                    <a:pt x="36" y="195"/>
                    <a:pt x="52" y="204"/>
                    <a:pt x="50" y="216"/>
                  </a:cubicBezTo>
                  <a:cubicBezTo>
                    <a:pt x="48" y="229"/>
                    <a:pt x="42" y="232"/>
                    <a:pt x="42" y="232"/>
                  </a:cubicBezTo>
                  <a:cubicBezTo>
                    <a:pt x="41" y="259"/>
                    <a:pt x="41" y="259"/>
                    <a:pt x="41" y="259"/>
                  </a:cubicBezTo>
                  <a:cubicBezTo>
                    <a:pt x="51" y="259"/>
                    <a:pt x="51" y="259"/>
                    <a:pt x="51" y="259"/>
                  </a:cubicBezTo>
                  <a:cubicBezTo>
                    <a:pt x="51" y="259"/>
                    <a:pt x="50" y="277"/>
                    <a:pt x="59" y="280"/>
                  </a:cubicBezTo>
                  <a:cubicBezTo>
                    <a:pt x="68" y="283"/>
                    <a:pt x="79" y="278"/>
                    <a:pt x="83" y="278"/>
                  </a:cubicBezTo>
                  <a:cubicBezTo>
                    <a:pt x="88" y="278"/>
                    <a:pt x="106" y="285"/>
                    <a:pt x="111" y="284"/>
                  </a:cubicBezTo>
                  <a:cubicBezTo>
                    <a:pt x="116" y="283"/>
                    <a:pt x="117" y="277"/>
                    <a:pt x="122" y="277"/>
                  </a:cubicBezTo>
                  <a:cubicBezTo>
                    <a:pt x="127" y="277"/>
                    <a:pt x="136" y="284"/>
                    <a:pt x="136" y="284"/>
                  </a:cubicBezTo>
                  <a:cubicBezTo>
                    <a:pt x="154" y="285"/>
                    <a:pt x="154" y="285"/>
                    <a:pt x="154" y="285"/>
                  </a:cubicBezTo>
                  <a:cubicBezTo>
                    <a:pt x="154" y="285"/>
                    <a:pt x="173" y="327"/>
                    <a:pt x="181" y="330"/>
                  </a:cubicBezTo>
                  <a:cubicBezTo>
                    <a:pt x="189" y="332"/>
                    <a:pt x="197" y="329"/>
                    <a:pt x="197" y="329"/>
                  </a:cubicBezTo>
                  <a:cubicBezTo>
                    <a:pt x="197" y="329"/>
                    <a:pt x="195" y="322"/>
                    <a:pt x="203" y="322"/>
                  </a:cubicBezTo>
                  <a:cubicBezTo>
                    <a:pt x="211" y="322"/>
                    <a:pt x="213" y="329"/>
                    <a:pt x="221" y="330"/>
                  </a:cubicBezTo>
                  <a:cubicBezTo>
                    <a:pt x="229" y="331"/>
                    <a:pt x="232" y="324"/>
                    <a:pt x="232" y="324"/>
                  </a:cubicBezTo>
                  <a:cubicBezTo>
                    <a:pt x="251" y="326"/>
                    <a:pt x="251" y="326"/>
                    <a:pt x="251" y="326"/>
                  </a:cubicBezTo>
                  <a:cubicBezTo>
                    <a:pt x="251" y="326"/>
                    <a:pt x="270" y="311"/>
                    <a:pt x="276" y="323"/>
                  </a:cubicBezTo>
                  <a:cubicBezTo>
                    <a:pt x="282" y="336"/>
                    <a:pt x="265" y="344"/>
                    <a:pt x="265" y="344"/>
                  </a:cubicBezTo>
                  <a:cubicBezTo>
                    <a:pt x="265" y="344"/>
                    <a:pt x="266" y="359"/>
                    <a:pt x="263" y="362"/>
                  </a:cubicBezTo>
                  <a:cubicBezTo>
                    <a:pt x="260" y="365"/>
                    <a:pt x="250" y="370"/>
                    <a:pt x="251" y="375"/>
                  </a:cubicBezTo>
                  <a:cubicBezTo>
                    <a:pt x="252" y="380"/>
                    <a:pt x="254" y="398"/>
                    <a:pt x="254" y="404"/>
                  </a:cubicBezTo>
                  <a:cubicBezTo>
                    <a:pt x="254" y="410"/>
                    <a:pt x="252" y="433"/>
                    <a:pt x="252" y="433"/>
                  </a:cubicBezTo>
                  <a:cubicBezTo>
                    <a:pt x="252" y="433"/>
                    <a:pt x="261" y="437"/>
                    <a:pt x="261" y="440"/>
                  </a:cubicBezTo>
                  <a:cubicBezTo>
                    <a:pt x="261" y="443"/>
                    <a:pt x="262" y="452"/>
                    <a:pt x="262" y="452"/>
                  </a:cubicBezTo>
                  <a:cubicBezTo>
                    <a:pt x="262" y="452"/>
                    <a:pt x="278" y="466"/>
                    <a:pt x="278" y="476"/>
                  </a:cubicBezTo>
                  <a:cubicBezTo>
                    <a:pt x="278" y="486"/>
                    <a:pt x="249" y="504"/>
                    <a:pt x="249" y="504"/>
                  </a:cubicBezTo>
                  <a:cubicBezTo>
                    <a:pt x="259" y="507"/>
                    <a:pt x="259" y="507"/>
                    <a:pt x="259" y="507"/>
                  </a:cubicBezTo>
                  <a:cubicBezTo>
                    <a:pt x="259" y="507"/>
                    <a:pt x="281" y="521"/>
                    <a:pt x="281" y="525"/>
                  </a:cubicBezTo>
                  <a:cubicBezTo>
                    <a:pt x="281" y="529"/>
                    <a:pt x="284" y="549"/>
                    <a:pt x="284" y="549"/>
                  </a:cubicBezTo>
                  <a:cubicBezTo>
                    <a:pt x="284" y="549"/>
                    <a:pt x="295" y="575"/>
                    <a:pt x="294" y="580"/>
                  </a:cubicBezTo>
                  <a:cubicBezTo>
                    <a:pt x="293" y="585"/>
                    <a:pt x="299" y="594"/>
                    <a:pt x="299" y="594"/>
                  </a:cubicBezTo>
                  <a:cubicBezTo>
                    <a:pt x="299" y="594"/>
                    <a:pt x="306" y="607"/>
                    <a:pt x="310" y="612"/>
                  </a:cubicBezTo>
                  <a:cubicBezTo>
                    <a:pt x="314" y="617"/>
                    <a:pt x="326" y="619"/>
                    <a:pt x="326" y="619"/>
                  </a:cubicBezTo>
                  <a:cubicBezTo>
                    <a:pt x="336" y="625"/>
                    <a:pt x="347" y="603"/>
                    <a:pt x="356" y="605"/>
                  </a:cubicBezTo>
                  <a:cubicBezTo>
                    <a:pt x="365" y="607"/>
                    <a:pt x="354" y="624"/>
                    <a:pt x="362" y="624"/>
                  </a:cubicBezTo>
                  <a:cubicBezTo>
                    <a:pt x="370" y="624"/>
                    <a:pt x="376" y="599"/>
                    <a:pt x="382" y="595"/>
                  </a:cubicBezTo>
                  <a:cubicBezTo>
                    <a:pt x="388" y="591"/>
                    <a:pt x="400" y="593"/>
                    <a:pt x="400" y="593"/>
                  </a:cubicBezTo>
                  <a:cubicBezTo>
                    <a:pt x="402" y="587"/>
                    <a:pt x="402" y="587"/>
                    <a:pt x="402" y="587"/>
                  </a:cubicBezTo>
                  <a:cubicBezTo>
                    <a:pt x="402" y="587"/>
                    <a:pt x="407" y="583"/>
                    <a:pt x="420" y="579"/>
                  </a:cubicBezTo>
                  <a:cubicBezTo>
                    <a:pt x="433" y="575"/>
                    <a:pt x="432" y="550"/>
                    <a:pt x="432" y="550"/>
                  </a:cubicBezTo>
                  <a:cubicBezTo>
                    <a:pt x="432" y="550"/>
                    <a:pt x="445" y="553"/>
                    <a:pt x="457" y="547"/>
                  </a:cubicBezTo>
                  <a:cubicBezTo>
                    <a:pt x="469" y="541"/>
                    <a:pt x="462" y="527"/>
                    <a:pt x="462" y="527"/>
                  </a:cubicBezTo>
                  <a:cubicBezTo>
                    <a:pt x="432" y="524"/>
                    <a:pt x="432" y="524"/>
                    <a:pt x="432" y="524"/>
                  </a:cubicBezTo>
                  <a:cubicBezTo>
                    <a:pt x="432" y="524"/>
                    <a:pt x="432" y="515"/>
                    <a:pt x="432" y="508"/>
                  </a:cubicBezTo>
                  <a:cubicBezTo>
                    <a:pt x="432" y="501"/>
                    <a:pt x="419" y="490"/>
                    <a:pt x="419" y="490"/>
                  </a:cubicBezTo>
                  <a:cubicBezTo>
                    <a:pt x="419" y="490"/>
                    <a:pt x="434" y="466"/>
                    <a:pt x="412" y="455"/>
                  </a:cubicBezTo>
                  <a:cubicBezTo>
                    <a:pt x="390" y="444"/>
                    <a:pt x="400" y="425"/>
                    <a:pt x="400" y="425"/>
                  </a:cubicBezTo>
                  <a:cubicBezTo>
                    <a:pt x="400" y="425"/>
                    <a:pt x="403" y="431"/>
                    <a:pt x="406" y="434"/>
                  </a:cubicBezTo>
                  <a:cubicBezTo>
                    <a:pt x="409" y="437"/>
                    <a:pt x="418" y="429"/>
                    <a:pt x="429" y="433"/>
                  </a:cubicBezTo>
                  <a:cubicBezTo>
                    <a:pt x="440" y="437"/>
                    <a:pt x="434" y="446"/>
                    <a:pt x="436" y="449"/>
                  </a:cubicBezTo>
                  <a:cubicBezTo>
                    <a:pt x="438" y="452"/>
                    <a:pt x="450" y="444"/>
                    <a:pt x="450" y="444"/>
                  </a:cubicBezTo>
                  <a:cubicBezTo>
                    <a:pt x="460" y="450"/>
                    <a:pt x="460" y="450"/>
                    <a:pt x="460" y="450"/>
                  </a:cubicBezTo>
                  <a:cubicBezTo>
                    <a:pt x="460" y="450"/>
                    <a:pt x="465" y="442"/>
                    <a:pt x="469" y="446"/>
                  </a:cubicBezTo>
                  <a:cubicBezTo>
                    <a:pt x="473" y="450"/>
                    <a:pt x="484" y="469"/>
                    <a:pt x="493" y="469"/>
                  </a:cubicBezTo>
                  <a:cubicBezTo>
                    <a:pt x="502" y="469"/>
                    <a:pt x="499" y="435"/>
                    <a:pt x="507" y="432"/>
                  </a:cubicBezTo>
                  <a:cubicBezTo>
                    <a:pt x="515" y="429"/>
                    <a:pt x="521" y="437"/>
                    <a:pt x="528" y="437"/>
                  </a:cubicBezTo>
                  <a:cubicBezTo>
                    <a:pt x="535" y="437"/>
                    <a:pt x="549" y="430"/>
                    <a:pt x="551" y="424"/>
                  </a:cubicBezTo>
                  <a:cubicBezTo>
                    <a:pt x="553" y="418"/>
                    <a:pt x="565" y="413"/>
                    <a:pt x="565" y="413"/>
                  </a:cubicBezTo>
                  <a:cubicBezTo>
                    <a:pt x="583" y="414"/>
                    <a:pt x="583" y="414"/>
                    <a:pt x="583" y="414"/>
                  </a:cubicBezTo>
                  <a:cubicBezTo>
                    <a:pt x="581" y="404"/>
                    <a:pt x="581" y="404"/>
                    <a:pt x="581" y="404"/>
                  </a:cubicBezTo>
                  <a:cubicBezTo>
                    <a:pt x="581" y="404"/>
                    <a:pt x="592" y="406"/>
                    <a:pt x="596" y="399"/>
                  </a:cubicBezTo>
                  <a:cubicBezTo>
                    <a:pt x="600" y="392"/>
                    <a:pt x="594" y="378"/>
                    <a:pt x="594" y="378"/>
                  </a:cubicBezTo>
                  <a:cubicBezTo>
                    <a:pt x="594" y="378"/>
                    <a:pt x="567" y="351"/>
                    <a:pt x="563" y="340"/>
                  </a:cubicBezTo>
                  <a:cubicBezTo>
                    <a:pt x="559" y="329"/>
                    <a:pt x="572" y="330"/>
                    <a:pt x="581" y="322"/>
                  </a:cubicBezTo>
                  <a:cubicBezTo>
                    <a:pt x="590" y="315"/>
                    <a:pt x="570" y="304"/>
                    <a:pt x="570" y="299"/>
                  </a:cubicBezTo>
                  <a:cubicBezTo>
                    <a:pt x="570" y="294"/>
                    <a:pt x="595" y="295"/>
                    <a:pt x="606" y="291"/>
                  </a:cubicBezTo>
                  <a:cubicBezTo>
                    <a:pt x="617" y="287"/>
                    <a:pt x="616" y="277"/>
                    <a:pt x="616" y="273"/>
                  </a:cubicBezTo>
                  <a:cubicBezTo>
                    <a:pt x="616" y="270"/>
                    <a:pt x="609" y="270"/>
                    <a:pt x="605" y="270"/>
                  </a:cubicBezTo>
                  <a:cubicBezTo>
                    <a:pt x="601" y="270"/>
                    <a:pt x="603" y="259"/>
                    <a:pt x="601" y="250"/>
                  </a:cubicBezTo>
                  <a:cubicBezTo>
                    <a:pt x="599" y="241"/>
                    <a:pt x="615" y="236"/>
                    <a:pt x="621" y="234"/>
                  </a:cubicBezTo>
                  <a:cubicBezTo>
                    <a:pt x="628" y="232"/>
                    <a:pt x="635" y="218"/>
                    <a:pt x="635" y="218"/>
                  </a:cubicBezTo>
                  <a:cubicBezTo>
                    <a:pt x="642" y="206"/>
                    <a:pt x="642" y="206"/>
                    <a:pt x="642" y="206"/>
                  </a:cubicBezTo>
                  <a:cubicBezTo>
                    <a:pt x="642" y="206"/>
                    <a:pt x="634" y="196"/>
                    <a:pt x="630" y="190"/>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57" name="Freeform 18"/>
            <p:cNvSpPr>
              <a:spLocks/>
            </p:cNvSpPr>
            <p:nvPr/>
          </p:nvSpPr>
          <p:spPr bwMode="gray">
            <a:xfrm>
              <a:off x="2041525" y="3684588"/>
              <a:ext cx="155575" cy="79375"/>
            </a:xfrm>
            <a:custGeom>
              <a:avLst/>
              <a:gdLst>
                <a:gd name="T0" fmla="*/ 209 w 279"/>
                <a:gd name="T1" fmla="*/ 47 h 141"/>
                <a:gd name="T2" fmla="*/ 224 w 279"/>
                <a:gd name="T3" fmla="*/ 66 h 141"/>
                <a:gd name="T4" fmla="*/ 232 w 279"/>
                <a:gd name="T5" fmla="*/ 63 h 141"/>
                <a:gd name="T6" fmla="*/ 254 w 279"/>
                <a:gd name="T7" fmla="*/ 81 h 141"/>
                <a:gd name="T8" fmla="*/ 232 w 279"/>
                <a:gd name="T9" fmla="*/ 71 h 141"/>
                <a:gd name="T10" fmla="*/ 229 w 279"/>
                <a:gd name="T11" fmla="*/ 106 h 141"/>
                <a:gd name="T12" fmla="*/ 243 w 279"/>
                <a:gd name="T13" fmla="*/ 128 h 141"/>
                <a:gd name="T14" fmla="*/ 243 w 279"/>
                <a:gd name="T15" fmla="*/ 128 h 141"/>
                <a:gd name="T16" fmla="*/ 253 w 279"/>
                <a:gd name="T17" fmla="*/ 107 h 141"/>
                <a:gd name="T18" fmla="*/ 269 w 279"/>
                <a:gd name="T19" fmla="*/ 109 h 141"/>
                <a:gd name="T20" fmla="*/ 279 w 279"/>
                <a:gd name="T21" fmla="*/ 84 h 141"/>
                <a:gd name="T22" fmla="*/ 266 w 279"/>
                <a:gd name="T23" fmla="*/ 70 h 141"/>
                <a:gd name="T24" fmla="*/ 270 w 279"/>
                <a:gd name="T25" fmla="*/ 58 h 141"/>
                <a:gd name="T26" fmla="*/ 255 w 279"/>
                <a:gd name="T27" fmla="*/ 46 h 141"/>
                <a:gd name="T28" fmla="*/ 236 w 279"/>
                <a:gd name="T29" fmla="*/ 18 h 141"/>
                <a:gd name="T30" fmla="*/ 196 w 279"/>
                <a:gd name="T31" fmla="*/ 13 h 141"/>
                <a:gd name="T32" fmla="*/ 195 w 279"/>
                <a:gd name="T33" fmla="*/ 4 h 141"/>
                <a:gd name="T34" fmla="*/ 163 w 279"/>
                <a:gd name="T35" fmla="*/ 7 h 141"/>
                <a:gd name="T36" fmla="*/ 144 w 279"/>
                <a:gd name="T37" fmla="*/ 27 h 141"/>
                <a:gd name="T38" fmla="*/ 126 w 279"/>
                <a:gd name="T39" fmla="*/ 25 h 141"/>
                <a:gd name="T40" fmla="*/ 94 w 279"/>
                <a:gd name="T41" fmla="*/ 50 h 141"/>
                <a:gd name="T42" fmla="*/ 75 w 279"/>
                <a:gd name="T43" fmla="*/ 43 h 141"/>
                <a:gd name="T44" fmla="*/ 65 w 279"/>
                <a:gd name="T45" fmla="*/ 32 h 141"/>
                <a:gd name="T46" fmla="*/ 59 w 279"/>
                <a:gd name="T47" fmla="*/ 39 h 141"/>
                <a:gd name="T48" fmla="*/ 40 w 279"/>
                <a:gd name="T49" fmla="*/ 35 h 141"/>
                <a:gd name="T50" fmla="*/ 35 w 279"/>
                <a:gd name="T51" fmla="*/ 10 h 141"/>
                <a:gd name="T52" fmla="*/ 27 w 279"/>
                <a:gd name="T53" fmla="*/ 5 h 141"/>
                <a:gd name="T54" fmla="*/ 10 w 279"/>
                <a:gd name="T55" fmla="*/ 11 h 141"/>
                <a:gd name="T56" fmla="*/ 10 w 279"/>
                <a:gd name="T57" fmla="*/ 33 h 141"/>
                <a:gd name="T58" fmla="*/ 24 w 279"/>
                <a:gd name="T59" fmla="*/ 40 h 141"/>
                <a:gd name="T60" fmla="*/ 11 w 279"/>
                <a:gd name="T61" fmla="*/ 51 h 141"/>
                <a:gd name="T62" fmla="*/ 10 w 279"/>
                <a:gd name="T63" fmla="*/ 65 h 141"/>
                <a:gd name="T64" fmla="*/ 6 w 279"/>
                <a:gd name="T65" fmla="*/ 70 h 141"/>
                <a:gd name="T66" fmla="*/ 11 w 279"/>
                <a:gd name="T67" fmla="*/ 75 h 141"/>
                <a:gd name="T68" fmla="*/ 39 w 279"/>
                <a:gd name="T69" fmla="*/ 69 h 141"/>
                <a:gd name="T70" fmla="*/ 44 w 279"/>
                <a:gd name="T71" fmla="*/ 81 h 141"/>
                <a:gd name="T72" fmla="*/ 64 w 279"/>
                <a:gd name="T73" fmla="*/ 80 h 141"/>
                <a:gd name="T74" fmla="*/ 67 w 279"/>
                <a:gd name="T75" fmla="*/ 107 h 141"/>
                <a:gd name="T76" fmla="*/ 86 w 279"/>
                <a:gd name="T77" fmla="*/ 102 h 141"/>
                <a:gd name="T78" fmla="*/ 86 w 279"/>
                <a:gd name="T79" fmla="*/ 89 h 141"/>
                <a:gd name="T80" fmla="*/ 97 w 279"/>
                <a:gd name="T81" fmla="*/ 88 h 141"/>
                <a:gd name="T82" fmla="*/ 115 w 279"/>
                <a:gd name="T83" fmla="*/ 134 h 141"/>
                <a:gd name="T84" fmla="*/ 143 w 279"/>
                <a:gd name="T85" fmla="*/ 118 h 141"/>
                <a:gd name="T86" fmla="*/ 116 w 279"/>
                <a:gd name="T87" fmla="*/ 81 h 141"/>
                <a:gd name="T88" fmla="*/ 147 w 279"/>
                <a:gd name="T89" fmla="*/ 62 h 141"/>
                <a:gd name="T90" fmla="*/ 177 w 279"/>
                <a:gd name="T91" fmla="*/ 36 h 141"/>
                <a:gd name="T92" fmla="*/ 209 w 279"/>
                <a:gd name="T93" fmla="*/ 47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79" h="141">
                  <a:moveTo>
                    <a:pt x="209" y="47"/>
                  </a:moveTo>
                  <a:cubicBezTo>
                    <a:pt x="215" y="51"/>
                    <a:pt x="224" y="66"/>
                    <a:pt x="224" y="66"/>
                  </a:cubicBezTo>
                  <a:cubicBezTo>
                    <a:pt x="232" y="63"/>
                    <a:pt x="232" y="63"/>
                    <a:pt x="232" y="63"/>
                  </a:cubicBezTo>
                  <a:cubicBezTo>
                    <a:pt x="254" y="81"/>
                    <a:pt x="254" y="81"/>
                    <a:pt x="254" y="81"/>
                  </a:cubicBezTo>
                  <a:cubicBezTo>
                    <a:pt x="232" y="71"/>
                    <a:pt x="232" y="71"/>
                    <a:pt x="232" y="71"/>
                  </a:cubicBezTo>
                  <a:cubicBezTo>
                    <a:pt x="232" y="71"/>
                    <a:pt x="229" y="100"/>
                    <a:pt x="229" y="106"/>
                  </a:cubicBezTo>
                  <a:cubicBezTo>
                    <a:pt x="229" y="111"/>
                    <a:pt x="240" y="124"/>
                    <a:pt x="243" y="128"/>
                  </a:cubicBezTo>
                  <a:cubicBezTo>
                    <a:pt x="243" y="128"/>
                    <a:pt x="243" y="128"/>
                    <a:pt x="243" y="128"/>
                  </a:cubicBezTo>
                  <a:cubicBezTo>
                    <a:pt x="253" y="107"/>
                    <a:pt x="253" y="107"/>
                    <a:pt x="253" y="107"/>
                  </a:cubicBezTo>
                  <a:cubicBezTo>
                    <a:pt x="253" y="107"/>
                    <a:pt x="260" y="117"/>
                    <a:pt x="269" y="109"/>
                  </a:cubicBezTo>
                  <a:cubicBezTo>
                    <a:pt x="279" y="101"/>
                    <a:pt x="279" y="84"/>
                    <a:pt x="279" y="84"/>
                  </a:cubicBezTo>
                  <a:cubicBezTo>
                    <a:pt x="279" y="84"/>
                    <a:pt x="266" y="77"/>
                    <a:pt x="266" y="70"/>
                  </a:cubicBezTo>
                  <a:cubicBezTo>
                    <a:pt x="266" y="64"/>
                    <a:pt x="269" y="59"/>
                    <a:pt x="270" y="58"/>
                  </a:cubicBezTo>
                  <a:cubicBezTo>
                    <a:pt x="255" y="46"/>
                    <a:pt x="255" y="46"/>
                    <a:pt x="255" y="46"/>
                  </a:cubicBezTo>
                  <a:cubicBezTo>
                    <a:pt x="255" y="46"/>
                    <a:pt x="251" y="24"/>
                    <a:pt x="236" y="18"/>
                  </a:cubicBezTo>
                  <a:cubicBezTo>
                    <a:pt x="221" y="12"/>
                    <a:pt x="196" y="13"/>
                    <a:pt x="196" y="13"/>
                  </a:cubicBezTo>
                  <a:cubicBezTo>
                    <a:pt x="195" y="4"/>
                    <a:pt x="195" y="4"/>
                    <a:pt x="195" y="4"/>
                  </a:cubicBezTo>
                  <a:cubicBezTo>
                    <a:pt x="195" y="4"/>
                    <a:pt x="169" y="0"/>
                    <a:pt x="163" y="7"/>
                  </a:cubicBezTo>
                  <a:cubicBezTo>
                    <a:pt x="157" y="14"/>
                    <a:pt x="144" y="27"/>
                    <a:pt x="144" y="27"/>
                  </a:cubicBezTo>
                  <a:cubicBezTo>
                    <a:pt x="144" y="27"/>
                    <a:pt x="134" y="18"/>
                    <a:pt x="126" y="25"/>
                  </a:cubicBezTo>
                  <a:cubicBezTo>
                    <a:pt x="118" y="32"/>
                    <a:pt x="104" y="50"/>
                    <a:pt x="94" y="50"/>
                  </a:cubicBezTo>
                  <a:cubicBezTo>
                    <a:pt x="84" y="50"/>
                    <a:pt x="75" y="43"/>
                    <a:pt x="75" y="43"/>
                  </a:cubicBezTo>
                  <a:cubicBezTo>
                    <a:pt x="65" y="32"/>
                    <a:pt x="65" y="32"/>
                    <a:pt x="65" y="32"/>
                  </a:cubicBezTo>
                  <a:cubicBezTo>
                    <a:pt x="59" y="39"/>
                    <a:pt x="59" y="39"/>
                    <a:pt x="59" y="39"/>
                  </a:cubicBezTo>
                  <a:cubicBezTo>
                    <a:pt x="59" y="39"/>
                    <a:pt x="45" y="44"/>
                    <a:pt x="40" y="35"/>
                  </a:cubicBezTo>
                  <a:cubicBezTo>
                    <a:pt x="35" y="26"/>
                    <a:pt x="42" y="16"/>
                    <a:pt x="35" y="10"/>
                  </a:cubicBezTo>
                  <a:cubicBezTo>
                    <a:pt x="33" y="8"/>
                    <a:pt x="30" y="7"/>
                    <a:pt x="27" y="5"/>
                  </a:cubicBezTo>
                  <a:cubicBezTo>
                    <a:pt x="23" y="6"/>
                    <a:pt x="16" y="9"/>
                    <a:pt x="10" y="11"/>
                  </a:cubicBezTo>
                  <a:cubicBezTo>
                    <a:pt x="0" y="14"/>
                    <a:pt x="10" y="33"/>
                    <a:pt x="10" y="33"/>
                  </a:cubicBezTo>
                  <a:cubicBezTo>
                    <a:pt x="10" y="33"/>
                    <a:pt x="24" y="35"/>
                    <a:pt x="24" y="40"/>
                  </a:cubicBezTo>
                  <a:cubicBezTo>
                    <a:pt x="24" y="45"/>
                    <a:pt x="11" y="51"/>
                    <a:pt x="11" y="51"/>
                  </a:cubicBezTo>
                  <a:cubicBezTo>
                    <a:pt x="10" y="65"/>
                    <a:pt x="10" y="65"/>
                    <a:pt x="10" y="65"/>
                  </a:cubicBezTo>
                  <a:cubicBezTo>
                    <a:pt x="6" y="70"/>
                    <a:pt x="6" y="70"/>
                    <a:pt x="6" y="70"/>
                  </a:cubicBezTo>
                  <a:cubicBezTo>
                    <a:pt x="11" y="75"/>
                    <a:pt x="11" y="75"/>
                    <a:pt x="11" y="75"/>
                  </a:cubicBezTo>
                  <a:cubicBezTo>
                    <a:pt x="39" y="69"/>
                    <a:pt x="39" y="69"/>
                    <a:pt x="39" y="69"/>
                  </a:cubicBezTo>
                  <a:cubicBezTo>
                    <a:pt x="44" y="81"/>
                    <a:pt x="44" y="81"/>
                    <a:pt x="44" y="81"/>
                  </a:cubicBezTo>
                  <a:cubicBezTo>
                    <a:pt x="64" y="80"/>
                    <a:pt x="64" y="80"/>
                    <a:pt x="64" y="80"/>
                  </a:cubicBezTo>
                  <a:cubicBezTo>
                    <a:pt x="64" y="80"/>
                    <a:pt x="59" y="102"/>
                    <a:pt x="67" y="107"/>
                  </a:cubicBezTo>
                  <a:cubicBezTo>
                    <a:pt x="75" y="112"/>
                    <a:pt x="86" y="102"/>
                    <a:pt x="86" y="102"/>
                  </a:cubicBezTo>
                  <a:cubicBezTo>
                    <a:pt x="86" y="89"/>
                    <a:pt x="86" y="89"/>
                    <a:pt x="86" y="89"/>
                  </a:cubicBezTo>
                  <a:cubicBezTo>
                    <a:pt x="97" y="88"/>
                    <a:pt x="97" y="88"/>
                    <a:pt x="97" y="88"/>
                  </a:cubicBezTo>
                  <a:cubicBezTo>
                    <a:pt x="97" y="88"/>
                    <a:pt x="101" y="141"/>
                    <a:pt x="115" y="134"/>
                  </a:cubicBezTo>
                  <a:cubicBezTo>
                    <a:pt x="129" y="127"/>
                    <a:pt x="143" y="118"/>
                    <a:pt x="143" y="118"/>
                  </a:cubicBezTo>
                  <a:cubicBezTo>
                    <a:pt x="143" y="118"/>
                    <a:pt x="105" y="91"/>
                    <a:pt x="116" y="81"/>
                  </a:cubicBezTo>
                  <a:cubicBezTo>
                    <a:pt x="127" y="71"/>
                    <a:pt x="138" y="70"/>
                    <a:pt x="147" y="62"/>
                  </a:cubicBezTo>
                  <a:cubicBezTo>
                    <a:pt x="156" y="54"/>
                    <a:pt x="167" y="34"/>
                    <a:pt x="177" y="36"/>
                  </a:cubicBezTo>
                  <a:cubicBezTo>
                    <a:pt x="187" y="38"/>
                    <a:pt x="203" y="43"/>
                    <a:pt x="209" y="47"/>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58" name="Freeform 19"/>
            <p:cNvSpPr>
              <a:spLocks/>
            </p:cNvSpPr>
            <p:nvPr/>
          </p:nvSpPr>
          <p:spPr bwMode="gray">
            <a:xfrm>
              <a:off x="2139950" y="3595688"/>
              <a:ext cx="325437" cy="506413"/>
            </a:xfrm>
            <a:custGeom>
              <a:avLst/>
              <a:gdLst>
                <a:gd name="T0" fmla="*/ 65 w 581"/>
                <a:gd name="T1" fmla="*/ 635 h 902"/>
                <a:gd name="T2" fmla="*/ 120 w 581"/>
                <a:gd name="T3" fmla="*/ 665 h 902"/>
                <a:gd name="T4" fmla="*/ 185 w 581"/>
                <a:gd name="T5" fmla="*/ 680 h 902"/>
                <a:gd name="T6" fmla="*/ 238 w 581"/>
                <a:gd name="T7" fmla="*/ 732 h 902"/>
                <a:gd name="T8" fmla="*/ 264 w 581"/>
                <a:gd name="T9" fmla="*/ 772 h 902"/>
                <a:gd name="T10" fmla="*/ 329 w 581"/>
                <a:gd name="T11" fmla="*/ 813 h 902"/>
                <a:gd name="T12" fmla="*/ 388 w 581"/>
                <a:gd name="T13" fmla="*/ 797 h 902"/>
                <a:gd name="T14" fmla="*/ 415 w 581"/>
                <a:gd name="T15" fmla="*/ 846 h 902"/>
                <a:gd name="T16" fmla="*/ 427 w 581"/>
                <a:gd name="T17" fmla="*/ 898 h 902"/>
                <a:gd name="T18" fmla="*/ 444 w 581"/>
                <a:gd name="T19" fmla="*/ 831 h 902"/>
                <a:gd name="T20" fmla="*/ 464 w 581"/>
                <a:gd name="T21" fmla="*/ 749 h 902"/>
                <a:gd name="T22" fmla="*/ 425 w 581"/>
                <a:gd name="T23" fmla="*/ 688 h 902"/>
                <a:gd name="T24" fmla="*/ 471 w 581"/>
                <a:gd name="T25" fmla="*/ 643 h 902"/>
                <a:gd name="T26" fmla="*/ 442 w 581"/>
                <a:gd name="T27" fmla="*/ 616 h 902"/>
                <a:gd name="T28" fmla="*/ 510 w 581"/>
                <a:gd name="T29" fmla="*/ 586 h 902"/>
                <a:gd name="T30" fmla="*/ 555 w 581"/>
                <a:gd name="T31" fmla="*/ 563 h 902"/>
                <a:gd name="T32" fmla="*/ 564 w 581"/>
                <a:gd name="T33" fmla="*/ 614 h 902"/>
                <a:gd name="T34" fmla="*/ 566 w 581"/>
                <a:gd name="T35" fmla="*/ 569 h 902"/>
                <a:gd name="T36" fmla="*/ 531 w 581"/>
                <a:gd name="T37" fmla="*/ 524 h 902"/>
                <a:gd name="T38" fmla="*/ 543 w 581"/>
                <a:gd name="T39" fmla="*/ 460 h 902"/>
                <a:gd name="T40" fmla="*/ 533 w 581"/>
                <a:gd name="T41" fmla="*/ 395 h 902"/>
                <a:gd name="T42" fmla="*/ 558 w 581"/>
                <a:gd name="T43" fmla="*/ 343 h 902"/>
                <a:gd name="T44" fmla="*/ 503 w 581"/>
                <a:gd name="T45" fmla="*/ 350 h 902"/>
                <a:gd name="T46" fmla="*/ 463 w 581"/>
                <a:gd name="T47" fmla="*/ 350 h 902"/>
                <a:gd name="T48" fmla="*/ 404 w 581"/>
                <a:gd name="T49" fmla="*/ 297 h 902"/>
                <a:gd name="T50" fmla="*/ 341 w 581"/>
                <a:gd name="T51" fmla="*/ 300 h 902"/>
                <a:gd name="T52" fmla="*/ 324 w 581"/>
                <a:gd name="T53" fmla="*/ 252 h 902"/>
                <a:gd name="T54" fmla="*/ 317 w 581"/>
                <a:gd name="T55" fmla="*/ 200 h 902"/>
                <a:gd name="T56" fmla="*/ 306 w 581"/>
                <a:gd name="T57" fmla="*/ 153 h 902"/>
                <a:gd name="T58" fmla="*/ 320 w 581"/>
                <a:gd name="T59" fmla="*/ 97 h 902"/>
                <a:gd name="T60" fmla="*/ 381 w 581"/>
                <a:gd name="T61" fmla="*/ 47 h 902"/>
                <a:gd name="T62" fmla="*/ 342 w 581"/>
                <a:gd name="T63" fmla="*/ 45 h 902"/>
                <a:gd name="T64" fmla="*/ 271 w 581"/>
                <a:gd name="T65" fmla="*/ 74 h 902"/>
                <a:gd name="T66" fmla="*/ 239 w 581"/>
                <a:gd name="T67" fmla="*/ 101 h 902"/>
                <a:gd name="T68" fmla="*/ 207 w 581"/>
                <a:gd name="T69" fmla="*/ 94 h 902"/>
                <a:gd name="T70" fmla="*/ 177 w 581"/>
                <a:gd name="T71" fmla="*/ 155 h 902"/>
                <a:gd name="T72" fmla="*/ 147 w 581"/>
                <a:gd name="T73" fmla="*/ 198 h 902"/>
                <a:gd name="T74" fmla="*/ 123 w 581"/>
                <a:gd name="T75" fmla="*/ 229 h 902"/>
                <a:gd name="T76" fmla="*/ 93 w 581"/>
                <a:gd name="T77" fmla="*/ 215 h 902"/>
                <a:gd name="T78" fmla="*/ 92 w 581"/>
                <a:gd name="T79" fmla="*/ 267 h 902"/>
                <a:gd name="T80" fmla="*/ 74 w 581"/>
                <a:gd name="T81" fmla="*/ 301 h 902"/>
                <a:gd name="T82" fmla="*/ 77 w 581"/>
                <a:gd name="T83" fmla="*/ 338 h 902"/>
                <a:gd name="T84" fmla="*/ 77 w 581"/>
                <a:gd name="T85" fmla="*/ 378 h 902"/>
                <a:gd name="T86" fmla="*/ 74 w 581"/>
                <a:gd name="T87" fmla="*/ 454 h 902"/>
                <a:gd name="T88" fmla="*/ 74 w 581"/>
                <a:gd name="T89" fmla="*/ 522 h 902"/>
                <a:gd name="T90" fmla="*/ 26 w 581"/>
                <a:gd name="T91" fmla="*/ 580 h 902"/>
                <a:gd name="T92" fmla="*/ 23 w 581"/>
                <a:gd name="T93" fmla="*/ 614 h 9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81" h="902">
                  <a:moveTo>
                    <a:pt x="23" y="614"/>
                  </a:moveTo>
                  <a:cubicBezTo>
                    <a:pt x="34" y="620"/>
                    <a:pt x="42" y="632"/>
                    <a:pt x="42" y="632"/>
                  </a:cubicBezTo>
                  <a:cubicBezTo>
                    <a:pt x="42" y="632"/>
                    <a:pt x="55" y="627"/>
                    <a:pt x="65" y="635"/>
                  </a:cubicBezTo>
                  <a:cubicBezTo>
                    <a:pt x="75" y="643"/>
                    <a:pt x="68" y="650"/>
                    <a:pt x="77" y="656"/>
                  </a:cubicBezTo>
                  <a:cubicBezTo>
                    <a:pt x="86" y="662"/>
                    <a:pt x="97" y="657"/>
                    <a:pt x="97" y="657"/>
                  </a:cubicBezTo>
                  <a:cubicBezTo>
                    <a:pt x="97" y="657"/>
                    <a:pt x="113" y="667"/>
                    <a:pt x="120" y="665"/>
                  </a:cubicBezTo>
                  <a:cubicBezTo>
                    <a:pt x="127" y="663"/>
                    <a:pt x="115" y="650"/>
                    <a:pt x="132" y="653"/>
                  </a:cubicBezTo>
                  <a:cubicBezTo>
                    <a:pt x="149" y="656"/>
                    <a:pt x="141" y="674"/>
                    <a:pt x="154" y="675"/>
                  </a:cubicBezTo>
                  <a:cubicBezTo>
                    <a:pt x="166" y="676"/>
                    <a:pt x="178" y="676"/>
                    <a:pt x="185" y="680"/>
                  </a:cubicBezTo>
                  <a:cubicBezTo>
                    <a:pt x="192" y="684"/>
                    <a:pt x="222" y="708"/>
                    <a:pt x="222" y="708"/>
                  </a:cubicBezTo>
                  <a:cubicBezTo>
                    <a:pt x="230" y="732"/>
                    <a:pt x="230" y="732"/>
                    <a:pt x="230" y="732"/>
                  </a:cubicBezTo>
                  <a:cubicBezTo>
                    <a:pt x="238" y="732"/>
                    <a:pt x="238" y="732"/>
                    <a:pt x="238" y="732"/>
                  </a:cubicBezTo>
                  <a:cubicBezTo>
                    <a:pt x="249" y="745"/>
                    <a:pt x="249" y="745"/>
                    <a:pt x="249" y="745"/>
                  </a:cubicBezTo>
                  <a:cubicBezTo>
                    <a:pt x="249" y="745"/>
                    <a:pt x="257" y="742"/>
                    <a:pt x="259" y="748"/>
                  </a:cubicBezTo>
                  <a:cubicBezTo>
                    <a:pt x="262" y="754"/>
                    <a:pt x="264" y="772"/>
                    <a:pt x="264" y="772"/>
                  </a:cubicBezTo>
                  <a:cubicBezTo>
                    <a:pt x="264" y="772"/>
                    <a:pt x="282" y="773"/>
                    <a:pt x="283" y="781"/>
                  </a:cubicBezTo>
                  <a:cubicBezTo>
                    <a:pt x="284" y="788"/>
                    <a:pt x="269" y="803"/>
                    <a:pt x="288" y="808"/>
                  </a:cubicBezTo>
                  <a:cubicBezTo>
                    <a:pt x="307" y="813"/>
                    <a:pt x="329" y="813"/>
                    <a:pt x="329" y="813"/>
                  </a:cubicBezTo>
                  <a:cubicBezTo>
                    <a:pt x="329" y="813"/>
                    <a:pt x="330" y="792"/>
                    <a:pt x="344" y="795"/>
                  </a:cubicBezTo>
                  <a:cubicBezTo>
                    <a:pt x="358" y="798"/>
                    <a:pt x="359" y="805"/>
                    <a:pt x="367" y="805"/>
                  </a:cubicBezTo>
                  <a:cubicBezTo>
                    <a:pt x="376" y="805"/>
                    <a:pt x="384" y="796"/>
                    <a:pt x="388" y="797"/>
                  </a:cubicBezTo>
                  <a:cubicBezTo>
                    <a:pt x="392" y="798"/>
                    <a:pt x="400" y="810"/>
                    <a:pt x="400" y="810"/>
                  </a:cubicBezTo>
                  <a:cubicBezTo>
                    <a:pt x="400" y="810"/>
                    <a:pt x="428" y="809"/>
                    <a:pt x="428" y="823"/>
                  </a:cubicBezTo>
                  <a:cubicBezTo>
                    <a:pt x="428" y="838"/>
                    <a:pt x="420" y="846"/>
                    <a:pt x="415" y="846"/>
                  </a:cubicBezTo>
                  <a:cubicBezTo>
                    <a:pt x="410" y="846"/>
                    <a:pt x="401" y="876"/>
                    <a:pt x="404" y="881"/>
                  </a:cubicBezTo>
                  <a:cubicBezTo>
                    <a:pt x="407" y="887"/>
                    <a:pt x="421" y="882"/>
                    <a:pt x="421" y="882"/>
                  </a:cubicBezTo>
                  <a:cubicBezTo>
                    <a:pt x="427" y="898"/>
                    <a:pt x="427" y="898"/>
                    <a:pt x="427" y="898"/>
                  </a:cubicBezTo>
                  <a:cubicBezTo>
                    <a:pt x="438" y="902"/>
                    <a:pt x="438" y="902"/>
                    <a:pt x="438" y="902"/>
                  </a:cubicBezTo>
                  <a:cubicBezTo>
                    <a:pt x="441" y="893"/>
                    <a:pt x="442" y="881"/>
                    <a:pt x="442" y="881"/>
                  </a:cubicBezTo>
                  <a:cubicBezTo>
                    <a:pt x="444" y="831"/>
                    <a:pt x="444" y="831"/>
                    <a:pt x="444" y="831"/>
                  </a:cubicBezTo>
                  <a:cubicBezTo>
                    <a:pt x="455" y="801"/>
                    <a:pt x="455" y="801"/>
                    <a:pt x="455" y="801"/>
                  </a:cubicBezTo>
                  <a:cubicBezTo>
                    <a:pt x="453" y="767"/>
                    <a:pt x="453" y="767"/>
                    <a:pt x="453" y="767"/>
                  </a:cubicBezTo>
                  <a:cubicBezTo>
                    <a:pt x="453" y="767"/>
                    <a:pt x="463" y="756"/>
                    <a:pt x="464" y="749"/>
                  </a:cubicBezTo>
                  <a:cubicBezTo>
                    <a:pt x="465" y="742"/>
                    <a:pt x="451" y="727"/>
                    <a:pt x="451" y="727"/>
                  </a:cubicBezTo>
                  <a:cubicBezTo>
                    <a:pt x="451" y="727"/>
                    <a:pt x="450" y="715"/>
                    <a:pt x="448" y="706"/>
                  </a:cubicBezTo>
                  <a:cubicBezTo>
                    <a:pt x="446" y="697"/>
                    <a:pt x="425" y="688"/>
                    <a:pt x="425" y="688"/>
                  </a:cubicBezTo>
                  <a:cubicBezTo>
                    <a:pt x="427" y="646"/>
                    <a:pt x="427" y="646"/>
                    <a:pt x="427" y="646"/>
                  </a:cubicBezTo>
                  <a:cubicBezTo>
                    <a:pt x="449" y="641"/>
                    <a:pt x="449" y="641"/>
                    <a:pt x="449" y="641"/>
                  </a:cubicBezTo>
                  <a:cubicBezTo>
                    <a:pt x="449" y="641"/>
                    <a:pt x="458" y="645"/>
                    <a:pt x="471" y="643"/>
                  </a:cubicBezTo>
                  <a:cubicBezTo>
                    <a:pt x="484" y="641"/>
                    <a:pt x="465" y="621"/>
                    <a:pt x="465" y="621"/>
                  </a:cubicBezTo>
                  <a:cubicBezTo>
                    <a:pt x="458" y="623"/>
                    <a:pt x="458" y="623"/>
                    <a:pt x="458" y="623"/>
                  </a:cubicBezTo>
                  <a:cubicBezTo>
                    <a:pt x="442" y="616"/>
                    <a:pt x="442" y="616"/>
                    <a:pt x="442" y="616"/>
                  </a:cubicBezTo>
                  <a:cubicBezTo>
                    <a:pt x="442" y="616"/>
                    <a:pt x="434" y="587"/>
                    <a:pt x="443" y="582"/>
                  </a:cubicBezTo>
                  <a:cubicBezTo>
                    <a:pt x="452" y="577"/>
                    <a:pt x="466" y="590"/>
                    <a:pt x="466" y="590"/>
                  </a:cubicBezTo>
                  <a:cubicBezTo>
                    <a:pt x="510" y="586"/>
                    <a:pt x="510" y="586"/>
                    <a:pt x="510" y="586"/>
                  </a:cubicBezTo>
                  <a:cubicBezTo>
                    <a:pt x="510" y="586"/>
                    <a:pt x="510" y="569"/>
                    <a:pt x="516" y="569"/>
                  </a:cubicBezTo>
                  <a:cubicBezTo>
                    <a:pt x="522" y="569"/>
                    <a:pt x="527" y="585"/>
                    <a:pt x="533" y="584"/>
                  </a:cubicBezTo>
                  <a:cubicBezTo>
                    <a:pt x="539" y="583"/>
                    <a:pt x="548" y="560"/>
                    <a:pt x="555" y="563"/>
                  </a:cubicBezTo>
                  <a:cubicBezTo>
                    <a:pt x="562" y="566"/>
                    <a:pt x="557" y="573"/>
                    <a:pt x="557" y="573"/>
                  </a:cubicBezTo>
                  <a:cubicBezTo>
                    <a:pt x="557" y="573"/>
                    <a:pt x="560" y="574"/>
                    <a:pt x="562" y="580"/>
                  </a:cubicBezTo>
                  <a:cubicBezTo>
                    <a:pt x="564" y="586"/>
                    <a:pt x="564" y="614"/>
                    <a:pt x="564" y="614"/>
                  </a:cubicBezTo>
                  <a:cubicBezTo>
                    <a:pt x="581" y="614"/>
                    <a:pt x="581" y="614"/>
                    <a:pt x="581" y="614"/>
                  </a:cubicBezTo>
                  <a:cubicBezTo>
                    <a:pt x="581" y="614"/>
                    <a:pt x="575" y="605"/>
                    <a:pt x="576" y="600"/>
                  </a:cubicBezTo>
                  <a:cubicBezTo>
                    <a:pt x="577" y="595"/>
                    <a:pt x="566" y="569"/>
                    <a:pt x="566" y="569"/>
                  </a:cubicBezTo>
                  <a:cubicBezTo>
                    <a:pt x="566" y="569"/>
                    <a:pt x="563" y="549"/>
                    <a:pt x="563" y="545"/>
                  </a:cubicBezTo>
                  <a:cubicBezTo>
                    <a:pt x="563" y="541"/>
                    <a:pt x="541" y="527"/>
                    <a:pt x="541" y="527"/>
                  </a:cubicBezTo>
                  <a:cubicBezTo>
                    <a:pt x="531" y="524"/>
                    <a:pt x="531" y="524"/>
                    <a:pt x="531" y="524"/>
                  </a:cubicBezTo>
                  <a:cubicBezTo>
                    <a:pt x="531" y="524"/>
                    <a:pt x="560" y="506"/>
                    <a:pt x="560" y="496"/>
                  </a:cubicBezTo>
                  <a:cubicBezTo>
                    <a:pt x="560" y="486"/>
                    <a:pt x="544" y="472"/>
                    <a:pt x="544" y="472"/>
                  </a:cubicBezTo>
                  <a:cubicBezTo>
                    <a:pt x="544" y="472"/>
                    <a:pt x="543" y="463"/>
                    <a:pt x="543" y="460"/>
                  </a:cubicBezTo>
                  <a:cubicBezTo>
                    <a:pt x="543" y="457"/>
                    <a:pt x="534" y="453"/>
                    <a:pt x="534" y="453"/>
                  </a:cubicBezTo>
                  <a:cubicBezTo>
                    <a:pt x="534" y="453"/>
                    <a:pt x="536" y="430"/>
                    <a:pt x="536" y="424"/>
                  </a:cubicBezTo>
                  <a:cubicBezTo>
                    <a:pt x="536" y="418"/>
                    <a:pt x="534" y="400"/>
                    <a:pt x="533" y="395"/>
                  </a:cubicBezTo>
                  <a:cubicBezTo>
                    <a:pt x="532" y="390"/>
                    <a:pt x="542" y="385"/>
                    <a:pt x="545" y="382"/>
                  </a:cubicBezTo>
                  <a:cubicBezTo>
                    <a:pt x="548" y="379"/>
                    <a:pt x="547" y="364"/>
                    <a:pt x="547" y="364"/>
                  </a:cubicBezTo>
                  <a:cubicBezTo>
                    <a:pt x="547" y="364"/>
                    <a:pt x="564" y="356"/>
                    <a:pt x="558" y="343"/>
                  </a:cubicBezTo>
                  <a:cubicBezTo>
                    <a:pt x="552" y="331"/>
                    <a:pt x="533" y="346"/>
                    <a:pt x="533" y="346"/>
                  </a:cubicBezTo>
                  <a:cubicBezTo>
                    <a:pt x="514" y="344"/>
                    <a:pt x="514" y="344"/>
                    <a:pt x="514" y="344"/>
                  </a:cubicBezTo>
                  <a:cubicBezTo>
                    <a:pt x="514" y="344"/>
                    <a:pt x="511" y="351"/>
                    <a:pt x="503" y="350"/>
                  </a:cubicBezTo>
                  <a:cubicBezTo>
                    <a:pt x="495" y="349"/>
                    <a:pt x="493" y="342"/>
                    <a:pt x="485" y="342"/>
                  </a:cubicBezTo>
                  <a:cubicBezTo>
                    <a:pt x="477" y="342"/>
                    <a:pt x="479" y="349"/>
                    <a:pt x="479" y="349"/>
                  </a:cubicBezTo>
                  <a:cubicBezTo>
                    <a:pt x="479" y="349"/>
                    <a:pt x="471" y="352"/>
                    <a:pt x="463" y="350"/>
                  </a:cubicBezTo>
                  <a:cubicBezTo>
                    <a:pt x="455" y="347"/>
                    <a:pt x="436" y="305"/>
                    <a:pt x="436" y="305"/>
                  </a:cubicBezTo>
                  <a:cubicBezTo>
                    <a:pt x="418" y="304"/>
                    <a:pt x="418" y="304"/>
                    <a:pt x="418" y="304"/>
                  </a:cubicBezTo>
                  <a:cubicBezTo>
                    <a:pt x="418" y="304"/>
                    <a:pt x="409" y="297"/>
                    <a:pt x="404" y="297"/>
                  </a:cubicBezTo>
                  <a:cubicBezTo>
                    <a:pt x="399" y="297"/>
                    <a:pt x="398" y="303"/>
                    <a:pt x="393" y="304"/>
                  </a:cubicBezTo>
                  <a:cubicBezTo>
                    <a:pt x="388" y="305"/>
                    <a:pt x="370" y="298"/>
                    <a:pt x="365" y="298"/>
                  </a:cubicBezTo>
                  <a:cubicBezTo>
                    <a:pt x="361" y="298"/>
                    <a:pt x="350" y="303"/>
                    <a:pt x="341" y="300"/>
                  </a:cubicBezTo>
                  <a:cubicBezTo>
                    <a:pt x="332" y="297"/>
                    <a:pt x="333" y="279"/>
                    <a:pt x="333" y="279"/>
                  </a:cubicBezTo>
                  <a:cubicBezTo>
                    <a:pt x="323" y="279"/>
                    <a:pt x="323" y="279"/>
                    <a:pt x="323" y="279"/>
                  </a:cubicBezTo>
                  <a:cubicBezTo>
                    <a:pt x="324" y="252"/>
                    <a:pt x="324" y="252"/>
                    <a:pt x="324" y="252"/>
                  </a:cubicBezTo>
                  <a:cubicBezTo>
                    <a:pt x="324" y="252"/>
                    <a:pt x="330" y="249"/>
                    <a:pt x="332" y="236"/>
                  </a:cubicBezTo>
                  <a:cubicBezTo>
                    <a:pt x="334" y="224"/>
                    <a:pt x="318" y="215"/>
                    <a:pt x="318" y="215"/>
                  </a:cubicBezTo>
                  <a:cubicBezTo>
                    <a:pt x="318" y="215"/>
                    <a:pt x="317" y="209"/>
                    <a:pt x="317" y="200"/>
                  </a:cubicBezTo>
                  <a:cubicBezTo>
                    <a:pt x="317" y="191"/>
                    <a:pt x="310" y="177"/>
                    <a:pt x="303" y="177"/>
                  </a:cubicBezTo>
                  <a:cubicBezTo>
                    <a:pt x="296" y="177"/>
                    <a:pt x="292" y="191"/>
                    <a:pt x="287" y="182"/>
                  </a:cubicBezTo>
                  <a:cubicBezTo>
                    <a:pt x="282" y="174"/>
                    <a:pt x="306" y="153"/>
                    <a:pt x="306" y="153"/>
                  </a:cubicBezTo>
                  <a:cubicBezTo>
                    <a:pt x="306" y="135"/>
                    <a:pt x="306" y="135"/>
                    <a:pt x="306" y="135"/>
                  </a:cubicBezTo>
                  <a:cubicBezTo>
                    <a:pt x="312" y="130"/>
                    <a:pt x="312" y="130"/>
                    <a:pt x="312" y="130"/>
                  </a:cubicBezTo>
                  <a:cubicBezTo>
                    <a:pt x="312" y="130"/>
                    <a:pt x="312" y="110"/>
                    <a:pt x="320" y="97"/>
                  </a:cubicBezTo>
                  <a:cubicBezTo>
                    <a:pt x="327" y="84"/>
                    <a:pt x="336" y="80"/>
                    <a:pt x="347" y="76"/>
                  </a:cubicBezTo>
                  <a:cubicBezTo>
                    <a:pt x="358" y="73"/>
                    <a:pt x="359" y="58"/>
                    <a:pt x="359" y="58"/>
                  </a:cubicBezTo>
                  <a:cubicBezTo>
                    <a:pt x="359" y="58"/>
                    <a:pt x="376" y="48"/>
                    <a:pt x="381" y="47"/>
                  </a:cubicBezTo>
                  <a:cubicBezTo>
                    <a:pt x="386" y="46"/>
                    <a:pt x="401" y="42"/>
                    <a:pt x="402" y="21"/>
                  </a:cubicBezTo>
                  <a:cubicBezTo>
                    <a:pt x="403" y="0"/>
                    <a:pt x="361" y="16"/>
                    <a:pt x="355" y="17"/>
                  </a:cubicBezTo>
                  <a:cubicBezTo>
                    <a:pt x="349" y="18"/>
                    <a:pt x="349" y="38"/>
                    <a:pt x="342" y="45"/>
                  </a:cubicBezTo>
                  <a:cubicBezTo>
                    <a:pt x="335" y="52"/>
                    <a:pt x="324" y="45"/>
                    <a:pt x="317" y="46"/>
                  </a:cubicBezTo>
                  <a:cubicBezTo>
                    <a:pt x="310" y="47"/>
                    <a:pt x="296" y="70"/>
                    <a:pt x="296" y="70"/>
                  </a:cubicBezTo>
                  <a:cubicBezTo>
                    <a:pt x="271" y="74"/>
                    <a:pt x="271" y="74"/>
                    <a:pt x="271" y="74"/>
                  </a:cubicBezTo>
                  <a:cubicBezTo>
                    <a:pt x="271" y="74"/>
                    <a:pt x="265" y="65"/>
                    <a:pt x="258" y="69"/>
                  </a:cubicBezTo>
                  <a:cubicBezTo>
                    <a:pt x="251" y="74"/>
                    <a:pt x="251" y="86"/>
                    <a:pt x="251" y="86"/>
                  </a:cubicBezTo>
                  <a:cubicBezTo>
                    <a:pt x="251" y="86"/>
                    <a:pt x="246" y="100"/>
                    <a:pt x="239" y="101"/>
                  </a:cubicBezTo>
                  <a:cubicBezTo>
                    <a:pt x="232" y="103"/>
                    <a:pt x="240" y="92"/>
                    <a:pt x="240" y="92"/>
                  </a:cubicBezTo>
                  <a:cubicBezTo>
                    <a:pt x="240" y="92"/>
                    <a:pt x="234" y="87"/>
                    <a:pt x="230" y="87"/>
                  </a:cubicBezTo>
                  <a:cubicBezTo>
                    <a:pt x="227" y="87"/>
                    <a:pt x="212" y="91"/>
                    <a:pt x="207" y="94"/>
                  </a:cubicBezTo>
                  <a:cubicBezTo>
                    <a:pt x="202" y="98"/>
                    <a:pt x="187" y="112"/>
                    <a:pt x="183" y="119"/>
                  </a:cubicBezTo>
                  <a:cubicBezTo>
                    <a:pt x="180" y="126"/>
                    <a:pt x="188" y="135"/>
                    <a:pt x="188" y="135"/>
                  </a:cubicBezTo>
                  <a:cubicBezTo>
                    <a:pt x="177" y="155"/>
                    <a:pt x="177" y="155"/>
                    <a:pt x="177" y="155"/>
                  </a:cubicBezTo>
                  <a:cubicBezTo>
                    <a:pt x="184" y="171"/>
                    <a:pt x="184" y="171"/>
                    <a:pt x="184" y="171"/>
                  </a:cubicBezTo>
                  <a:cubicBezTo>
                    <a:pt x="184" y="171"/>
                    <a:pt x="168" y="172"/>
                    <a:pt x="162" y="175"/>
                  </a:cubicBezTo>
                  <a:cubicBezTo>
                    <a:pt x="156" y="177"/>
                    <a:pt x="150" y="191"/>
                    <a:pt x="147" y="198"/>
                  </a:cubicBezTo>
                  <a:cubicBezTo>
                    <a:pt x="143" y="205"/>
                    <a:pt x="129" y="207"/>
                    <a:pt x="129" y="207"/>
                  </a:cubicBezTo>
                  <a:cubicBezTo>
                    <a:pt x="115" y="213"/>
                    <a:pt x="115" y="213"/>
                    <a:pt x="115" y="213"/>
                  </a:cubicBezTo>
                  <a:cubicBezTo>
                    <a:pt x="123" y="229"/>
                    <a:pt x="123" y="229"/>
                    <a:pt x="123" y="229"/>
                  </a:cubicBezTo>
                  <a:cubicBezTo>
                    <a:pt x="123" y="229"/>
                    <a:pt x="126" y="252"/>
                    <a:pt x="118" y="254"/>
                  </a:cubicBezTo>
                  <a:cubicBezTo>
                    <a:pt x="110" y="256"/>
                    <a:pt x="116" y="246"/>
                    <a:pt x="115" y="236"/>
                  </a:cubicBezTo>
                  <a:cubicBezTo>
                    <a:pt x="113" y="227"/>
                    <a:pt x="93" y="215"/>
                    <a:pt x="93" y="215"/>
                  </a:cubicBezTo>
                  <a:cubicBezTo>
                    <a:pt x="93" y="215"/>
                    <a:pt x="89" y="221"/>
                    <a:pt x="89" y="228"/>
                  </a:cubicBezTo>
                  <a:cubicBezTo>
                    <a:pt x="89" y="235"/>
                    <a:pt x="102" y="242"/>
                    <a:pt x="102" y="242"/>
                  </a:cubicBezTo>
                  <a:cubicBezTo>
                    <a:pt x="102" y="242"/>
                    <a:pt x="102" y="259"/>
                    <a:pt x="92" y="267"/>
                  </a:cubicBezTo>
                  <a:cubicBezTo>
                    <a:pt x="83" y="275"/>
                    <a:pt x="76" y="265"/>
                    <a:pt x="76" y="265"/>
                  </a:cubicBezTo>
                  <a:cubicBezTo>
                    <a:pt x="66" y="286"/>
                    <a:pt x="66" y="286"/>
                    <a:pt x="66" y="286"/>
                  </a:cubicBezTo>
                  <a:cubicBezTo>
                    <a:pt x="74" y="301"/>
                    <a:pt x="74" y="301"/>
                    <a:pt x="74" y="301"/>
                  </a:cubicBezTo>
                  <a:cubicBezTo>
                    <a:pt x="74" y="308"/>
                    <a:pt x="74" y="308"/>
                    <a:pt x="74" y="308"/>
                  </a:cubicBezTo>
                  <a:cubicBezTo>
                    <a:pt x="74" y="308"/>
                    <a:pt x="81" y="313"/>
                    <a:pt x="87" y="325"/>
                  </a:cubicBezTo>
                  <a:cubicBezTo>
                    <a:pt x="93" y="337"/>
                    <a:pt x="77" y="338"/>
                    <a:pt x="77" y="338"/>
                  </a:cubicBezTo>
                  <a:cubicBezTo>
                    <a:pt x="87" y="353"/>
                    <a:pt x="87" y="353"/>
                    <a:pt x="87" y="353"/>
                  </a:cubicBezTo>
                  <a:cubicBezTo>
                    <a:pt x="92" y="375"/>
                    <a:pt x="92" y="375"/>
                    <a:pt x="92" y="375"/>
                  </a:cubicBezTo>
                  <a:cubicBezTo>
                    <a:pt x="77" y="378"/>
                    <a:pt x="77" y="378"/>
                    <a:pt x="77" y="378"/>
                  </a:cubicBezTo>
                  <a:cubicBezTo>
                    <a:pt x="87" y="391"/>
                    <a:pt x="87" y="391"/>
                    <a:pt x="87" y="391"/>
                  </a:cubicBezTo>
                  <a:cubicBezTo>
                    <a:pt x="87" y="431"/>
                    <a:pt x="87" y="431"/>
                    <a:pt x="87" y="431"/>
                  </a:cubicBezTo>
                  <a:cubicBezTo>
                    <a:pt x="87" y="431"/>
                    <a:pt x="74" y="441"/>
                    <a:pt x="74" y="454"/>
                  </a:cubicBezTo>
                  <a:cubicBezTo>
                    <a:pt x="74" y="467"/>
                    <a:pt x="91" y="467"/>
                    <a:pt x="92" y="482"/>
                  </a:cubicBezTo>
                  <a:cubicBezTo>
                    <a:pt x="93" y="497"/>
                    <a:pt x="65" y="514"/>
                    <a:pt x="65" y="514"/>
                  </a:cubicBezTo>
                  <a:cubicBezTo>
                    <a:pt x="74" y="522"/>
                    <a:pt x="74" y="522"/>
                    <a:pt x="74" y="522"/>
                  </a:cubicBezTo>
                  <a:cubicBezTo>
                    <a:pt x="55" y="539"/>
                    <a:pt x="55" y="539"/>
                    <a:pt x="55" y="539"/>
                  </a:cubicBezTo>
                  <a:cubicBezTo>
                    <a:pt x="55" y="539"/>
                    <a:pt x="34" y="539"/>
                    <a:pt x="26" y="548"/>
                  </a:cubicBezTo>
                  <a:cubicBezTo>
                    <a:pt x="18" y="558"/>
                    <a:pt x="26" y="580"/>
                    <a:pt x="26" y="580"/>
                  </a:cubicBezTo>
                  <a:cubicBezTo>
                    <a:pt x="26" y="580"/>
                    <a:pt x="1" y="572"/>
                    <a:pt x="0" y="586"/>
                  </a:cubicBezTo>
                  <a:cubicBezTo>
                    <a:pt x="0" y="588"/>
                    <a:pt x="0" y="590"/>
                    <a:pt x="0" y="592"/>
                  </a:cubicBezTo>
                  <a:cubicBezTo>
                    <a:pt x="5" y="598"/>
                    <a:pt x="15" y="611"/>
                    <a:pt x="23" y="614"/>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59" name="Freeform 20"/>
            <p:cNvSpPr>
              <a:spLocks/>
            </p:cNvSpPr>
            <p:nvPr/>
          </p:nvSpPr>
          <p:spPr bwMode="gray">
            <a:xfrm>
              <a:off x="2616200" y="4554538"/>
              <a:ext cx="227012" cy="254000"/>
            </a:xfrm>
            <a:custGeom>
              <a:avLst/>
              <a:gdLst>
                <a:gd name="T0" fmla="*/ 326 w 407"/>
                <a:gd name="T1" fmla="*/ 441 h 452"/>
                <a:gd name="T2" fmla="*/ 333 w 407"/>
                <a:gd name="T3" fmla="*/ 452 h 452"/>
                <a:gd name="T4" fmla="*/ 342 w 407"/>
                <a:gd name="T5" fmla="*/ 435 h 452"/>
                <a:gd name="T6" fmla="*/ 356 w 407"/>
                <a:gd name="T7" fmla="*/ 439 h 452"/>
                <a:gd name="T8" fmla="*/ 369 w 407"/>
                <a:gd name="T9" fmla="*/ 415 h 452"/>
                <a:gd name="T10" fmla="*/ 399 w 407"/>
                <a:gd name="T11" fmla="*/ 390 h 452"/>
                <a:gd name="T12" fmla="*/ 399 w 407"/>
                <a:gd name="T13" fmla="*/ 344 h 452"/>
                <a:gd name="T14" fmla="*/ 396 w 407"/>
                <a:gd name="T15" fmla="*/ 331 h 452"/>
                <a:gd name="T16" fmla="*/ 399 w 407"/>
                <a:gd name="T17" fmla="*/ 311 h 452"/>
                <a:gd name="T18" fmla="*/ 405 w 407"/>
                <a:gd name="T19" fmla="*/ 276 h 452"/>
                <a:gd name="T20" fmla="*/ 388 w 407"/>
                <a:gd name="T21" fmla="*/ 244 h 452"/>
                <a:gd name="T22" fmla="*/ 358 w 407"/>
                <a:gd name="T23" fmla="*/ 254 h 452"/>
                <a:gd name="T24" fmla="*/ 338 w 407"/>
                <a:gd name="T25" fmla="*/ 211 h 452"/>
                <a:gd name="T26" fmla="*/ 333 w 407"/>
                <a:gd name="T27" fmla="*/ 166 h 452"/>
                <a:gd name="T28" fmla="*/ 296 w 407"/>
                <a:gd name="T29" fmla="*/ 161 h 452"/>
                <a:gd name="T30" fmla="*/ 221 w 407"/>
                <a:gd name="T31" fmla="*/ 148 h 452"/>
                <a:gd name="T32" fmla="*/ 220 w 407"/>
                <a:gd name="T33" fmla="*/ 94 h 452"/>
                <a:gd name="T34" fmla="*/ 211 w 407"/>
                <a:gd name="T35" fmla="*/ 86 h 452"/>
                <a:gd name="T36" fmla="*/ 211 w 407"/>
                <a:gd name="T37" fmla="*/ 66 h 452"/>
                <a:gd name="T38" fmla="*/ 200 w 407"/>
                <a:gd name="T39" fmla="*/ 51 h 452"/>
                <a:gd name="T40" fmla="*/ 187 w 407"/>
                <a:gd name="T41" fmla="*/ 28 h 452"/>
                <a:gd name="T42" fmla="*/ 152 w 407"/>
                <a:gd name="T43" fmla="*/ 0 h 452"/>
                <a:gd name="T44" fmla="*/ 99 w 407"/>
                <a:gd name="T45" fmla="*/ 9 h 452"/>
                <a:gd name="T46" fmla="*/ 30 w 407"/>
                <a:gd name="T47" fmla="*/ 21 h 452"/>
                <a:gd name="T48" fmla="*/ 26 w 407"/>
                <a:gd name="T49" fmla="*/ 40 h 452"/>
                <a:gd name="T50" fmla="*/ 7 w 407"/>
                <a:gd name="T51" fmla="*/ 56 h 452"/>
                <a:gd name="T52" fmla="*/ 16 w 407"/>
                <a:gd name="T53" fmla="*/ 89 h 452"/>
                <a:gd name="T54" fmla="*/ 10 w 407"/>
                <a:gd name="T55" fmla="*/ 163 h 452"/>
                <a:gd name="T56" fmla="*/ 23 w 407"/>
                <a:gd name="T57" fmla="*/ 175 h 452"/>
                <a:gd name="T58" fmla="*/ 48 w 407"/>
                <a:gd name="T59" fmla="*/ 209 h 452"/>
                <a:gd name="T60" fmla="*/ 84 w 407"/>
                <a:gd name="T61" fmla="*/ 231 h 452"/>
                <a:gd name="T62" fmla="*/ 88 w 407"/>
                <a:gd name="T63" fmla="*/ 245 h 452"/>
                <a:gd name="T64" fmla="*/ 133 w 407"/>
                <a:gd name="T65" fmla="*/ 261 h 452"/>
                <a:gd name="T66" fmla="*/ 164 w 407"/>
                <a:gd name="T67" fmla="*/ 277 h 452"/>
                <a:gd name="T68" fmla="*/ 220 w 407"/>
                <a:gd name="T69" fmla="*/ 306 h 452"/>
                <a:gd name="T70" fmla="*/ 258 w 407"/>
                <a:gd name="T71" fmla="*/ 322 h 452"/>
                <a:gd name="T72" fmla="*/ 246 w 407"/>
                <a:gd name="T73" fmla="*/ 347 h 452"/>
                <a:gd name="T74" fmla="*/ 255 w 407"/>
                <a:gd name="T75" fmla="*/ 362 h 452"/>
                <a:gd name="T76" fmla="*/ 239 w 407"/>
                <a:gd name="T77" fmla="*/ 369 h 452"/>
                <a:gd name="T78" fmla="*/ 239 w 407"/>
                <a:gd name="T79" fmla="*/ 391 h 452"/>
                <a:gd name="T80" fmla="*/ 224 w 407"/>
                <a:gd name="T81" fmla="*/ 425 h 452"/>
                <a:gd name="T82" fmla="*/ 254 w 407"/>
                <a:gd name="T83" fmla="*/ 425 h 452"/>
                <a:gd name="T84" fmla="*/ 287 w 407"/>
                <a:gd name="T85" fmla="*/ 439 h 452"/>
                <a:gd name="T86" fmla="*/ 326 w 407"/>
                <a:gd name="T87" fmla="*/ 441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07" h="452">
                  <a:moveTo>
                    <a:pt x="326" y="441"/>
                  </a:moveTo>
                  <a:cubicBezTo>
                    <a:pt x="333" y="452"/>
                    <a:pt x="333" y="452"/>
                    <a:pt x="333" y="452"/>
                  </a:cubicBezTo>
                  <a:cubicBezTo>
                    <a:pt x="333" y="452"/>
                    <a:pt x="333" y="433"/>
                    <a:pt x="342" y="435"/>
                  </a:cubicBezTo>
                  <a:cubicBezTo>
                    <a:pt x="351" y="437"/>
                    <a:pt x="352" y="446"/>
                    <a:pt x="356" y="439"/>
                  </a:cubicBezTo>
                  <a:cubicBezTo>
                    <a:pt x="360" y="432"/>
                    <a:pt x="362" y="415"/>
                    <a:pt x="369" y="415"/>
                  </a:cubicBezTo>
                  <a:cubicBezTo>
                    <a:pt x="376" y="415"/>
                    <a:pt x="397" y="401"/>
                    <a:pt x="399" y="390"/>
                  </a:cubicBezTo>
                  <a:cubicBezTo>
                    <a:pt x="401" y="379"/>
                    <a:pt x="399" y="344"/>
                    <a:pt x="399" y="344"/>
                  </a:cubicBezTo>
                  <a:cubicBezTo>
                    <a:pt x="396" y="331"/>
                    <a:pt x="396" y="331"/>
                    <a:pt x="396" y="331"/>
                  </a:cubicBezTo>
                  <a:cubicBezTo>
                    <a:pt x="396" y="331"/>
                    <a:pt x="397" y="316"/>
                    <a:pt x="399" y="311"/>
                  </a:cubicBezTo>
                  <a:cubicBezTo>
                    <a:pt x="401" y="306"/>
                    <a:pt x="403" y="296"/>
                    <a:pt x="405" y="276"/>
                  </a:cubicBezTo>
                  <a:cubicBezTo>
                    <a:pt x="407" y="256"/>
                    <a:pt x="403" y="248"/>
                    <a:pt x="388" y="244"/>
                  </a:cubicBezTo>
                  <a:cubicBezTo>
                    <a:pt x="373" y="240"/>
                    <a:pt x="369" y="256"/>
                    <a:pt x="358" y="254"/>
                  </a:cubicBezTo>
                  <a:cubicBezTo>
                    <a:pt x="347" y="252"/>
                    <a:pt x="343" y="231"/>
                    <a:pt x="338" y="211"/>
                  </a:cubicBezTo>
                  <a:cubicBezTo>
                    <a:pt x="333" y="191"/>
                    <a:pt x="337" y="174"/>
                    <a:pt x="333" y="166"/>
                  </a:cubicBezTo>
                  <a:cubicBezTo>
                    <a:pt x="329" y="158"/>
                    <a:pt x="311" y="158"/>
                    <a:pt x="296" y="161"/>
                  </a:cubicBezTo>
                  <a:cubicBezTo>
                    <a:pt x="281" y="164"/>
                    <a:pt x="237" y="157"/>
                    <a:pt x="221" y="148"/>
                  </a:cubicBezTo>
                  <a:cubicBezTo>
                    <a:pt x="205" y="139"/>
                    <a:pt x="220" y="103"/>
                    <a:pt x="220" y="94"/>
                  </a:cubicBezTo>
                  <a:cubicBezTo>
                    <a:pt x="220" y="85"/>
                    <a:pt x="215" y="90"/>
                    <a:pt x="211" y="86"/>
                  </a:cubicBezTo>
                  <a:cubicBezTo>
                    <a:pt x="207" y="82"/>
                    <a:pt x="213" y="73"/>
                    <a:pt x="211" y="66"/>
                  </a:cubicBezTo>
                  <a:cubicBezTo>
                    <a:pt x="209" y="59"/>
                    <a:pt x="200" y="57"/>
                    <a:pt x="200" y="51"/>
                  </a:cubicBezTo>
                  <a:cubicBezTo>
                    <a:pt x="187" y="28"/>
                    <a:pt x="187" y="28"/>
                    <a:pt x="187" y="28"/>
                  </a:cubicBezTo>
                  <a:cubicBezTo>
                    <a:pt x="152" y="0"/>
                    <a:pt x="152" y="0"/>
                    <a:pt x="152" y="0"/>
                  </a:cubicBezTo>
                  <a:cubicBezTo>
                    <a:pt x="99" y="9"/>
                    <a:pt x="99" y="9"/>
                    <a:pt x="99" y="9"/>
                  </a:cubicBezTo>
                  <a:cubicBezTo>
                    <a:pt x="30" y="21"/>
                    <a:pt x="30" y="21"/>
                    <a:pt x="30" y="21"/>
                  </a:cubicBezTo>
                  <a:cubicBezTo>
                    <a:pt x="26" y="40"/>
                    <a:pt x="26" y="40"/>
                    <a:pt x="26" y="40"/>
                  </a:cubicBezTo>
                  <a:cubicBezTo>
                    <a:pt x="26" y="40"/>
                    <a:pt x="14" y="52"/>
                    <a:pt x="7" y="56"/>
                  </a:cubicBezTo>
                  <a:cubicBezTo>
                    <a:pt x="0" y="60"/>
                    <a:pt x="15" y="82"/>
                    <a:pt x="16" y="89"/>
                  </a:cubicBezTo>
                  <a:cubicBezTo>
                    <a:pt x="18" y="95"/>
                    <a:pt x="10" y="163"/>
                    <a:pt x="10" y="163"/>
                  </a:cubicBezTo>
                  <a:cubicBezTo>
                    <a:pt x="23" y="175"/>
                    <a:pt x="23" y="175"/>
                    <a:pt x="23" y="175"/>
                  </a:cubicBezTo>
                  <a:cubicBezTo>
                    <a:pt x="23" y="175"/>
                    <a:pt x="39" y="204"/>
                    <a:pt x="48" y="209"/>
                  </a:cubicBezTo>
                  <a:cubicBezTo>
                    <a:pt x="57" y="214"/>
                    <a:pt x="84" y="231"/>
                    <a:pt x="84" y="231"/>
                  </a:cubicBezTo>
                  <a:cubicBezTo>
                    <a:pt x="88" y="245"/>
                    <a:pt x="88" y="245"/>
                    <a:pt x="88" y="245"/>
                  </a:cubicBezTo>
                  <a:cubicBezTo>
                    <a:pt x="88" y="245"/>
                    <a:pt x="123" y="265"/>
                    <a:pt x="133" y="261"/>
                  </a:cubicBezTo>
                  <a:cubicBezTo>
                    <a:pt x="143" y="257"/>
                    <a:pt x="164" y="277"/>
                    <a:pt x="164" y="277"/>
                  </a:cubicBezTo>
                  <a:cubicBezTo>
                    <a:pt x="164" y="277"/>
                    <a:pt x="214" y="305"/>
                    <a:pt x="220" y="306"/>
                  </a:cubicBezTo>
                  <a:cubicBezTo>
                    <a:pt x="226" y="307"/>
                    <a:pt x="260" y="314"/>
                    <a:pt x="258" y="322"/>
                  </a:cubicBezTo>
                  <a:cubicBezTo>
                    <a:pt x="256" y="330"/>
                    <a:pt x="246" y="347"/>
                    <a:pt x="246" y="347"/>
                  </a:cubicBezTo>
                  <a:cubicBezTo>
                    <a:pt x="246" y="347"/>
                    <a:pt x="259" y="355"/>
                    <a:pt x="255" y="362"/>
                  </a:cubicBezTo>
                  <a:cubicBezTo>
                    <a:pt x="251" y="369"/>
                    <a:pt x="239" y="369"/>
                    <a:pt x="239" y="369"/>
                  </a:cubicBezTo>
                  <a:cubicBezTo>
                    <a:pt x="239" y="391"/>
                    <a:pt x="239" y="391"/>
                    <a:pt x="239" y="391"/>
                  </a:cubicBezTo>
                  <a:cubicBezTo>
                    <a:pt x="239" y="391"/>
                    <a:pt x="219" y="418"/>
                    <a:pt x="224" y="425"/>
                  </a:cubicBezTo>
                  <a:cubicBezTo>
                    <a:pt x="229" y="432"/>
                    <a:pt x="245" y="422"/>
                    <a:pt x="254" y="425"/>
                  </a:cubicBezTo>
                  <a:cubicBezTo>
                    <a:pt x="263" y="428"/>
                    <a:pt x="270" y="435"/>
                    <a:pt x="287" y="439"/>
                  </a:cubicBezTo>
                  <a:cubicBezTo>
                    <a:pt x="304" y="443"/>
                    <a:pt x="326" y="441"/>
                    <a:pt x="326" y="441"/>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60" name="Freeform 21"/>
            <p:cNvSpPr>
              <a:spLocks/>
            </p:cNvSpPr>
            <p:nvPr/>
          </p:nvSpPr>
          <p:spPr bwMode="gray">
            <a:xfrm>
              <a:off x="2776538" y="4881563"/>
              <a:ext cx="136525" cy="144463"/>
            </a:xfrm>
            <a:custGeom>
              <a:avLst/>
              <a:gdLst>
                <a:gd name="T0" fmla="*/ 92 w 246"/>
                <a:gd name="T1" fmla="*/ 249 h 258"/>
                <a:gd name="T2" fmla="*/ 152 w 246"/>
                <a:gd name="T3" fmla="*/ 253 h 258"/>
                <a:gd name="T4" fmla="*/ 220 w 246"/>
                <a:gd name="T5" fmla="*/ 244 h 258"/>
                <a:gd name="T6" fmla="*/ 243 w 246"/>
                <a:gd name="T7" fmla="*/ 196 h 258"/>
                <a:gd name="T8" fmla="*/ 233 w 246"/>
                <a:gd name="T9" fmla="*/ 197 h 258"/>
                <a:gd name="T10" fmla="*/ 234 w 246"/>
                <a:gd name="T11" fmla="*/ 176 h 258"/>
                <a:gd name="T12" fmla="*/ 227 w 246"/>
                <a:gd name="T13" fmla="*/ 169 h 258"/>
                <a:gd name="T14" fmla="*/ 241 w 246"/>
                <a:gd name="T15" fmla="*/ 140 h 258"/>
                <a:gd name="T16" fmla="*/ 219 w 246"/>
                <a:gd name="T17" fmla="*/ 127 h 258"/>
                <a:gd name="T18" fmla="*/ 201 w 246"/>
                <a:gd name="T19" fmla="*/ 98 h 258"/>
                <a:gd name="T20" fmla="*/ 182 w 246"/>
                <a:gd name="T21" fmla="*/ 95 h 258"/>
                <a:gd name="T22" fmla="*/ 164 w 246"/>
                <a:gd name="T23" fmla="*/ 76 h 258"/>
                <a:gd name="T24" fmla="*/ 152 w 246"/>
                <a:gd name="T25" fmla="*/ 67 h 258"/>
                <a:gd name="T26" fmla="*/ 140 w 246"/>
                <a:gd name="T27" fmla="*/ 65 h 258"/>
                <a:gd name="T28" fmla="*/ 116 w 246"/>
                <a:gd name="T29" fmla="*/ 43 h 258"/>
                <a:gd name="T30" fmla="*/ 101 w 246"/>
                <a:gd name="T31" fmla="*/ 54 h 258"/>
                <a:gd name="T32" fmla="*/ 85 w 246"/>
                <a:gd name="T33" fmla="*/ 31 h 258"/>
                <a:gd name="T34" fmla="*/ 48 w 246"/>
                <a:gd name="T35" fmla="*/ 2 h 258"/>
                <a:gd name="T36" fmla="*/ 30 w 246"/>
                <a:gd name="T37" fmla="*/ 10 h 258"/>
                <a:gd name="T38" fmla="*/ 14 w 246"/>
                <a:gd name="T39" fmla="*/ 9 h 258"/>
                <a:gd name="T40" fmla="*/ 0 w 246"/>
                <a:gd name="T41" fmla="*/ 24 h 258"/>
                <a:gd name="T42" fmla="*/ 21 w 246"/>
                <a:gd name="T43" fmla="*/ 41 h 258"/>
                <a:gd name="T44" fmla="*/ 3 w 246"/>
                <a:gd name="T45" fmla="*/ 48 h 258"/>
                <a:gd name="T46" fmla="*/ 3 w 246"/>
                <a:gd name="T47" fmla="*/ 75 h 258"/>
                <a:gd name="T48" fmla="*/ 20 w 246"/>
                <a:gd name="T49" fmla="*/ 85 h 258"/>
                <a:gd name="T50" fmla="*/ 2 w 246"/>
                <a:gd name="T51" fmla="*/ 93 h 258"/>
                <a:gd name="T52" fmla="*/ 16 w 246"/>
                <a:gd name="T53" fmla="*/ 114 h 258"/>
                <a:gd name="T54" fmla="*/ 9 w 246"/>
                <a:gd name="T55" fmla="*/ 124 h 258"/>
                <a:gd name="T56" fmla="*/ 28 w 246"/>
                <a:gd name="T57" fmla="*/ 152 h 258"/>
                <a:gd name="T58" fmla="*/ 4 w 246"/>
                <a:gd name="T59" fmla="*/ 158 h 258"/>
                <a:gd name="T60" fmla="*/ 4 w 246"/>
                <a:gd name="T61" fmla="*/ 190 h 258"/>
                <a:gd name="T62" fmla="*/ 24 w 246"/>
                <a:gd name="T63" fmla="*/ 215 h 258"/>
                <a:gd name="T64" fmla="*/ 51 w 246"/>
                <a:gd name="T65" fmla="*/ 234 h 258"/>
                <a:gd name="T66" fmla="*/ 58 w 246"/>
                <a:gd name="T67" fmla="*/ 238 h 258"/>
                <a:gd name="T68" fmla="*/ 85 w 246"/>
                <a:gd name="T69" fmla="*/ 238 h 258"/>
                <a:gd name="T70" fmla="*/ 92 w 246"/>
                <a:gd name="T71" fmla="*/ 249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6" h="258">
                  <a:moveTo>
                    <a:pt x="92" y="249"/>
                  </a:moveTo>
                  <a:cubicBezTo>
                    <a:pt x="92" y="249"/>
                    <a:pt x="119" y="248"/>
                    <a:pt x="152" y="253"/>
                  </a:cubicBezTo>
                  <a:cubicBezTo>
                    <a:pt x="185" y="258"/>
                    <a:pt x="204" y="257"/>
                    <a:pt x="220" y="244"/>
                  </a:cubicBezTo>
                  <a:cubicBezTo>
                    <a:pt x="234" y="233"/>
                    <a:pt x="241" y="203"/>
                    <a:pt x="243" y="196"/>
                  </a:cubicBezTo>
                  <a:cubicBezTo>
                    <a:pt x="233" y="197"/>
                    <a:pt x="233" y="197"/>
                    <a:pt x="233" y="197"/>
                  </a:cubicBezTo>
                  <a:cubicBezTo>
                    <a:pt x="234" y="176"/>
                    <a:pt x="234" y="176"/>
                    <a:pt x="234" y="176"/>
                  </a:cubicBezTo>
                  <a:cubicBezTo>
                    <a:pt x="234" y="176"/>
                    <a:pt x="228" y="176"/>
                    <a:pt x="227" y="169"/>
                  </a:cubicBezTo>
                  <a:cubicBezTo>
                    <a:pt x="226" y="162"/>
                    <a:pt x="236" y="149"/>
                    <a:pt x="241" y="140"/>
                  </a:cubicBezTo>
                  <a:cubicBezTo>
                    <a:pt x="246" y="131"/>
                    <a:pt x="227" y="132"/>
                    <a:pt x="219" y="127"/>
                  </a:cubicBezTo>
                  <a:cubicBezTo>
                    <a:pt x="211" y="122"/>
                    <a:pt x="201" y="98"/>
                    <a:pt x="201" y="98"/>
                  </a:cubicBezTo>
                  <a:cubicBezTo>
                    <a:pt x="201" y="98"/>
                    <a:pt x="194" y="99"/>
                    <a:pt x="182" y="95"/>
                  </a:cubicBezTo>
                  <a:cubicBezTo>
                    <a:pt x="170" y="91"/>
                    <a:pt x="168" y="78"/>
                    <a:pt x="164" y="76"/>
                  </a:cubicBezTo>
                  <a:cubicBezTo>
                    <a:pt x="160" y="74"/>
                    <a:pt x="152" y="67"/>
                    <a:pt x="152" y="67"/>
                  </a:cubicBezTo>
                  <a:cubicBezTo>
                    <a:pt x="152" y="67"/>
                    <a:pt x="145" y="68"/>
                    <a:pt x="140" y="65"/>
                  </a:cubicBezTo>
                  <a:cubicBezTo>
                    <a:pt x="135" y="62"/>
                    <a:pt x="126" y="46"/>
                    <a:pt x="116" y="43"/>
                  </a:cubicBezTo>
                  <a:cubicBezTo>
                    <a:pt x="106" y="40"/>
                    <a:pt x="107" y="54"/>
                    <a:pt x="101" y="54"/>
                  </a:cubicBezTo>
                  <a:cubicBezTo>
                    <a:pt x="95" y="54"/>
                    <a:pt x="85" y="31"/>
                    <a:pt x="85" y="31"/>
                  </a:cubicBezTo>
                  <a:cubicBezTo>
                    <a:pt x="85" y="31"/>
                    <a:pt x="60" y="4"/>
                    <a:pt x="48" y="2"/>
                  </a:cubicBezTo>
                  <a:cubicBezTo>
                    <a:pt x="36" y="0"/>
                    <a:pt x="30" y="10"/>
                    <a:pt x="30" y="10"/>
                  </a:cubicBezTo>
                  <a:cubicBezTo>
                    <a:pt x="14" y="9"/>
                    <a:pt x="14" y="9"/>
                    <a:pt x="14" y="9"/>
                  </a:cubicBezTo>
                  <a:cubicBezTo>
                    <a:pt x="14" y="9"/>
                    <a:pt x="0" y="20"/>
                    <a:pt x="0" y="24"/>
                  </a:cubicBezTo>
                  <a:cubicBezTo>
                    <a:pt x="0" y="28"/>
                    <a:pt x="21" y="41"/>
                    <a:pt x="21" y="41"/>
                  </a:cubicBezTo>
                  <a:cubicBezTo>
                    <a:pt x="3" y="48"/>
                    <a:pt x="3" y="48"/>
                    <a:pt x="3" y="48"/>
                  </a:cubicBezTo>
                  <a:cubicBezTo>
                    <a:pt x="3" y="75"/>
                    <a:pt x="3" y="75"/>
                    <a:pt x="3" y="75"/>
                  </a:cubicBezTo>
                  <a:cubicBezTo>
                    <a:pt x="20" y="85"/>
                    <a:pt x="20" y="85"/>
                    <a:pt x="20" y="85"/>
                  </a:cubicBezTo>
                  <a:cubicBezTo>
                    <a:pt x="20" y="85"/>
                    <a:pt x="1" y="84"/>
                    <a:pt x="2" y="93"/>
                  </a:cubicBezTo>
                  <a:cubicBezTo>
                    <a:pt x="3" y="102"/>
                    <a:pt x="16" y="114"/>
                    <a:pt x="16" y="114"/>
                  </a:cubicBezTo>
                  <a:cubicBezTo>
                    <a:pt x="9" y="124"/>
                    <a:pt x="9" y="124"/>
                    <a:pt x="9" y="124"/>
                  </a:cubicBezTo>
                  <a:cubicBezTo>
                    <a:pt x="9" y="124"/>
                    <a:pt x="29" y="147"/>
                    <a:pt x="28" y="152"/>
                  </a:cubicBezTo>
                  <a:cubicBezTo>
                    <a:pt x="27" y="157"/>
                    <a:pt x="4" y="158"/>
                    <a:pt x="4" y="158"/>
                  </a:cubicBezTo>
                  <a:cubicBezTo>
                    <a:pt x="4" y="190"/>
                    <a:pt x="4" y="190"/>
                    <a:pt x="4" y="190"/>
                  </a:cubicBezTo>
                  <a:cubicBezTo>
                    <a:pt x="24" y="215"/>
                    <a:pt x="24" y="215"/>
                    <a:pt x="24" y="215"/>
                  </a:cubicBezTo>
                  <a:cubicBezTo>
                    <a:pt x="32" y="209"/>
                    <a:pt x="46" y="227"/>
                    <a:pt x="51" y="234"/>
                  </a:cubicBezTo>
                  <a:cubicBezTo>
                    <a:pt x="58" y="238"/>
                    <a:pt x="58" y="238"/>
                    <a:pt x="58" y="238"/>
                  </a:cubicBezTo>
                  <a:cubicBezTo>
                    <a:pt x="85" y="238"/>
                    <a:pt x="85" y="238"/>
                    <a:pt x="85" y="238"/>
                  </a:cubicBezTo>
                  <a:lnTo>
                    <a:pt x="92" y="249"/>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61" name="Freeform 22"/>
            <p:cNvSpPr>
              <a:spLocks noEditPoints="1"/>
            </p:cNvSpPr>
            <p:nvPr/>
          </p:nvSpPr>
          <p:spPr bwMode="gray">
            <a:xfrm>
              <a:off x="2459038" y="4633913"/>
              <a:ext cx="409575" cy="911225"/>
            </a:xfrm>
            <a:custGeom>
              <a:avLst/>
              <a:gdLst>
                <a:gd name="T0" fmla="*/ 659 w 732"/>
                <a:gd name="T1" fmla="*/ 333 h 1628"/>
                <a:gd name="T2" fmla="*/ 726 w 732"/>
                <a:gd name="T3" fmla="*/ 284 h 1628"/>
                <a:gd name="T4" fmla="*/ 679 w 732"/>
                <a:gd name="T5" fmla="*/ 205 h 1628"/>
                <a:gd name="T6" fmla="*/ 622 w 732"/>
                <a:gd name="T7" fmla="*/ 296 h 1628"/>
                <a:gd name="T8" fmla="*/ 534 w 732"/>
                <a:gd name="T9" fmla="*/ 286 h 1628"/>
                <a:gd name="T10" fmla="*/ 535 w 732"/>
                <a:gd name="T11" fmla="*/ 223 h 1628"/>
                <a:gd name="T12" fmla="*/ 444 w 732"/>
                <a:gd name="T13" fmla="*/ 138 h 1628"/>
                <a:gd name="T14" fmla="*/ 328 w 732"/>
                <a:gd name="T15" fmla="*/ 70 h 1628"/>
                <a:gd name="T16" fmla="*/ 216 w 732"/>
                <a:gd name="T17" fmla="*/ 13 h 1628"/>
                <a:gd name="T18" fmla="*/ 115 w 732"/>
                <a:gd name="T19" fmla="*/ 0 h 1628"/>
                <a:gd name="T20" fmla="*/ 81 w 732"/>
                <a:gd name="T21" fmla="*/ 32 h 1628"/>
                <a:gd name="T22" fmla="*/ 82 w 732"/>
                <a:gd name="T23" fmla="*/ 63 h 1628"/>
                <a:gd name="T24" fmla="*/ 27 w 732"/>
                <a:gd name="T25" fmla="*/ 199 h 1628"/>
                <a:gd name="T26" fmla="*/ 35 w 732"/>
                <a:gd name="T27" fmla="*/ 280 h 1628"/>
                <a:gd name="T28" fmla="*/ 2 w 732"/>
                <a:gd name="T29" fmla="*/ 401 h 1628"/>
                <a:gd name="T30" fmla="*/ 0 w 732"/>
                <a:gd name="T31" fmla="*/ 500 h 1628"/>
                <a:gd name="T32" fmla="*/ 32 w 732"/>
                <a:gd name="T33" fmla="*/ 564 h 1628"/>
                <a:gd name="T34" fmla="*/ 63 w 732"/>
                <a:gd name="T35" fmla="*/ 614 h 1628"/>
                <a:gd name="T36" fmla="*/ 64 w 732"/>
                <a:gd name="T37" fmla="*/ 724 h 1628"/>
                <a:gd name="T38" fmla="*/ 68 w 732"/>
                <a:gd name="T39" fmla="*/ 786 h 1628"/>
                <a:gd name="T40" fmla="*/ 83 w 732"/>
                <a:gd name="T41" fmla="*/ 872 h 1628"/>
                <a:gd name="T42" fmla="*/ 87 w 732"/>
                <a:gd name="T43" fmla="*/ 944 h 1628"/>
                <a:gd name="T44" fmla="*/ 95 w 732"/>
                <a:gd name="T45" fmla="*/ 990 h 1628"/>
                <a:gd name="T46" fmla="*/ 129 w 732"/>
                <a:gd name="T47" fmla="*/ 1082 h 1628"/>
                <a:gd name="T48" fmla="*/ 143 w 732"/>
                <a:gd name="T49" fmla="*/ 1145 h 1628"/>
                <a:gd name="T50" fmla="*/ 170 w 732"/>
                <a:gd name="T51" fmla="*/ 1213 h 1628"/>
                <a:gd name="T52" fmla="*/ 205 w 732"/>
                <a:gd name="T53" fmla="*/ 1257 h 1628"/>
                <a:gd name="T54" fmla="*/ 217 w 732"/>
                <a:gd name="T55" fmla="*/ 1321 h 1628"/>
                <a:gd name="T56" fmla="*/ 210 w 732"/>
                <a:gd name="T57" fmla="*/ 1394 h 1628"/>
                <a:gd name="T58" fmla="*/ 214 w 732"/>
                <a:gd name="T59" fmla="*/ 1450 h 1628"/>
                <a:gd name="T60" fmla="*/ 216 w 732"/>
                <a:gd name="T61" fmla="*/ 1513 h 1628"/>
                <a:gd name="T62" fmla="*/ 290 w 732"/>
                <a:gd name="T63" fmla="*/ 1562 h 1628"/>
                <a:gd name="T64" fmla="*/ 347 w 732"/>
                <a:gd name="T65" fmla="*/ 1612 h 1628"/>
                <a:gd name="T66" fmla="*/ 437 w 732"/>
                <a:gd name="T67" fmla="*/ 1628 h 1628"/>
                <a:gd name="T68" fmla="*/ 438 w 732"/>
                <a:gd name="T69" fmla="*/ 1589 h 1628"/>
                <a:gd name="T70" fmla="*/ 409 w 732"/>
                <a:gd name="T71" fmla="*/ 1534 h 1628"/>
                <a:gd name="T72" fmla="*/ 412 w 732"/>
                <a:gd name="T73" fmla="*/ 1501 h 1628"/>
                <a:gd name="T74" fmla="*/ 441 w 732"/>
                <a:gd name="T75" fmla="*/ 1451 h 1628"/>
                <a:gd name="T76" fmla="*/ 476 w 732"/>
                <a:gd name="T77" fmla="*/ 1359 h 1628"/>
                <a:gd name="T78" fmla="*/ 379 w 732"/>
                <a:gd name="T79" fmla="*/ 1301 h 1628"/>
                <a:gd name="T80" fmla="*/ 407 w 732"/>
                <a:gd name="T81" fmla="*/ 1240 h 1628"/>
                <a:gd name="T82" fmla="*/ 443 w 732"/>
                <a:gd name="T83" fmla="*/ 1217 h 1628"/>
                <a:gd name="T84" fmla="*/ 456 w 732"/>
                <a:gd name="T85" fmla="*/ 1130 h 1628"/>
                <a:gd name="T86" fmla="*/ 486 w 732"/>
                <a:gd name="T87" fmla="*/ 1113 h 1628"/>
                <a:gd name="T88" fmla="*/ 404 w 732"/>
                <a:gd name="T89" fmla="*/ 1089 h 1628"/>
                <a:gd name="T90" fmla="*/ 465 w 732"/>
                <a:gd name="T91" fmla="*/ 1039 h 1628"/>
                <a:gd name="T92" fmla="*/ 501 w 732"/>
                <a:gd name="T93" fmla="*/ 948 h 1628"/>
                <a:gd name="T94" fmla="*/ 494 w 732"/>
                <a:gd name="T95" fmla="*/ 934 h 1628"/>
                <a:gd name="T96" fmla="*/ 554 w 732"/>
                <a:gd name="T97" fmla="*/ 920 h 1628"/>
                <a:gd name="T98" fmla="*/ 688 w 732"/>
                <a:gd name="T99" fmla="*/ 847 h 1628"/>
                <a:gd name="T100" fmla="*/ 667 w 732"/>
                <a:gd name="T101" fmla="*/ 766 h 1628"/>
                <a:gd name="T102" fmla="*/ 601 w 732"/>
                <a:gd name="T103" fmla="*/ 696 h 1628"/>
                <a:gd name="T104" fmla="*/ 570 w 732"/>
                <a:gd name="T105" fmla="*/ 601 h 1628"/>
                <a:gd name="T106" fmla="*/ 568 w 732"/>
                <a:gd name="T107" fmla="*/ 536 h 1628"/>
                <a:gd name="T108" fmla="*/ 587 w 732"/>
                <a:gd name="T109" fmla="*/ 484 h 1628"/>
                <a:gd name="T110" fmla="*/ 604 w 732"/>
                <a:gd name="T111" fmla="*/ 419 h 1628"/>
                <a:gd name="T112" fmla="*/ 619 w 732"/>
                <a:gd name="T113" fmla="*/ 681 h 1628"/>
                <a:gd name="T114" fmla="*/ 619 w 732"/>
                <a:gd name="T115" fmla="*/ 681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732" h="1628">
                  <a:moveTo>
                    <a:pt x="634" y="355"/>
                  </a:moveTo>
                  <a:cubicBezTo>
                    <a:pt x="650" y="351"/>
                    <a:pt x="650" y="351"/>
                    <a:pt x="650" y="351"/>
                  </a:cubicBezTo>
                  <a:cubicBezTo>
                    <a:pt x="653" y="335"/>
                    <a:pt x="653" y="335"/>
                    <a:pt x="653" y="335"/>
                  </a:cubicBezTo>
                  <a:cubicBezTo>
                    <a:pt x="659" y="333"/>
                    <a:pt x="659" y="333"/>
                    <a:pt x="659" y="333"/>
                  </a:cubicBezTo>
                  <a:cubicBezTo>
                    <a:pt x="660" y="322"/>
                    <a:pt x="660" y="322"/>
                    <a:pt x="660" y="322"/>
                  </a:cubicBezTo>
                  <a:cubicBezTo>
                    <a:pt x="681" y="320"/>
                    <a:pt x="681" y="320"/>
                    <a:pt x="681" y="320"/>
                  </a:cubicBezTo>
                  <a:cubicBezTo>
                    <a:pt x="681" y="320"/>
                    <a:pt x="681" y="302"/>
                    <a:pt x="692" y="297"/>
                  </a:cubicBezTo>
                  <a:cubicBezTo>
                    <a:pt x="703" y="292"/>
                    <a:pt x="720" y="290"/>
                    <a:pt x="726" y="284"/>
                  </a:cubicBezTo>
                  <a:cubicBezTo>
                    <a:pt x="732" y="278"/>
                    <a:pt x="724" y="240"/>
                    <a:pt x="724" y="231"/>
                  </a:cubicBezTo>
                  <a:cubicBezTo>
                    <a:pt x="724" y="222"/>
                    <a:pt x="713" y="223"/>
                    <a:pt x="713" y="223"/>
                  </a:cubicBezTo>
                  <a:cubicBezTo>
                    <a:pt x="713" y="223"/>
                    <a:pt x="709" y="202"/>
                    <a:pt x="702" y="198"/>
                  </a:cubicBezTo>
                  <a:cubicBezTo>
                    <a:pt x="695" y="194"/>
                    <a:pt x="679" y="205"/>
                    <a:pt x="679" y="205"/>
                  </a:cubicBezTo>
                  <a:cubicBezTo>
                    <a:pt x="679" y="205"/>
                    <a:pt x="681" y="240"/>
                    <a:pt x="679" y="251"/>
                  </a:cubicBezTo>
                  <a:cubicBezTo>
                    <a:pt x="677" y="262"/>
                    <a:pt x="656" y="276"/>
                    <a:pt x="649" y="276"/>
                  </a:cubicBezTo>
                  <a:cubicBezTo>
                    <a:pt x="642" y="276"/>
                    <a:pt x="640" y="293"/>
                    <a:pt x="636" y="300"/>
                  </a:cubicBezTo>
                  <a:cubicBezTo>
                    <a:pt x="632" y="307"/>
                    <a:pt x="631" y="298"/>
                    <a:pt x="622" y="296"/>
                  </a:cubicBezTo>
                  <a:cubicBezTo>
                    <a:pt x="613" y="294"/>
                    <a:pt x="613" y="313"/>
                    <a:pt x="613" y="313"/>
                  </a:cubicBezTo>
                  <a:cubicBezTo>
                    <a:pt x="606" y="302"/>
                    <a:pt x="606" y="302"/>
                    <a:pt x="606" y="302"/>
                  </a:cubicBezTo>
                  <a:cubicBezTo>
                    <a:pt x="606" y="302"/>
                    <a:pt x="584" y="304"/>
                    <a:pt x="567" y="300"/>
                  </a:cubicBezTo>
                  <a:cubicBezTo>
                    <a:pt x="550" y="296"/>
                    <a:pt x="543" y="289"/>
                    <a:pt x="534" y="286"/>
                  </a:cubicBezTo>
                  <a:cubicBezTo>
                    <a:pt x="525" y="283"/>
                    <a:pt x="509" y="293"/>
                    <a:pt x="504" y="286"/>
                  </a:cubicBezTo>
                  <a:cubicBezTo>
                    <a:pt x="499" y="279"/>
                    <a:pt x="519" y="252"/>
                    <a:pt x="519" y="252"/>
                  </a:cubicBezTo>
                  <a:cubicBezTo>
                    <a:pt x="519" y="230"/>
                    <a:pt x="519" y="230"/>
                    <a:pt x="519" y="230"/>
                  </a:cubicBezTo>
                  <a:cubicBezTo>
                    <a:pt x="519" y="230"/>
                    <a:pt x="531" y="230"/>
                    <a:pt x="535" y="223"/>
                  </a:cubicBezTo>
                  <a:cubicBezTo>
                    <a:pt x="539" y="216"/>
                    <a:pt x="526" y="208"/>
                    <a:pt x="526" y="208"/>
                  </a:cubicBezTo>
                  <a:cubicBezTo>
                    <a:pt x="526" y="208"/>
                    <a:pt x="536" y="191"/>
                    <a:pt x="538" y="183"/>
                  </a:cubicBezTo>
                  <a:cubicBezTo>
                    <a:pt x="540" y="175"/>
                    <a:pt x="506" y="168"/>
                    <a:pt x="500" y="167"/>
                  </a:cubicBezTo>
                  <a:cubicBezTo>
                    <a:pt x="494" y="166"/>
                    <a:pt x="444" y="138"/>
                    <a:pt x="444" y="138"/>
                  </a:cubicBezTo>
                  <a:cubicBezTo>
                    <a:pt x="444" y="138"/>
                    <a:pt x="423" y="118"/>
                    <a:pt x="413" y="122"/>
                  </a:cubicBezTo>
                  <a:cubicBezTo>
                    <a:pt x="403" y="126"/>
                    <a:pt x="368" y="106"/>
                    <a:pt x="368" y="106"/>
                  </a:cubicBezTo>
                  <a:cubicBezTo>
                    <a:pt x="364" y="92"/>
                    <a:pt x="364" y="92"/>
                    <a:pt x="364" y="92"/>
                  </a:cubicBezTo>
                  <a:cubicBezTo>
                    <a:pt x="364" y="92"/>
                    <a:pt x="337" y="75"/>
                    <a:pt x="328" y="70"/>
                  </a:cubicBezTo>
                  <a:cubicBezTo>
                    <a:pt x="319" y="65"/>
                    <a:pt x="303" y="36"/>
                    <a:pt x="303" y="36"/>
                  </a:cubicBezTo>
                  <a:cubicBezTo>
                    <a:pt x="290" y="24"/>
                    <a:pt x="290" y="24"/>
                    <a:pt x="290" y="24"/>
                  </a:cubicBezTo>
                  <a:cubicBezTo>
                    <a:pt x="267" y="7"/>
                    <a:pt x="267" y="7"/>
                    <a:pt x="267" y="7"/>
                  </a:cubicBezTo>
                  <a:cubicBezTo>
                    <a:pt x="216" y="13"/>
                    <a:pt x="216" y="13"/>
                    <a:pt x="216" y="13"/>
                  </a:cubicBezTo>
                  <a:cubicBezTo>
                    <a:pt x="211" y="50"/>
                    <a:pt x="211" y="50"/>
                    <a:pt x="211" y="50"/>
                  </a:cubicBezTo>
                  <a:cubicBezTo>
                    <a:pt x="189" y="16"/>
                    <a:pt x="189" y="16"/>
                    <a:pt x="189" y="16"/>
                  </a:cubicBezTo>
                  <a:cubicBezTo>
                    <a:pt x="189" y="16"/>
                    <a:pt x="147" y="17"/>
                    <a:pt x="134" y="13"/>
                  </a:cubicBezTo>
                  <a:cubicBezTo>
                    <a:pt x="120" y="9"/>
                    <a:pt x="115" y="0"/>
                    <a:pt x="115" y="0"/>
                  </a:cubicBezTo>
                  <a:cubicBezTo>
                    <a:pt x="107" y="17"/>
                    <a:pt x="107" y="17"/>
                    <a:pt x="107" y="17"/>
                  </a:cubicBezTo>
                  <a:cubicBezTo>
                    <a:pt x="92" y="20"/>
                    <a:pt x="92" y="20"/>
                    <a:pt x="92" y="20"/>
                  </a:cubicBezTo>
                  <a:cubicBezTo>
                    <a:pt x="92" y="34"/>
                    <a:pt x="92" y="34"/>
                    <a:pt x="92" y="34"/>
                  </a:cubicBezTo>
                  <a:cubicBezTo>
                    <a:pt x="81" y="32"/>
                    <a:pt x="81" y="32"/>
                    <a:pt x="81" y="32"/>
                  </a:cubicBezTo>
                  <a:cubicBezTo>
                    <a:pt x="81" y="51"/>
                    <a:pt x="81" y="51"/>
                    <a:pt x="81" y="51"/>
                  </a:cubicBezTo>
                  <a:cubicBezTo>
                    <a:pt x="81" y="51"/>
                    <a:pt x="78" y="52"/>
                    <a:pt x="74" y="52"/>
                  </a:cubicBezTo>
                  <a:cubicBezTo>
                    <a:pt x="74" y="52"/>
                    <a:pt x="75" y="52"/>
                    <a:pt x="75" y="52"/>
                  </a:cubicBezTo>
                  <a:cubicBezTo>
                    <a:pt x="82" y="63"/>
                    <a:pt x="82" y="63"/>
                    <a:pt x="82" y="63"/>
                  </a:cubicBezTo>
                  <a:cubicBezTo>
                    <a:pt x="76" y="119"/>
                    <a:pt x="76" y="119"/>
                    <a:pt x="76" y="119"/>
                  </a:cubicBezTo>
                  <a:cubicBezTo>
                    <a:pt x="76" y="119"/>
                    <a:pt x="21" y="143"/>
                    <a:pt x="22" y="157"/>
                  </a:cubicBezTo>
                  <a:cubicBezTo>
                    <a:pt x="23" y="171"/>
                    <a:pt x="50" y="165"/>
                    <a:pt x="41" y="174"/>
                  </a:cubicBezTo>
                  <a:cubicBezTo>
                    <a:pt x="32" y="183"/>
                    <a:pt x="22" y="192"/>
                    <a:pt x="27" y="199"/>
                  </a:cubicBezTo>
                  <a:cubicBezTo>
                    <a:pt x="32" y="206"/>
                    <a:pt x="51" y="214"/>
                    <a:pt x="50" y="224"/>
                  </a:cubicBezTo>
                  <a:cubicBezTo>
                    <a:pt x="49" y="234"/>
                    <a:pt x="32" y="246"/>
                    <a:pt x="32" y="246"/>
                  </a:cubicBezTo>
                  <a:cubicBezTo>
                    <a:pt x="32" y="246"/>
                    <a:pt x="63" y="257"/>
                    <a:pt x="60" y="268"/>
                  </a:cubicBezTo>
                  <a:cubicBezTo>
                    <a:pt x="57" y="279"/>
                    <a:pt x="35" y="280"/>
                    <a:pt x="35" y="280"/>
                  </a:cubicBezTo>
                  <a:cubicBezTo>
                    <a:pt x="35" y="280"/>
                    <a:pt x="29" y="318"/>
                    <a:pt x="28" y="323"/>
                  </a:cubicBezTo>
                  <a:cubicBezTo>
                    <a:pt x="27" y="328"/>
                    <a:pt x="9" y="336"/>
                    <a:pt x="9" y="346"/>
                  </a:cubicBezTo>
                  <a:cubicBezTo>
                    <a:pt x="9" y="356"/>
                    <a:pt x="14" y="381"/>
                    <a:pt x="12" y="385"/>
                  </a:cubicBezTo>
                  <a:cubicBezTo>
                    <a:pt x="10" y="389"/>
                    <a:pt x="1" y="397"/>
                    <a:pt x="2" y="401"/>
                  </a:cubicBezTo>
                  <a:cubicBezTo>
                    <a:pt x="3" y="405"/>
                    <a:pt x="26" y="450"/>
                    <a:pt x="21" y="455"/>
                  </a:cubicBezTo>
                  <a:cubicBezTo>
                    <a:pt x="16" y="460"/>
                    <a:pt x="7" y="455"/>
                    <a:pt x="7" y="455"/>
                  </a:cubicBezTo>
                  <a:cubicBezTo>
                    <a:pt x="10" y="494"/>
                    <a:pt x="10" y="494"/>
                    <a:pt x="10" y="494"/>
                  </a:cubicBezTo>
                  <a:cubicBezTo>
                    <a:pt x="10" y="494"/>
                    <a:pt x="0" y="495"/>
                    <a:pt x="0" y="500"/>
                  </a:cubicBezTo>
                  <a:cubicBezTo>
                    <a:pt x="0" y="505"/>
                    <a:pt x="2" y="522"/>
                    <a:pt x="2" y="522"/>
                  </a:cubicBezTo>
                  <a:cubicBezTo>
                    <a:pt x="2" y="522"/>
                    <a:pt x="25" y="537"/>
                    <a:pt x="23" y="541"/>
                  </a:cubicBezTo>
                  <a:cubicBezTo>
                    <a:pt x="21" y="545"/>
                    <a:pt x="19" y="554"/>
                    <a:pt x="19" y="554"/>
                  </a:cubicBezTo>
                  <a:cubicBezTo>
                    <a:pt x="32" y="564"/>
                    <a:pt x="32" y="564"/>
                    <a:pt x="32" y="564"/>
                  </a:cubicBezTo>
                  <a:cubicBezTo>
                    <a:pt x="40" y="585"/>
                    <a:pt x="40" y="585"/>
                    <a:pt x="40" y="585"/>
                  </a:cubicBezTo>
                  <a:cubicBezTo>
                    <a:pt x="43" y="591"/>
                    <a:pt x="43" y="591"/>
                    <a:pt x="43" y="591"/>
                  </a:cubicBezTo>
                  <a:cubicBezTo>
                    <a:pt x="43" y="591"/>
                    <a:pt x="35" y="610"/>
                    <a:pt x="47" y="613"/>
                  </a:cubicBezTo>
                  <a:cubicBezTo>
                    <a:pt x="59" y="616"/>
                    <a:pt x="63" y="614"/>
                    <a:pt x="63" y="614"/>
                  </a:cubicBezTo>
                  <a:cubicBezTo>
                    <a:pt x="65" y="639"/>
                    <a:pt x="65" y="639"/>
                    <a:pt x="65" y="639"/>
                  </a:cubicBezTo>
                  <a:cubicBezTo>
                    <a:pt x="65" y="639"/>
                    <a:pt x="80" y="658"/>
                    <a:pt x="77" y="664"/>
                  </a:cubicBezTo>
                  <a:cubicBezTo>
                    <a:pt x="74" y="670"/>
                    <a:pt x="65" y="677"/>
                    <a:pt x="65" y="681"/>
                  </a:cubicBezTo>
                  <a:cubicBezTo>
                    <a:pt x="65" y="685"/>
                    <a:pt x="64" y="724"/>
                    <a:pt x="64" y="724"/>
                  </a:cubicBezTo>
                  <a:cubicBezTo>
                    <a:pt x="55" y="725"/>
                    <a:pt x="55" y="725"/>
                    <a:pt x="55" y="725"/>
                  </a:cubicBezTo>
                  <a:cubicBezTo>
                    <a:pt x="55" y="725"/>
                    <a:pt x="72" y="743"/>
                    <a:pt x="73" y="753"/>
                  </a:cubicBezTo>
                  <a:cubicBezTo>
                    <a:pt x="74" y="763"/>
                    <a:pt x="70" y="774"/>
                    <a:pt x="70" y="774"/>
                  </a:cubicBezTo>
                  <a:cubicBezTo>
                    <a:pt x="68" y="786"/>
                    <a:pt x="68" y="786"/>
                    <a:pt x="68" y="786"/>
                  </a:cubicBezTo>
                  <a:cubicBezTo>
                    <a:pt x="51" y="787"/>
                    <a:pt x="51" y="787"/>
                    <a:pt x="51" y="787"/>
                  </a:cubicBezTo>
                  <a:cubicBezTo>
                    <a:pt x="51" y="787"/>
                    <a:pt x="63" y="820"/>
                    <a:pt x="63" y="827"/>
                  </a:cubicBezTo>
                  <a:cubicBezTo>
                    <a:pt x="63" y="834"/>
                    <a:pt x="63" y="855"/>
                    <a:pt x="63" y="855"/>
                  </a:cubicBezTo>
                  <a:cubicBezTo>
                    <a:pt x="83" y="872"/>
                    <a:pt x="83" y="872"/>
                    <a:pt x="83" y="872"/>
                  </a:cubicBezTo>
                  <a:cubicBezTo>
                    <a:pt x="84" y="884"/>
                    <a:pt x="84" y="884"/>
                    <a:pt x="84" y="884"/>
                  </a:cubicBezTo>
                  <a:cubicBezTo>
                    <a:pt x="84" y="884"/>
                    <a:pt x="103" y="893"/>
                    <a:pt x="98" y="902"/>
                  </a:cubicBezTo>
                  <a:cubicBezTo>
                    <a:pt x="93" y="911"/>
                    <a:pt x="79" y="916"/>
                    <a:pt x="79" y="916"/>
                  </a:cubicBezTo>
                  <a:cubicBezTo>
                    <a:pt x="87" y="944"/>
                    <a:pt x="87" y="944"/>
                    <a:pt x="87" y="944"/>
                  </a:cubicBezTo>
                  <a:cubicBezTo>
                    <a:pt x="74" y="953"/>
                    <a:pt x="74" y="953"/>
                    <a:pt x="74" y="953"/>
                  </a:cubicBezTo>
                  <a:cubicBezTo>
                    <a:pt x="74" y="953"/>
                    <a:pt x="84" y="958"/>
                    <a:pt x="85" y="966"/>
                  </a:cubicBezTo>
                  <a:cubicBezTo>
                    <a:pt x="86" y="974"/>
                    <a:pt x="81" y="982"/>
                    <a:pt x="81" y="982"/>
                  </a:cubicBezTo>
                  <a:cubicBezTo>
                    <a:pt x="95" y="990"/>
                    <a:pt x="95" y="990"/>
                    <a:pt x="95" y="990"/>
                  </a:cubicBezTo>
                  <a:cubicBezTo>
                    <a:pt x="95" y="990"/>
                    <a:pt x="90" y="1008"/>
                    <a:pt x="91" y="1014"/>
                  </a:cubicBezTo>
                  <a:cubicBezTo>
                    <a:pt x="92" y="1020"/>
                    <a:pt x="99" y="1031"/>
                    <a:pt x="99" y="1031"/>
                  </a:cubicBezTo>
                  <a:cubicBezTo>
                    <a:pt x="99" y="1031"/>
                    <a:pt x="99" y="1050"/>
                    <a:pt x="102" y="1056"/>
                  </a:cubicBezTo>
                  <a:cubicBezTo>
                    <a:pt x="105" y="1062"/>
                    <a:pt x="134" y="1083"/>
                    <a:pt x="129" y="1082"/>
                  </a:cubicBezTo>
                  <a:cubicBezTo>
                    <a:pt x="124" y="1081"/>
                    <a:pt x="113" y="1090"/>
                    <a:pt x="113" y="1090"/>
                  </a:cubicBezTo>
                  <a:cubicBezTo>
                    <a:pt x="113" y="1090"/>
                    <a:pt x="118" y="1120"/>
                    <a:pt x="121" y="1128"/>
                  </a:cubicBezTo>
                  <a:cubicBezTo>
                    <a:pt x="124" y="1136"/>
                    <a:pt x="133" y="1140"/>
                    <a:pt x="133" y="1140"/>
                  </a:cubicBezTo>
                  <a:cubicBezTo>
                    <a:pt x="143" y="1145"/>
                    <a:pt x="143" y="1145"/>
                    <a:pt x="143" y="1145"/>
                  </a:cubicBezTo>
                  <a:cubicBezTo>
                    <a:pt x="139" y="1163"/>
                    <a:pt x="139" y="1163"/>
                    <a:pt x="139" y="1163"/>
                  </a:cubicBezTo>
                  <a:cubicBezTo>
                    <a:pt x="139" y="1163"/>
                    <a:pt x="155" y="1164"/>
                    <a:pt x="156" y="1175"/>
                  </a:cubicBezTo>
                  <a:cubicBezTo>
                    <a:pt x="157" y="1186"/>
                    <a:pt x="158" y="1203"/>
                    <a:pt x="158" y="1203"/>
                  </a:cubicBezTo>
                  <a:cubicBezTo>
                    <a:pt x="158" y="1203"/>
                    <a:pt x="163" y="1213"/>
                    <a:pt x="170" y="1213"/>
                  </a:cubicBezTo>
                  <a:cubicBezTo>
                    <a:pt x="177" y="1213"/>
                    <a:pt x="196" y="1208"/>
                    <a:pt x="194" y="1219"/>
                  </a:cubicBezTo>
                  <a:cubicBezTo>
                    <a:pt x="192" y="1230"/>
                    <a:pt x="160" y="1227"/>
                    <a:pt x="161" y="1230"/>
                  </a:cubicBezTo>
                  <a:cubicBezTo>
                    <a:pt x="162" y="1233"/>
                    <a:pt x="185" y="1240"/>
                    <a:pt x="185" y="1240"/>
                  </a:cubicBezTo>
                  <a:cubicBezTo>
                    <a:pt x="185" y="1240"/>
                    <a:pt x="208" y="1249"/>
                    <a:pt x="205" y="1257"/>
                  </a:cubicBezTo>
                  <a:cubicBezTo>
                    <a:pt x="202" y="1265"/>
                    <a:pt x="189" y="1276"/>
                    <a:pt x="189" y="1276"/>
                  </a:cubicBezTo>
                  <a:cubicBezTo>
                    <a:pt x="205" y="1288"/>
                    <a:pt x="205" y="1288"/>
                    <a:pt x="205" y="1288"/>
                  </a:cubicBezTo>
                  <a:cubicBezTo>
                    <a:pt x="202" y="1303"/>
                    <a:pt x="202" y="1303"/>
                    <a:pt x="202" y="1303"/>
                  </a:cubicBezTo>
                  <a:cubicBezTo>
                    <a:pt x="217" y="1321"/>
                    <a:pt x="217" y="1321"/>
                    <a:pt x="217" y="1321"/>
                  </a:cubicBezTo>
                  <a:cubicBezTo>
                    <a:pt x="214" y="1343"/>
                    <a:pt x="214" y="1343"/>
                    <a:pt x="214" y="1343"/>
                  </a:cubicBezTo>
                  <a:cubicBezTo>
                    <a:pt x="224" y="1360"/>
                    <a:pt x="224" y="1360"/>
                    <a:pt x="224" y="1360"/>
                  </a:cubicBezTo>
                  <a:cubicBezTo>
                    <a:pt x="213" y="1364"/>
                    <a:pt x="213" y="1364"/>
                    <a:pt x="213" y="1364"/>
                  </a:cubicBezTo>
                  <a:cubicBezTo>
                    <a:pt x="210" y="1394"/>
                    <a:pt x="210" y="1394"/>
                    <a:pt x="210" y="1394"/>
                  </a:cubicBezTo>
                  <a:cubicBezTo>
                    <a:pt x="210" y="1394"/>
                    <a:pt x="229" y="1405"/>
                    <a:pt x="230" y="1408"/>
                  </a:cubicBezTo>
                  <a:cubicBezTo>
                    <a:pt x="231" y="1411"/>
                    <a:pt x="215" y="1420"/>
                    <a:pt x="215" y="1420"/>
                  </a:cubicBezTo>
                  <a:cubicBezTo>
                    <a:pt x="215" y="1420"/>
                    <a:pt x="235" y="1435"/>
                    <a:pt x="232" y="1440"/>
                  </a:cubicBezTo>
                  <a:cubicBezTo>
                    <a:pt x="229" y="1445"/>
                    <a:pt x="214" y="1450"/>
                    <a:pt x="214" y="1450"/>
                  </a:cubicBezTo>
                  <a:cubicBezTo>
                    <a:pt x="213" y="1463"/>
                    <a:pt x="213" y="1463"/>
                    <a:pt x="213" y="1463"/>
                  </a:cubicBezTo>
                  <a:cubicBezTo>
                    <a:pt x="206" y="1467"/>
                    <a:pt x="206" y="1467"/>
                    <a:pt x="206" y="1467"/>
                  </a:cubicBezTo>
                  <a:cubicBezTo>
                    <a:pt x="206" y="1467"/>
                    <a:pt x="208" y="1483"/>
                    <a:pt x="213" y="1488"/>
                  </a:cubicBezTo>
                  <a:cubicBezTo>
                    <a:pt x="218" y="1493"/>
                    <a:pt x="216" y="1513"/>
                    <a:pt x="216" y="1513"/>
                  </a:cubicBezTo>
                  <a:cubicBezTo>
                    <a:pt x="236" y="1517"/>
                    <a:pt x="236" y="1517"/>
                    <a:pt x="236" y="1517"/>
                  </a:cubicBezTo>
                  <a:cubicBezTo>
                    <a:pt x="236" y="1517"/>
                    <a:pt x="240" y="1542"/>
                    <a:pt x="250" y="1542"/>
                  </a:cubicBezTo>
                  <a:cubicBezTo>
                    <a:pt x="260" y="1542"/>
                    <a:pt x="266" y="1524"/>
                    <a:pt x="281" y="1537"/>
                  </a:cubicBezTo>
                  <a:cubicBezTo>
                    <a:pt x="296" y="1550"/>
                    <a:pt x="290" y="1562"/>
                    <a:pt x="290" y="1562"/>
                  </a:cubicBezTo>
                  <a:cubicBezTo>
                    <a:pt x="304" y="1578"/>
                    <a:pt x="304" y="1578"/>
                    <a:pt x="304" y="1578"/>
                  </a:cubicBezTo>
                  <a:cubicBezTo>
                    <a:pt x="311" y="1589"/>
                    <a:pt x="311" y="1589"/>
                    <a:pt x="311" y="1589"/>
                  </a:cubicBezTo>
                  <a:cubicBezTo>
                    <a:pt x="335" y="1600"/>
                    <a:pt x="335" y="1600"/>
                    <a:pt x="335" y="1600"/>
                  </a:cubicBezTo>
                  <a:cubicBezTo>
                    <a:pt x="347" y="1612"/>
                    <a:pt x="347" y="1612"/>
                    <a:pt x="347" y="1612"/>
                  </a:cubicBezTo>
                  <a:cubicBezTo>
                    <a:pt x="347" y="1612"/>
                    <a:pt x="373" y="1605"/>
                    <a:pt x="389" y="1607"/>
                  </a:cubicBezTo>
                  <a:cubicBezTo>
                    <a:pt x="405" y="1609"/>
                    <a:pt x="425" y="1608"/>
                    <a:pt x="425" y="1608"/>
                  </a:cubicBezTo>
                  <a:cubicBezTo>
                    <a:pt x="440" y="1620"/>
                    <a:pt x="440" y="1620"/>
                    <a:pt x="440" y="1620"/>
                  </a:cubicBezTo>
                  <a:cubicBezTo>
                    <a:pt x="437" y="1628"/>
                    <a:pt x="437" y="1628"/>
                    <a:pt x="437" y="1628"/>
                  </a:cubicBezTo>
                  <a:cubicBezTo>
                    <a:pt x="442" y="1616"/>
                    <a:pt x="442" y="1616"/>
                    <a:pt x="442" y="1616"/>
                  </a:cubicBezTo>
                  <a:cubicBezTo>
                    <a:pt x="449" y="1606"/>
                    <a:pt x="478" y="1625"/>
                    <a:pt x="478" y="1625"/>
                  </a:cubicBezTo>
                  <a:cubicBezTo>
                    <a:pt x="451" y="1588"/>
                    <a:pt x="451" y="1588"/>
                    <a:pt x="451" y="1588"/>
                  </a:cubicBezTo>
                  <a:cubicBezTo>
                    <a:pt x="438" y="1589"/>
                    <a:pt x="438" y="1589"/>
                    <a:pt x="438" y="1589"/>
                  </a:cubicBezTo>
                  <a:cubicBezTo>
                    <a:pt x="441" y="1579"/>
                    <a:pt x="441" y="1579"/>
                    <a:pt x="441" y="1579"/>
                  </a:cubicBezTo>
                  <a:cubicBezTo>
                    <a:pt x="417" y="1562"/>
                    <a:pt x="417" y="1562"/>
                    <a:pt x="417" y="1562"/>
                  </a:cubicBezTo>
                  <a:cubicBezTo>
                    <a:pt x="418" y="1538"/>
                    <a:pt x="418" y="1538"/>
                    <a:pt x="418" y="1538"/>
                  </a:cubicBezTo>
                  <a:cubicBezTo>
                    <a:pt x="409" y="1534"/>
                    <a:pt x="409" y="1534"/>
                    <a:pt x="409" y="1534"/>
                  </a:cubicBezTo>
                  <a:cubicBezTo>
                    <a:pt x="414" y="1522"/>
                    <a:pt x="414" y="1522"/>
                    <a:pt x="414" y="1522"/>
                  </a:cubicBezTo>
                  <a:cubicBezTo>
                    <a:pt x="414" y="1522"/>
                    <a:pt x="423" y="1522"/>
                    <a:pt x="426" y="1514"/>
                  </a:cubicBezTo>
                  <a:cubicBezTo>
                    <a:pt x="430" y="1506"/>
                    <a:pt x="400" y="1506"/>
                    <a:pt x="400" y="1506"/>
                  </a:cubicBezTo>
                  <a:cubicBezTo>
                    <a:pt x="412" y="1501"/>
                    <a:pt x="412" y="1501"/>
                    <a:pt x="412" y="1501"/>
                  </a:cubicBezTo>
                  <a:cubicBezTo>
                    <a:pt x="408" y="1488"/>
                    <a:pt x="408" y="1488"/>
                    <a:pt x="408" y="1488"/>
                  </a:cubicBezTo>
                  <a:cubicBezTo>
                    <a:pt x="424" y="1505"/>
                    <a:pt x="424" y="1505"/>
                    <a:pt x="424" y="1505"/>
                  </a:cubicBezTo>
                  <a:cubicBezTo>
                    <a:pt x="424" y="1505"/>
                    <a:pt x="438" y="1515"/>
                    <a:pt x="448" y="1503"/>
                  </a:cubicBezTo>
                  <a:cubicBezTo>
                    <a:pt x="458" y="1491"/>
                    <a:pt x="440" y="1465"/>
                    <a:pt x="441" y="1451"/>
                  </a:cubicBezTo>
                  <a:cubicBezTo>
                    <a:pt x="442" y="1438"/>
                    <a:pt x="485" y="1409"/>
                    <a:pt x="488" y="1400"/>
                  </a:cubicBezTo>
                  <a:cubicBezTo>
                    <a:pt x="492" y="1391"/>
                    <a:pt x="467" y="1391"/>
                    <a:pt x="467" y="1391"/>
                  </a:cubicBezTo>
                  <a:cubicBezTo>
                    <a:pt x="483" y="1389"/>
                    <a:pt x="483" y="1389"/>
                    <a:pt x="483" y="1389"/>
                  </a:cubicBezTo>
                  <a:cubicBezTo>
                    <a:pt x="483" y="1389"/>
                    <a:pt x="484" y="1369"/>
                    <a:pt x="476" y="1359"/>
                  </a:cubicBezTo>
                  <a:cubicBezTo>
                    <a:pt x="468" y="1349"/>
                    <a:pt x="456" y="1354"/>
                    <a:pt x="456" y="1354"/>
                  </a:cubicBezTo>
                  <a:cubicBezTo>
                    <a:pt x="444" y="1345"/>
                    <a:pt x="444" y="1345"/>
                    <a:pt x="444" y="1345"/>
                  </a:cubicBezTo>
                  <a:cubicBezTo>
                    <a:pt x="431" y="1345"/>
                    <a:pt x="431" y="1345"/>
                    <a:pt x="431" y="1345"/>
                  </a:cubicBezTo>
                  <a:cubicBezTo>
                    <a:pt x="431" y="1345"/>
                    <a:pt x="391" y="1328"/>
                    <a:pt x="379" y="1301"/>
                  </a:cubicBezTo>
                  <a:cubicBezTo>
                    <a:pt x="366" y="1274"/>
                    <a:pt x="386" y="1269"/>
                    <a:pt x="386" y="1269"/>
                  </a:cubicBezTo>
                  <a:cubicBezTo>
                    <a:pt x="392" y="1252"/>
                    <a:pt x="392" y="1252"/>
                    <a:pt x="392" y="1252"/>
                  </a:cubicBezTo>
                  <a:cubicBezTo>
                    <a:pt x="401" y="1252"/>
                    <a:pt x="401" y="1252"/>
                    <a:pt x="401" y="1252"/>
                  </a:cubicBezTo>
                  <a:cubicBezTo>
                    <a:pt x="407" y="1240"/>
                    <a:pt x="407" y="1240"/>
                    <a:pt x="407" y="1240"/>
                  </a:cubicBezTo>
                  <a:cubicBezTo>
                    <a:pt x="443" y="1239"/>
                    <a:pt x="443" y="1239"/>
                    <a:pt x="443" y="1239"/>
                  </a:cubicBezTo>
                  <a:cubicBezTo>
                    <a:pt x="435" y="1232"/>
                    <a:pt x="435" y="1232"/>
                    <a:pt x="435" y="1232"/>
                  </a:cubicBezTo>
                  <a:cubicBezTo>
                    <a:pt x="434" y="1218"/>
                    <a:pt x="434" y="1218"/>
                    <a:pt x="434" y="1218"/>
                  </a:cubicBezTo>
                  <a:cubicBezTo>
                    <a:pt x="443" y="1217"/>
                    <a:pt x="443" y="1217"/>
                    <a:pt x="443" y="1217"/>
                  </a:cubicBezTo>
                  <a:cubicBezTo>
                    <a:pt x="443" y="1217"/>
                    <a:pt x="448" y="1198"/>
                    <a:pt x="440" y="1191"/>
                  </a:cubicBezTo>
                  <a:cubicBezTo>
                    <a:pt x="432" y="1184"/>
                    <a:pt x="423" y="1168"/>
                    <a:pt x="430" y="1152"/>
                  </a:cubicBezTo>
                  <a:cubicBezTo>
                    <a:pt x="436" y="1137"/>
                    <a:pt x="456" y="1137"/>
                    <a:pt x="456" y="1137"/>
                  </a:cubicBezTo>
                  <a:cubicBezTo>
                    <a:pt x="456" y="1130"/>
                    <a:pt x="456" y="1130"/>
                    <a:pt x="456" y="1130"/>
                  </a:cubicBezTo>
                  <a:cubicBezTo>
                    <a:pt x="456" y="1130"/>
                    <a:pt x="439" y="1130"/>
                    <a:pt x="431" y="1125"/>
                  </a:cubicBezTo>
                  <a:cubicBezTo>
                    <a:pt x="423" y="1121"/>
                    <a:pt x="432" y="1112"/>
                    <a:pt x="440" y="1111"/>
                  </a:cubicBezTo>
                  <a:cubicBezTo>
                    <a:pt x="448" y="1110"/>
                    <a:pt x="462" y="1127"/>
                    <a:pt x="469" y="1127"/>
                  </a:cubicBezTo>
                  <a:cubicBezTo>
                    <a:pt x="476" y="1127"/>
                    <a:pt x="485" y="1123"/>
                    <a:pt x="486" y="1113"/>
                  </a:cubicBezTo>
                  <a:cubicBezTo>
                    <a:pt x="487" y="1103"/>
                    <a:pt x="474" y="1080"/>
                    <a:pt x="461" y="1085"/>
                  </a:cubicBezTo>
                  <a:cubicBezTo>
                    <a:pt x="449" y="1089"/>
                    <a:pt x="468" y="1099"/>
                    <a:pt x="456" y="1105"/>
                  </a:cubicBezTo>
                  <a:cubicBezTo>
                    <a:pt x="443" y="1111"/>
                    <a:pt x="431" y="1094"/>
                    <a:pt x="431" y="1094"/>
                  </a:cubicBezTo>
                  <a:cubicBezTo>
                    <a:pt x="431" y="1094"/>
                    <a:pt x="407" y="1096"/>
                    <a:pt x="404" y="1089"/>
                  </a:cubicBezTo>
                  <a:cubicBezTo>
                    <a:pt x="400" y="1083"/>
                    <a:pt x="404" y="1055"/>
                    <a:pt x="404" y="1052"/>
                  </a:cubicBezTo>
                  <a:cubicBezTo>
                    <a:pt x="404" y="1049"/>
                    <a:pt x="387" y="1032"/>
                    <a:pt x="391" y="1017"/>
                  </a:cubicBezTo>
                  <a:cubicBezTo>
                    <a:pt x="396" y="1003"/>
                    <a:pt x="409" y="1019"/>
                    <a:pt x="424" y="1023"/>
                  </a:cubicBezTo>
                  <a:cubicBezTo>
                    <a:pt x="439" y="1026"/>
                    <a:pt x="456" y="1039"/>
                    <a:pt x="465" y="1039"/>
                  </a:cubicBezTo>
                  <a:cubicBezTo>
                    <a:pt x="474" y="1039"/>
                    <a:pt x="507" y="1021"/>
                    <a:pt x="515" y="1015"/>
                  </a:cubicBezTo>
                  <a:cubicBezTo>
                    <a:pt x="523" y="1009"/>
                    <a:pt x="490" y="991"/>
                    <a:pt x="490" y="991"/>
                  </a:cubicBezTo>
                  <a:cubicBezTo>
                    <a:pt x="489" y="975"/>
                    <a:pt x="489" y="975"/>
                    <a:pt x="489" y="975"/>
                  </a:cubicBezTo>
                  <a:cubicBezTo>
                    <a:pt x="489" y="975"/>
                    <a:pt x="498" y="959"/>
                    <a:pt x="501" y="948"/>
                  </a:cubicBezTo>
                  <a:cubicBezTo>
                    <a:pt x="503" y="938"/>
                    <a:pt x="480" y="938"/>
                    <a:pt x="480" y="938"/>
                  </a:cubicBezTo>
                  <a:cubicBezTo>
                    <a:pt x="478" y="924"/>
                    <a:pt x="478" y="924"/>
                    <a:pt x="478" y="924"/>
                  </a:cubicBezTo>
                  <a:cubicBezTo>
                    <a:pt x="478" y="924"/>
                    <a:pt x="470" y="915"/>
                    <a:pt x="477" y="907"/>
                  </a:cubicBezTo>
                  <a:cubicBezTo>
                    <a:pt x="484" y="899"/>
                    <a:pt x="494" y="934"/>
                    <a:pt x="494" y="934"/>
                  </a:cubicBezTo>
                  <a:cubicBezTo>
                    <a:pt x="502" y="933"/>
                    <a:pt x="502" y="933"/>
                    <a:pt x="502" y="933"/>
                  </a:cubicBezTo>
                  <a:cubicBezTo>
                    <a:pt x="497" y="919"/>
                    <a:pt x="497" y="919"/>
                    <a:pt x="497" y="919"/>
                  </a:cubicBezTo>
                  <a:cubicBezTo>
                    <a:pt x="551" y="926"/>
                    <a:pt x="551" y="926"/>
                    <a:pt x="551" y="926"/>
                  </a:cubicBezTo>
                  <a:cubicBezTo>
                    <a:pt x="554" y="920"/>
                    <a:pt x="554" y="920"/>
                    <a:pt x="554" y="920"/>
                  </a:cubicBezTo>
                  <a:cubicBezTo>
                    <a:pt x="554" y="920"/>
                    <a:pt x="567" y="912"/>
                    <a:pt x="595" y="909"/>
                  </a:cubicBezTo>
                  <a:cubicBezTo>
                    <a:pt x="624" y="906"/>
                    <a:pt x="676" y="881"/>
                    <a:pt x="676" y="881"/>
                  </a:cubicBezTo>
                  <a:cubicBezTo>
                    <a:pt x="673" y="855"/>
                    <a:pt x="673" y="855"/>
                    <a:pt x="673" y="855"/>
                  </a:cubicBezTo>
                  <a:cubicBezTo>
                    <a:pt x="688" y="847"/>
                    <a:pt x="688" y="847"/>
                    <a:pt x="688" y="847"/>
                  </a:cubicBezTo>
                  <a:cubicBezTo>
                    <a:pt x="696" y="814"/>
                    <a:pt x="696" y="814"/>
                    <a:pt x="696" y="814"/>
                  </a:cubicBezTo>
                  <a:cubicBezTo>
                    <a:pt x="689" y="797"/>
                    <a:pt x="689" y="797"/>
                    <a:pt x="689" y="797"/>
                  </a:cubicBezTo>
                  <a:cubicBezTo>
                    <a:pt x="689" y="779"/>
                    <a:pt x="689" y="779"/>
                    <a:pt x="689" y="779"/>
                  </a:cubicBezTo>
                  <a:cubicBezTo>
                    <a:pt x="689" y="779"/>
                    <a:pt x="678" y="770"/>
                    <a:pt x="667" y="766"/>
                  </a:cubicBezTo>
                  <a:cubicBezTo>
                    <a:pt x="661" y="764"/>
                    <a:pt x="654" y="769"/>
                    <a:pt x="649" y="765"/>
                  </a:cubicBezTo>
                  <a:cubicBezTo>
                    <a:pt x="641" y="759"/>
                    <a:pt x="655" y="753"/>
                    <a:pt x="658" y="748"/>
                  </a:cubicBezTo>
                  <a:cubicBezTo>
                    <a:pt x="662" y="741"/>
                    <a:pt x="657" y="735"/>
                    <a:pt x="657" y="727"/>
                  </a:cubicBezTo>
                  <a:cubicBezTo>
                    <a:pt x="657" y="712"/>
                    <a:pt x="624" y="707"/>
                    <a:pt x="601" y="696"/>
                  </a:cubicBezTo>
                  <a:cubicBezTo>
                    <a:pt x="578" y="685"/>
                    <a:pt x="578" y="674"/>
                    <a:pt x="588" y="660"/>
                  </a:cubicBezTo>
                  <a:cubicBezTo>
                    <a:pt x="589" y="659"/>
                    <a:pt x="589" y="658"/>
                    <a:pt x="590" y="658"/>
                  </a:cubicBezTo>
                  <a:cubicBezTo>
                    <a:pt x="570" y="633"/>
                    <a:pt x="570" y="633"/>
                    <a:pt x="570" y="633"/>
                  </a:cubicBezTo>
                  <a:cubicBezTo>
                    <a:pt x="570" y="601"/>
                    <a:pt x="570" y="601"/>
                    <a:pt x="570" y="601"/>
                  </a:cubicBezTo>
                  <a:cubicBezTo>
                    <a:pt x="570" y="601"/>
                    <a:pt x="593" y="600"/>
                    <a:pt x="594" y="595"/>
                  </a:cubicBezTo>
                  <a:cubicBezTo>
                    <a:pt x="595" y="590"/>
                    <a:pt x="575" y="567"/>
                    <a:pt x="575" y="567"/>
                  </a:cubicBezTo>
                  <a:cubicBezTo>
                    <a:pt x="582" y="557"/>
                    <a:pt x="582" y="557"/>
                    <a:pt x="582" y="557"/>
                  </a:cubicBezTo>
                  <a:cubicBezTo>
                    <a:pt x="582" y="557"/>
                    <a:pt x="569" y="545"/>
                    <a:pt x="568" y="536"/>
                  </a:cubicBezTo>
                  <a:cubicBezTo>
                    <a:pt x="567" y="527"/>
                    <a:pt x="586" y="528"/>
                    <a:pt x="586" y="528"/>
                  </a:cubicBezTo>
                  <a:cubicBezTo>
                    <a:pt x="569" y="518"/>
                    <a:pt x="569" y="518"/>
                    <a:pt x="569" y="518"/>
                  </a:cubicBezTo>
                  <a:cubicBezTo>
                    <a:pt x="569" y="491"/>
                    <a:pt x="569" y="491"/>
                    <a:pt x="569" y="491"/>
                  </a:cubicBezTo>
                  <a:cubicBezTo>
                    <a:pt x="587" y="484"/>
                    <a:pt x="587" y="484"/>
                    <a:pt x="587" y="484"/>
                  </a:cubicBezTo>
                  <a:cubicBezTo>
                    <a:pt x="587" y="484"/>
                    <a:pt x="566" y="471"/>
                    <a:pt x="566" y="467"/>
                  </a:cubicBezTo>
                  <a:cubicBezTo>
                    <a:pt x="566" y="463"/>
                    <a:pt x="580" y="452"/>
                    <a:pt x="580" y="452"/>
                  </a:cubicBezTo>
                  <a:cubicBezTo>
                    <a:pt x="580" y="452"/>
                    <a:pt x="584" y="435"/>
                    <a:pt x="584" y="429"/>
                  </a:cubicBezTo>
                  <a:cubicBezTo>
                    <a:pt x="584" y="423"/>
                    <a:pt x="599" y="424"/>
                    <a:pt x="604" y="419"/>
                  </a:cubicBezTo>
                  <a:cubicBezTo>
                    <a:pt x="609" y="414"/>
                    <a:pt x="612" y="399"/>
                    <a:pt x="612" y="396"/>
                  </a:cubicBezTo>
                  <a:cubicBezTo>
                    <a:pt x="612" y="393"/>
                    <a:pt x="621" y="388"/>
                    <a:pt x="626" y="383"/>
                  </a:cubicBezTo>
                  <a:cubicBezTo>
                    <a:pt x="631" y="378"/>
                    <a:pt x="634" y="355"/>
                    <a:pt x="634" y="355"/>
                  </a:cubicBezTo>
                  <a:close/>
                  <a:moveTo>
                    <a:pt x="619" y="681"/>
                  </a:moveTo>
                  <a:cubicBezTo>
                    <a:pt x="624" y="681"/>
                    <a:pt x="624" y="681"/>
                    <a:pt x="624" y="681"/>
                  </a:cubicBezTo>
                  <a:cubicBezTo>
                    <a:pt x="617" y="677"/>
                    <a:pt x="617" y="677"/>
                    <a:pt x="617" y="677"/>
                  </a:cubicBezTo>
                  <a:cubicBezTo>
                    <a:pt x="617" y="677"/>
                    <a:pt x="617" y="677"/>
                    <a:pt x="617" y="677"/>
                  </a:cubicBezTo>
                  <a:cubicBezTo>
                    <a:pt x="618" y="679"/>
                    <a:pt x="619" y="681"/>
                    <a:pt x="619" y="681"/>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62" name="Freeform 23"/>
            <p:cNvSpPr>
              <a:spLocks noEditPoints="1"/>
            </p:cNvSpPr>
            <p:nvPr/>
          </p:nvSpPr>
          <p:spPr bwMode="gray">
            <a:xfrm>
              <a:off x="2085975" y="3927475"/>
              <a:ext cx="155575" cy="198438"/>
            </a:xfrm>
            <a:custGeom>
              <a:avLst/>
              <a:gdLst>
                <a:gd name="T0" fmla="*/ 42 w 280"/>
                <a:gd name="T1" fmla="*/ 249 h 353"/>
                <a:gd name="T2" fmla="*/ 49 w 280"/>
                <a:gd name="T3" fmla="*/ 229 h 353"/>
                <a:gd name="T4" fmla="*/ 42 w 280"/>
                <a:gd name="T5" fmla="*/ 249 h 353"/>
                <a:gd name="T6" fmla="*/ 277 w 280"/>
                <a:gd name="T7" fmla="*/ 114 h 353"/>
                <a:gd name="T8" fmla="*/ 261 w 280"/>
                <a:gd name="T9" fmla="*/ 102 h 353"/>
                <a:gd name="T10" fmla="*/ 271 w 280"/>
                <a:gd name="T11" fmla="*/ 84 h 353"/>
                <a:gd name="T12" fmla="*/ 252 w 280"/>
                <a:gd name="T13" fmla="*/ 83 h 353"/>
                <a:gd name="T14" fmla="*/ 230 w 280"/>
                <a:gd name="T15" fmla="*/ 61 h 353"/>
                <a:gd name="T16" fmla="*/ 218 w 280"/>
                <a:gd name="T17" fmla="*/ 73 h 353"/>
                <a:gd name="T18" fmla="*/ 195 w 280"/>
                <a:gd name="T19" fmla="*/ 65 h 353"/>
                <a:gd name="T20" fmla="*/ 175 w 280"/>
                <a:gd name="T21" fmla="*/ 64 h 353"/>
                <a:gd name="T22" fmla="*/ 163 w 280"/>
                <a:gd name="T23" fmla="*/ 43 h 353"/>
                <a:gd name="T24" fmla="*/ 140 w 280"/>
                <a:gd name="T25" fmla="*/ 40 h 353"/>
                <a:gd name="T26" fmla="*/ 121 w 280"/>
                <a:gd name="T27" fmla="*/ 22 h 353"/>
                <a:gd name="T28" fmla="*/ 98 w 280"/>
                <a:gd name="T29" fmla="*/ 0 h 353"/>
                <a:gd name="T30" fmla="*/ 101 w 280"/>
                <a:gd name="T31" fmla="*/ 23 h 353"/>
                <a:gd name="T32" fmla="*/ 68 w 280"/>
                <a:gd name="T33" fmla="*/ 37 h 353"/>
                <a:gd name="T34" fmla="*/ 66 w 280"/>
                <a:gd name="T35" fmla="*/ 27 h 353"/>
                <a:gd name="T36" fmla="*/ 44 w 280"/>
                <a:gd name="T37" fmla="*/ 46 h 353"/>
                <a:gd name="T38" fmla="*/ 49 w 280"/>
                <a:gd name="T39" fmla="*/ 77 h 353"/>
                <a:gd name="T40" fmla="*/ 31 w 280"/>
                <a:gd name="T41" fmla="*/ 97 h 353"/>
                <a:gd name="T42" fmla="*/ 39 w 280"/>
                <a:gd name="T43" fmla="*/ 119 h 353"/>
                <a:gd name="T44" fmla="*/ 27 w 280"/>
                <a:gd name="T45" fmla="*/ 119 h 353"/>
                <a:gd name="T46" fmla="*/ 26 w 280"/>
                <a:gd name="T47" fmla="*/ 130 h 353"/>
                <a:gd name="T48" fmla="*/ 3 w 280"/>
                <a:gd name="T49" fmla="*/ 144 h 353"/>
                <a:gd name="T50" fmla="*/ 19 w 280"/>
                <a:gd name="T51" fmla="*/ 154 h 353"/>
                <a:gd name="T52" fmla="*/ 8 w 280"/>
                <a:gd name="T53" fmla="*/ 173 h 353"/>
                <a:gd name="T54" fmla="*/ 18 w 280"/>
                <a:gd name="T55" fmla="*/ 187 h 353"/>
                <a:gd name="T56" fmla="*/ 3 w 280"/>
                <a:gd name="T57" fmla="*/ 201 h 353"/>
                <a:gd name="T58" fmla="*/ 12 w 280"/>
                <a:gd name="T59" fmla="*/ 207 h 353"/>
                <a:gd name="T60" fmla="*/ 22 w 280"/>
                <a:gd name="T61" fmla="*/ 228 h 353"/>
                <a:gd name="T62" fmla="*/ 48 w 280"/>
                <a:gd name="T63" fmla="*/ 214 h 353"/>
                <a:gd name="T64" fmla="*/ 65 w 280"/>
                <a:gd name="T65" fmla="*/ 219 h 353"/>
                <a:gd name="T66" fmla="*/ 61 w 280"/>
                <a:gd name="T67" fmla="*/ 258 h 353"/>
                <a:gd name="T68" fmla="*/ 36 w 280"/>
                <a:gd name="T69" fmla="*/ 271 h 353"/>
                <a:gd name="T70" fmla="*/ 51 w 280"/>
                <a:gd name="T71" fmla="*/ 286 h 353"/>
                <a:gd name="T72" fmla="*/ 30 w 280"/>
                <a:gd name="T73" fmla="*/ 307 h 353"/>
                <a:gd name="T74" fmla="*/ 40 w 280"/>
                <a:gd name="T75" fmla="*/ 315 h 353"/>
                <a:gd name="T76" fmla="*/ 33 w 280"/>
                <a:gd name="T77" fmla="*/ 329 h 353"/>
                <a:gd name="T78" fmla="*/ 53 w 280"/>
                <a:gd name="T79" fmla="*/ 315 h 353"/>
                <a:gd name="T80" fmla="*/ 62 w 280"/>
                <a:gd name="T81" fmla="*/ 326 h 353"/>
                <a:gd name="T82" fmla="*/ 81 w 280"/>
                <a:gd name="T83" fmla="*/ 324 h 353"/>
                <a:gd name="T84" fmla="*/ 96 w 280"/>
                <a:gd name="T85" fmla="*/ 353 h 353"/>
                <a:gd name="T86" fmla="*/ 108 w 280"/>
                <a:gd name="T87" fmla="*/ 339 h 353"/>
                <a:gd name="T88" fmla="*/ 121 w 280"/>
                <a:gd name="T89" fmla="*/ 335 h 353"/>
                <a:gd name="T90" fmla="*/ 125 w 280"/>
                <a:gd name="T91" fmla="*/ 299 h 353"/>
                <a:gd name="T92" fmla="*/ 135 w 280"/>
                <a:gd name="T93" fmla="*/ 284 h 353"/>
                <a:gd name="T94" fmla="*/ 132 w 280"/>
                <a:gd name="T95" fmla="*/ 272 h 353"/>
                <a:gd name="T96" fmla="*/ 140 w 280"/>
                <a:gd name="T97" fmla="*/ 269 h 353"/>
                <a:gd name="T98" fmla="*/ 154 w 280"/>
                <a:gd name="T99" fmla="*/ 251 h 353"/>
                <a:gd name="T100" fmla="*/ 211 w 280"/>
                <a:gd name="T101" fmla="*/ 226 h 353"/>
                <a:gd name="T102" fmla="*/ 262 w 280"/>
                <a:gd name="T103" fmla="*/ 170 h 353"/>
                <a:gd name="T104" fmla="*/ 270 w 280"/>
                <a:gd name="T105" fmla="*/ 141 h 353"/>
                <a:gd name="T106" fmla="*/ 280 w 280"/>
                <a:gd name="T107" fmla="*/ 136 h 353"/>
                <a:gd name="T108" fmla="*/ 277 w 280"/>
                <a:gd name="T109" fmla="*/ 114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0" h="353">
                  <a:moveTo>
                    <a:pt x="42" y="249"/>
                  </a:moveTo>
                  <a:cubicBezTo>
                    <a:pt x="57" y="245"/>
                    <a:pt x="59" y="225"/>
                    <a:pt x="49" y="229"/>
                  </a:cubicBezTo>
                  <a:cubicBezTo>
                    <a:pt x="40" y="233"/>
                    <a:pt x="34" y="250"/>
                    <a:pt x="42" y="249"/>
                  </a:cubicBezTo>
                  <a:close/>
                  <a:moveTo>
                    <a:pt x="277" y="114"/>
                  </a:moveTo>
                  <a:cubicBezTo>
                    <a:pt x="261" y="102"/>
                    <a:pt x="261" y="102"/>
                    <a:pt x="261" y="102"/>
                  </a:cubicBezTo>
                  <a:cubicBezTo>
                    <a:pt x="261" y="102"/>
                    <a:pt x="272" y="102"/>
                    <a:pt x="271" y="84"/>
                  </a:cubicBezTo>
                  <a:cubicBezTo>
                    <a:pt x="265" y="83"/>
                    <a:pt x="258" y="83"/>
                    <a:pt x="252" y="83"/>
                  </a:cubicBezTo>
                  <a:cubicBezTo>
                    <a:pt x="239" y="82"/>
                    <a:pt x="247" y="64"/>
                    <a:pt x="230" y="61"/>
                  </a:cubicBezTo>
                  <a:cubicBezTo>
                    <a:pt x="213" y="58"/>
                    <a:pt x="225" y="71"/>
                    <a:pt x="218" y="73"/>
                  </a:cubicBezTo>
                  <a:cubicBezTo>
                    <a:pt x="211" y="75"/>
                    <a:pt x="195" y="65"/>
                    <a:pt x="195" y="65"/>
                  </a:cubicBezTo>
                  <a:cubicBezTo>
                    <a:pt x="195" y="65"/>
                    <a:pt x="184" y="70"/>
                    <a:pt x="175" y="64"/>
                  </a:cubicBezTo>
                  <a:cubicBezTo>
                    <a:pt x="166" y="58"/>
                    <a:pt x="173" y="51"/>
                    <a:pt x="163" y="43"/>
                  </a:cubicBezTo>
                  <a:cubicBezTo>
                    <a:pt x="153" y="35"/>
                    <a:pt x="140" y="40"/>
                    <a:pt x="140" y="40"/>
                  </a:cubicBezTo>
                  <a:cubicBezTo>
                    <a:pt x="140" y="40"/>
                    <a:pt x="132" y="28"/>
                    <a:pt x="121" y="22"/>
                  </a:cubicBezTo>
                  <a:cubicBezTo>
                    <a:pt x="113" y="19"/>
                    <a:pt x="103" y="6"/>
                    <a:pt x="98" y="0"/>
                  </a:cubicBezTo>
                  <a:cubicBezTo>
                    <a:pt x="99" y="10"/>
                    <a:pt x="105" y="14"/>
                    <a:pt x="101" y="23"/>
                  </a:cubicBezTo>
                  <a:cubicBezTo>
                    <a:pt x="98" y="32"/>
                    <a:pt x="68" y="37"/>
                    <a:pt x="68" y="37"/>
                  </a:cubicBezTo>
                  <a:cubicBezTo>
                    <a:pt x="66" y="27"/>
                    <a:pt x="66" y="27"/>
                    <a:pt x="66" y="27"/>
                  </a:cubicBezTo>
                  <a:cubicBezTo>
                    <a:pt x="66" y="27"/>
                    <a:pt x="46" y="38"/>
                    <a:pt x="44" y="46"/>
                  </a:cubicBezTo>
                  <a:cubicBezTo>
                    <a:pt x="41" y="54"/>
                    <a:pt x="51" y="64"/>
                    <a:pt x="49" y="77"/>
                  </a:cubicBezTo>
                  <a:cubicBezTo>
                    <a:pt x="48" y="90"/>
                    <a:pt x="35" y="89"/>
                    <a:pt x="31" y="97"/>
                  </a:cubicBezTo>
                  <a:cubicBezTo>
                    <a:pt x="26" y="105"/>
                    <a:pt x="39" y="119"/>
                    <a:pt x="39" y="119"/>
                  </a:cubicBezTo>
                  <a:cubicBezTo>
                    <a:pt x="27" y="119"/>
                    <a:pt x="27" y="119"/>
                    <a:pt x="27" y="119"/>
                  </a:cubicBezTo>
                  <a:cubicBezTo>
                    <a:pt x="26" y="130"/>
                    <a:pt x="26" y="130"/>
                    <a:pt x="26" y="130"/>
                  </a:cubicBezTo>
                  <a:cubicBezTo>
                    <a:pt x="3" y="144"/>
                    <a:pt x="3" y="144"/>
                    <a:pt x="3" y="144"/>
                  </a:cubicBezTo>
                  <a:cubicBezTo>
                    <a:pt x="19" y="154"/>
                    <a:pt x="19" y="154"/>
                    <a:pt x="19" y="154"/>
                  </a:cubicBezTo>
                  <a:cubicBezTo>
                    <a:pt x="8" y="173"/>
                    <a:pt x="8" y="173"/>
                    <a:pt x="8" y="173"/>
                  </a:cubicBezTo>
                  <a:cubicBezTo>
                    <a:pt x="8" y="173"/>
                    <a:pt x="19" y="176"/>
                    <a:pt x="18" y="187"/>
                  </a:cubicBezTo>
                  <a:cubicBezTo>
                    <a:pt x="16" y="198"/>
                    <a:pt x="3" y="201"/>
                    <a:pt x="3" y="201"/>
                  </a:cubicBezTo>
                  <a:cubicBezTo>
                    <a:pt x="12" y="207"/>
                    <a:pt x="12" y="207"/>
                    <a:pt x="12" y="207"/>
                  </a:cubicBezTo>
                  <a:cubicBezTo>
                    <a:pt x="12" y="207"/>
                    <a:pt x="0" y="221"/>
                    <a:pt x="22" y="228"/>
                  </a:cubicBezTo>
                  <a:cubicBezTo>
                    <a:pt x="45" y="235"/>
                    <a:pt x="48" y="214"/>
                    <a:pt x="48" y="214"/>
                  </a:cubicBezTo>
                  <a:cubicBezTo>
                    <a:pt x="65" y="219"/>
                    <a:pt x="65" y="219"/>
                    <a:pt x="65" y="219"/>
                  </a:cubicBezTo>
                  <a:cubicBezTo>
                    <a:pt x="73" y="227"/>
                    <a:pt x="64" y="246"/>
                    <a:pt x="61" y="258"/>
                  </a:cubicBezTo>
                  <a:cubicBezTo>
                    <a:pt x="59" y="270"/>
                    <a:pt x="36" y="271"/>
                    <a:pt x="36" y="271"/>
                  </a:cubicBezTo>
                  <a:cubicBezTo>
                    <a:pt x="36" y="271"/>
                    <a:pt x="60" y="277"/>
                    <a:pt x="51" y="286"/>
                  </a:cubicBezTo>
                  <a:cubicBezTo>
                    <a:pt x="43" y="295"/>
                    <a:pt x="30" y="307"/>
                    <a:pt x="30" y="307"/>
                  </a:cubicBezTo>
                  <a:cubicBezTo>
                    <a:pt x="40" y="315"/>
                    <a:pt x="40" y="315"/>
                    <a:pt x="40" y="315"/>
                  </a:cubicBezTo>
                  <a:cubicBezTo>
                    <a:pt x="40" y="315"/>
                    <a:pt x="24" y="324"/>
                    <a:pt x="33" y="329"/>
                  </a:cubicBezTo>
                  <a:cubicBezTo>
                    <a:pt x="43" y="333"/>
                    <a:pt x="53" y="315"/>
                    <a:pt x="53" y="315"/>
                  </a:cubicBezTo>
                  <a:cubicBezTo>
                    <a:pt x="62" y="326"/>
                    <a:pt x="62" y="326"/>
                    <a:pt x="62" y="326"/>
                  </a:cubicBezTo>
                  <a:cubicBezTo>
                    <a:pt x="62" y="326"/>
                    <a:pt x="75" y="320"/>
                    <a:pt x="81" y="324"/>
                  </a:cubicBezTo>
                  <a:cubicBezTo>
                    <a:pt x="86" y="329"/>
                    <a:pt x="82" y="353"/>
                    <a:pt x="96" y="353"/>
                  </a:cubicBezTo>
                  <a:cubicBezTo>
                    <a:pt x="109" y="353"/>
                    <a:pt x="104" y="342"/>
                    <a:pt x="108" y="339"/>
                  </a:cubicBezTo>
                  <a:cubicBezTo>
                    <a:pt x="112" y="337"/>
                    <a:pt x="121" y="335"/>
                    <a:pt x="121" y="335"/>
                  </a:cubicBezTo>
                  <a:cubicBezTo>
                    <a:pt x="121" y="335"/>
                    <a:pt x="124" y="308"/>
                    <a:pt x="125" y="299"/>
                  </a:cubicBezTo>
                  <a:cubicBezTo>
                    <a:pt x="127" y="289"/>
                    <a:pt x="135" y="284"/>
                    <a:pt x="135" y="284"/>
                  </a:cubicBezTo>
                  <a:cubicBezTo>
                    <a:pt x="132" y="272"/>
                    <a:pt x="132" y="272"/>
                    <a:pt x="132" y="272"/>
                  </a:cubicBezTo>
                  <a:cubicBezTo>
                    <a:pt x="140" y="269"/>
                    <a:pt x="140" y="269"/>
                    <a:pt x="140" y="269"/>
                  </a:cubicBezTo>
                  <a:cubicBezTo>
                    <a:pt x="140" y="269"/>
                    <a:pt x="140" y="262"/>
                    <a:pt x="154" y="251"/>
                  </a:cubicBezTo>
                  <a:cubicBezTo>
                    <a:pt x="167" y="240"/>
                    <a:pt x="188" y="240"/>
                    <a:pt x="211" y="226"/>
                  </a:cubicBezTo>
                  <a:cubicBezTo>
                    <a:pt x="234" y="211"/>
                    <a:pt x="262" y="170"/>
                    <a:pt x="262" y="170"/>
                  </a:cubicBezTo>
                  <a:cubicBezTo>
                    <a:pt x="270" y="141"/>
                    <a:pt x="270" y="141"/>
                    <a:pt x="270" y="141"/>
                  </a:cubicBezTo>
                  <a:cubicBezTo>
                    <a:pt x="280" y="136"/>
                    <a:pt x="280" y="136"/>
                    <a:pt x="280" y="136"/>
                  </a:cubicBezTo>
                  <a:lnTo>
                    <a:pt x="277" y="114"/>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63" name="Freeform 24"/>
            <p:cNvSpPr>
              <a:spLocks/>
            </p:cNvSpPr>
            <p:nvPr/>
          </p:nvSpPr>
          <p:spPr bwMode="gray">
            <a:xfrm>
              <a:off x="6350000" y="3681413"/>
              <a:ext cx="76200" cy="128588"/>
            </a:xfrm>
            <a:custGeom>
              <a:avLst/>
              <a:gdLst>
                <a:gd name="T0" fmla="*/ 19 w 136"/>
                <a:gd name="T1" fmla="*/ 9 h 228"/>
                <a:gd name="T2" fmla="*/ 62 w 136"/>
                <a:gd name="T3" fmla="*/ 29 h 228"/>
                <a:gd name="T4" fmla="*/ 91 w 136"/>
                <a:gd name="T5" fmla="*/ 65 h 228"/>
                <a:gd name="T6" fmla="*/ 87 w 136"/>
                <a:gd name="T7" fmla="*/ 86 h 228"/>
                <a:gd name="T8" fmla="*/ 104 w 136"/>
                <a:gd name="T9" fmla="*/ 82 h 228"/>
                <a:gd name="T10" fmla="*/ 105 w 136"/>
                <a:gd name="T11" fmla="*/ 120 h 228"/>
                <a:gd name="T12" fmla="*/ 105 w 136"/>
                <a:gd name="T13" fmla="*/ 190 h 228"/>
                <a:gd name="T14" fmla="*/ 19 w 136"/>
                <a:gd name="T15" fmla="*/ 194 h 228"/>
                <a:gd name="T16" fmla="*/ 10 w 136"/>
                <a:gd name="T17" fmla="*/ 99 h 228"/>
                <a:gd name="T18" fmla="*/ 25 w 136"/>
                <a:gd name="T19" fmla="*/ 59 h 228"/>
                <a:gd name="T20" fmla="*/ 5 w 136"/>
                <a:gd name="T21" fmla="*/ 32 h 228"/>
                <a:gd name="T22" fmla="*/ 18 w 136"/>
                <a:gd name="T23" fmla="*/ 32 h 228"/>
                <a:gd name="T24" fmla="*/ 19 w 136"/>
                <a:gd name="T25" fmla="*/ 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6" h="228">
                  <a:moveTo>
                    <a:pt x="19" y="9"/>
                  </a:moveTo>
                  <a:cubicBezTo>
                    <a:pt x="35" y="0"/>
                    <a:pt x="46" y="7"/>
                    <a:pt x="62" y="29"/>
                  </a:cubicBezTo>
                  <a:cubicBezTo>
                    <a:pt x="78" y="50"/>
                    <a:pt x="91" y="65"/>
                    <a:pt x="91" y="65"/>
                  </a:cubicBezTo>
                  <a:cubicBezTo>
                    <a:pt x="87" y="86"/>
                    <a:pt x="87" y="86"/>
                    <a:pt x="87" y="86"/>
                  </a:cubicBezTo>
                  <a:cubicBezTo>
                    <a:pt x="104" y="82"/>
                    <a:pt x="104" y="82"/>
                    <a:pt x="104" y="82"/>
                  </a:cubicBezTo>
                  <a:cubicBezTo>
                    <a:pt x="105" y="120"/>
                    <a:pt x="105" y="120"/>
                    <a:pt x="105" y="120"/>
                  </a:cubicBezTo>
                  <a:cubicBezTo>
                    <a:pt x="105" y="120"/>
                    <a:pt x="136" y="176"/>
                    <a:pt x="105" y="190"/>
                  </a:cubicBezTo>
                  <a:cubicBezTo>
                    <a:pt x="75" y="204"/>
                    <a:pt x="37" y="228"/>
                    <a:pt x="19" y="194"/>
                  </a:cubicBezTo>
                  <a:cubicBezTo>
                    <a:pt x="1" y="160"/>
                    <a:pt x="0" y="106"/>
                    <a:pt x="10" y="99"/>
                  </a:cubicBezTo>
                  <a:cubicBezTo>
                    <a:pt x="21" y="91"/>
                    <a:pt x="25" y="59"/>
                    <a:pt x="25" y="59"/>
                  </a:cubicBezTo>
                  <a:cubicBezTo>
                    <a:pt x="5" y="32"/>
                    <a:pt x="5" y="32"/>
                    <a:pt x="5" y="32"/>
                  </a:cubicBezTo>
                  <a:cubicBezTo>
                    <a:pt x="18" y="32"/>
                    <a:pt x="18" y="32"/>
                    <a:pt x="18" y="32"/>
                  </a:cubicBezTo>
                  <a:lnTo>
                    <a:pt x="19" y="9"/>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64" name="Freeform 25"/>
            <p:cNvSpPr>
              <a:spLocks noEditPoints="1"/>
            </p:cNvSpPr>
            <p:nvPr/>
          </p:nvSpPr>
          <p:spPr bwMode="gray">
            <a:xfrm>
              <a:off x="7339013" y="3411538"/>
              <a:ext cx="273050" cy="449263"/>
            </a:xfrm>
            <a:custGeom>
              <a:avLst/>
              <a:gdLst>
                <a:gd name="T0" fmla="*/ 475 w 487"/>
                <a:gd name="T1" fmla="*/ 801 h 801"/>
                <a:gd name="T2" fmla="*/ 476 w 487"/>
                <a:gd name="T3" fmla="*/ 763 h 801"/>
                <a:gd name="T4" fmla="*/ 395 w 487"/>
                <a:gd name="T5" fmla="*/ 758 h 801"/>
                <a:gd name="T6" fmla="*/ 187 w 487"/>
                <a:gd name="T7" fmla="*/ 700 h 801"/>
                <a:gd name="T8" fmla="*/ 175 w 487"/>
                <a:gd name="T9" fmla="*/ 693 h 801"/>
                <a:gd name="T10" fmla="*/ 346 w 487"/>
                <a:gd name="T11" fmla="*/ 393 h 801"/>
                <a:gd name="T12" fmla="*/ 408 w 487"/>
                <a:gd name="T13" fmla="*/ 418 h 801"/>
                <a:gd name="T14" fmla="*/ 321 w 487"/>
                <a:gd name="T15" fmla="*/ 337 h 801"/>
                <a:gd name="T16" fmla="*/ 325 w 487"/>
                <a:gd name="T17" fmla="*/ 499 h 801"/>
                <a:gd name="T18" fmla="*/ 301 w 487"/>
                <a:gd name="T19" fmla="*/ 414 h 801"/>
                <a:gd name="T20" fmla="*/ 358 w 487"/>
                <a:gd name="T21" fmla="*/ 492 h 801"/>
                <a:gd name="T22" fmla="*/ 337 w 487"/>
                <a:gd name="T23" fmla="*/ 494 h 801"/>
                <a:gd name="T24" fmla="*/ 360 w 487"/>
                <a:gd name="T25" fmla="*/ 416 h 801"/>
                <a:gd name="T26" fmla="*/ 352 w 487"/>
                <a:gd name="T27" fmla="*/ 436 h 801"/>
                <a:gd name="T28" fmla="*/ 391 w 487"/>
                <a:gd name="T29" fmla="*/ 441 h 801"/>
                <a:gd name="T30" fmla="*/ 103 w 487"/>
                <a:gd name="T31" fmla="*/ 405 h 801"/>
                <a:gd name="T32" fmla="*/ 79 w 487"/>
                <a:gd name="T33" fmla="*/ 472 h 801"/>
                <a:gd name="T34" fmla="*/ 55 w 487"/>
                <a:gd name="T35" fmla="*/ 514 h 801"/>
                <a:gd name="T36" fmla="*/ 31 w 487"/>
                <a:gd name="T37" fmla="*/ 557 h 801"/>
                <a:gd name="T38" fmla="*/ 71 w 487"/>
                <a:gd name="T39" fmla="*/ 503 h 801"/>
                <a:gd name="T40" fmla="*/ 117 w 487"/>
                <a:gd name="T41" fmla="*/ 403 h 801"/>
                <a:gd name="T42" fmla="*/ 259 w 487"/>
                <a:gd name="T43" fmla="*/ 679 h 801"/>
                <a:gd name="T44" fmla="*/ 451 w 487"/>
                <a:gd name="T45" fmla="*/ 560 h 801"/>
                <a:gd name="T46" fmla="*/ 413 w 487"/>
                <a:gd name="T47" fmla="*/ 526 h 801"/>
                <a:gd name="T48" fmla="*/ 362 w 487"/>
                <a:gd name="T49" fmla="*/ 552 h 801"/>
                <a:gd name="T50" fmla="*/ 307 w 487"/>
                <a:gd name="T51" fmla="*/ 568 h 801"/>
                <a:gd name="T52" fmla="*/ 251 w 487"/>
                <a:gd name="T53" fmla="*/ 627 h 801"/>
                <a:gd name="T54" fmla="*/ 287 w 487"/>
                <a:gd name="T55" fmla="*/ 643 h 801"/>
                <a:gd name="T56" fmla="*/ 340 w 487"/>
                <a:gd name="T57" fmla="*/ 657 h 801"/>
                <a:gd name="T58" fmla="*/ 413 w 487"/>
                <a:gd name="T59" fmla="*/ 701 h 801"/>
                <a:gd name="T60" fmla="*/ 430 w 487"/>
                <a:gd name="T61" fmla="*/ 693 h 801"/>
                <a:gd name="T62" fmla="*/ 444 w 487"/>
                <a:gd name="T63" fmla="*/ 676 h 801"/>
                <a:gd name="T64" fmla="*/ 451 w 487"/>
                <a:gd name="T65" fmla="*/ 560 h 801"/>
                <a:gd name="T66" fmla="*/ 286 w 487"/>
                <a:gd name="T67" fmla="*/ 309 h 801"/>
                <a:gd name="T68" fmla="*/ 259 w 487"/>
                <a:gd name="T69" fmla="*/ 240 h 801"/>
                <a:gd name="T70" fmla="*/ 184 w 487"/>
                <a:gd name="T71" fmla="*/ 201 h 801"/>
                <a:gd name="T72" fmla="*/ 193 w 487"/>
                <a:gd name="T73" fmla="*/ 93 h 801"/>
                <a:gd name="T74" fmla="*/ 184 w 487"/>
                <a:gd name="T75" fmla="*/ 16 h 801"/>
                <a:gd name="T76" fmla="*/ 126 w 487"/>
                <a:gd name="T77" fmla="*/ 10 h 801"/>
                <a:gd name="T78" fmla="*/ 100 w 487"/>
                <a:gd name="T79" fmla="*/ 53 h 801"/>
                <a:gd name="T80" fmla="*/ 112 w 487"/>
                <a:gd name="T81" fmla="*/ 109 h 801"/>
                <a:gd name="T82" fmla="*/ 92 w 487"/>
                <a:gd name="T83" fmla="*/ 152 h 801"/>
                <a:gd name="T84" fmla="*/ 135 w 487"/>
                <a:gd name="T85" fmla="*/ 233 h 801"/>
                <a:gd name="T86" fmla="*/ 219 w 487"/>
                <a:gd name="T87" fmla="*/ 274 h 801"/>
                <a:gd name="T88" fmla="*/ 146 w 487"/>
                <a:gd name="T89" fmla="*/ 285 h 801"/>
                <a:gd name="T90" fmla="*/ 197 w 487"/>
                <a:gd name="T91" fmla="*/ 339 h 801"/>
                <a:gd name="T92" fmla="*/ 232 w 487"/>
                <a:gd name="T93" fmla="*/ 434 h 801"/>
                <a:gd name="T94" fmla="*/ 271 w 487"/>
                <a:gd name="T95" fmla="*/ 463 h 801"/>
                <a:gd name="T96" fmla="*/ 273 w 487"/>
                <a:gd name="T97" fmla="*/ 535 h 801"/>
                <a:gd name="T98" fmla="*/ 295 w 487"/>
                <a:gd name="T99" fmla="*/ 431 h 801"/>
                <a:gd name="T100" fmla="*/ 249 w 487"/>
                <a:gd name="T101" fmla="*/ 378 h 801"/>
                <a:gd name="T102" fmla="*/ 232 w 487"/>
                <a:gd name="T103" fmla="*/ 434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7" h="801">
                  <a:moveTo>
                    <a:pt x="476" y="763"/>
                  </a:moveTo>
                  <a:cubicBezTo>
                    <a:pt x="472" y="782"/>
                    <a:pt x="472" y="782"/>
                    <a:pt x="472" y="782"/>
                  </a:cubicBezTo>
                  <a:cubicBezTo>
                    <a:pt x="475" y="801"/>
                    <a:pt x="475" y="801"/>
                    <a:pt x="475" y="801"/>
                  </a:cubicBezTo>
                  <a:cubicBezTo>
                    <a:pt x="487" y="791"/>
                    <a:pt x="487" y="791"/>
                    <a:pt x="487" y="791"/>
                  </a:cubicBezTo>
                  <a:cubicBezTo>
                    <a:pt x="487" y="763"/>
                    <a:pt x="487" y="763"/>
                    <a:pt x="487" y="763"/>
                  </a:cubicBezTo>
                  <a:lnTo>
                    <a:pt x="476" y="763"/>
                  </a:lnTo>
                  <a:close/>
                  <a:moveTo>
                    <a:pt x="399" y="785"/>
                  </a:moveTo>
                  <a:cubicBezTo>
                    <a:pt x="410" y="763"/>
                    <a:pt x="410" y="763"/>
                    <a:pt x="410" y="763"/>
                  </a:cubicBezTo>
                  <a:cubicBezTo>
                    <a:pt x="395" y="758"/>
                    <a:pt x="395" y="758"/>
                    <a:pt x="395" y="758"/>
                  </a:cubicBezTo>
                  <a:lnTo>
                    <a:pt x="399" y="785"/>
                  </a:lnTo>
                  <a:close/>
                  <a:moveTo>
                    <a:pt x="175" y="693"/>
                  </a:moveTo>
                  <a:cubicBezTo>
                    <a:pt x="187" y="700"/>
                    <a:pt x="187" y="700"/>
                    <a:pt x="187" y="700"/>
                  </a:cubicBezTo>
                  <a:cubicBezTo>
                    <a:pt x="199" y="682"/>
                    <a:pt x="199" y="682"/>
                    <a:pt x="199" y="682"/>
                  </a:cubicBezTo>
                  <a:cubicBezTo>
                    <a:pt x="182" y="672"/>
                    <a:pt x="182" y="672"/>
                    <a:pt x="182" y="672"/>
                  </a:cubicBezTo>
                  <a:lnTo>
                    <a:pt x="175" y="693"/>
                  </a:lnTo>
                  <a:close/>
                  <a:moveTo>
                    <a:pt x="345" y="372"/>
                  </a:moveTo>
                  <a:cubicBezTo>
                    <a:pt x="370" y="385"/>
                    <a:pt x="370" y="385"/>
                    <a:pt x="370" y="385"/>
                  </a:cubicBezTo>
                  <a:cubicBezTo>
                    <a:pt x="370" y="401"/>
                    <a:pt x="346" y="393"/>
                    <a:pt x="346" y="393"/>
                  </a:cubicBezTo>
                  <a:cubicBezTo>
                    <a:pt x="389" y="427"/>
                    <a:pt x="389" y="427"/>
                    <a:pt x="389" y="427"/>
                  </a:cubicBezTo>
                  <a:cubicBezTo>
                    <a:pt x="391" y="413"/>
                    <a:pt x="391" y="413"/>
                    <a:pt x="391" y="413"/>
                  </a:cubicBezTo>
                  <a:cubicBezTo>
                    <a:pt x="408" y="418"/>
                    <a:pt x="408" y="418"/>
                    <a:pt x="408" y="418"/>
                  </a:cubicBezTo>
                  <a:cubicBezTo>
                    <a:pt x="394" y="395"/>
                    <a:pt x="394" y="395"/>
                    <a:pt x="394" y="395"/>
                  </a:cubicBezTo>
                  <a:cubicBezTo>
                    <a:pt x="394" y="395"/>
                    <a:pt x="391" y="370"/>
                    <a:pt x="379" y="357"/>
                  </a:cubicBezTo>
                  <a:cubicBezTo>
                    <a:pt x="367" y="344"/>
                    <a:pt x="328" y="321"/>
                    <a:pt x="321" y="337"/>
                  </a:cubicBezTo>
                  <a:cubicBezTo>
                    <a:pt x="312" y="357"/>
                    <a:pt x="345" y="372"/>
                    <a:pt x="345" y="372"/>
                  </a:cubicBezTo>
                  <a:close/>
                  <a:moveTo>
                    <a:pt x="318" y="445"/>
                  </a:moveTo>
                  <a:cubicBezTo>
                    <a:pt x="325" y="499"/>
                    <a:pt x="325" y="499"/>
                    <a:pt x="325" y="499"/>
                  </a:cubicBezTo>
                  <a:cubicBezTo>
                    <a:pt x="333" y="449"/>
                    <a:pt x="333" y="449"/>
                    <a:pt x="333" y="449"/>
                  </a:cubicBezTo>
                  <a:cubicBezTo>
                    <a:pt x="316" y="414"/>
                    <a:pt x="316" y="414"/>
                    <a:pt x="316" y="414"/>
                  </a:cubicBezTo>
                  <a:cubicBezTo>
                    <a:pt x="301" y="414"/>
                    <a:pt x="301" y="414"/>
                    <a:pt x="301" y="414"/>
                  </a:cubicBezTo>
                  <a:lnTo>
                    <a:pt x="318" y="445"/>
                  </a:lnTo>
                  <a:close/>
                  <a:moveTo>
                    <a:pt x="337" y="494"/>
                  </a:moveTo>
                  <a:cubicBezTo>
                    <a:pt x="358" y="492"/>
                    <a:pt x="358" y="492"/>
                    <a:pt x="358" y="492"/>
                  </a:cubicBezTo>
                  <a:cubicBezTo>
                    <a:pt x="361" y="475"/>
                    <a:pt x="361" y="475"/>
                    <a:pt x="361" y="475"/>
                  </a:cubicBezTo>
                  <a:cubicBezTo>
                    <a:pt x="343" y="469"/>
                    <a:pt x="343" y="469"/>
                    <a:pt x="343" y="469"/>
                  </a:cubicBezTo>
                  <a:lnTo>
                    <a:pt x="337" y="494"/>
                  </a:lnTo>
                  <a:close/>
                  <a:moveTo>
                    <a:pt x="391" y="441"/>
                  </a:moveTo>
                  <a:cubicBezTo>
                    <a:pt x="372" y="434"/>
                    <a:pt x="372" y="434"/>
                    <a:pt x="372" y="434"/>
                  </a:cubicBezTo>
                  <a:cubicBezTo>
                    <a:pt x="372" y="434"/>
                    <a:pt x="364" y="424"/>
                    <a:pt x="360" y="416"/>
                  </a:cubicBezTo>
                  <a:cubicBezTo>
                    <a:pt x="357" y="408"/>
                    <a:pt x="333" y="413"/>
                    <a:pt x="333" y="413"/>
                  </a:cubicBezTo>
                  <a:cubicBezTo>
                    <a:pt x="336" y="442"/>
                    <a:pt x="336" y="442"/>
                    <a:pt x="336" y="442"/>
                  </a:cubicBezTo>
                  <a:cubicBezTo>
                    <a:pt x="352" y="436"/>
                    <a:pt x="352" y="436"/>
                    <a:pt x="352" y="436"/>
                  </a:cubicBezTo>
                  <a:cubicBezTo>
                    <a:pt x="358" y="452"/>
                    <a:pt x="358" y="452"/>
                    <a:pt x="358" y="452"/>
                  </a:cubicBezTo>
                  <a:cubicBezTo>
                    <a:pt x="391" y="477"/>
                    <a:pt x="391" y="477"/>
                    <a:pt x="391" y="477"/>
                  </a:cubicBezTo>
                  <a:lnTo>
                    <a:pt x="391" y="441"/>
                  </a:lnTo>
                  <a:close/>
                  <a:moveTo>
                    <a:pt x="117" y="403"/>
                  </a:moveTo>
                  <a:cubicBezTo>
                    <a:pt x="107" y="388"/>
                    <a:pt x="107" y="388"/>
                    <a:pt x="107" y="388"/>
                  </a:cubicBezTo>
                  <a:cubicBezTo>
                    <a:pt x="103" y="405"/>
                    <a:pt x="103" y="405"/>
                    <a:pt x="103" y="405"/>
                  </a:cubicBezTo>
                  <a:cubicBezTo>
                    <a:pt x="103" y="405"/>
                    <a:pt x="84" y="421"/>
                    <a:pt x="91" y="436"/>
                  </a:cubicBezTo>
                  <a:cubicBezTo>
                    <a:pt x="98" y="450"/>
                    <a:pt x="115" y="450"/>
                    <a:pt x="105" y="457"/>
                  </a:cubicBezTo>
                  <a:cubicBezTo>
                    <a:pt x="95" y="463"/>
                    <a:pt x="79" y="472"/>
                    <a:pt x="79" y="472"/>
                  </a:cubicBezTo>
                  <a:cubicBezTo>
                    <a:pt x="72" y="490"/>
                    <a:pt x="72" y="490"/>
                    <a:pt x="72" y="490"/>
                  </a:cubicBezTo>
                  <a:cubicBezTo>
                    <a:pt x="57" y="499"/>
                    <a:pt x="57" y="499"/>
                    <a:pt x="57" y="499"/>
                  </a:cubicBezTo>
                  <a:cubicBezTo>
                    <a:pt x="57" y="499"/>
                    <a:pt x="62" y="508"/>
                    <a:pt x="55" y="514"/>
                  </a:cubicBezTo>
                  <a:cubicBezTo>
                    <a:pt x="48" y="521"/>
                    <a:pt x="23" y="532"/>
                    <a:pt x="23" y="532"/>
                  </a:cubicBezTo>
                  <a:cubicBezTo>
                    <a:pt x="23" y="532"/>
                    <a:pt x="0" y="568"/>
                    <a:pt x="11" y="576"/>
                  </a:cubicBezTo>
                  <a:cubicBezTo>
                    <a:pt x="31" y="557"/>
                    <a:pt x="31" y="557"/>
                    <a:pt x="31" y="557"/>
                  </a:cubicBezTo>
                  <a:cubicBezTo>
                    <a:pt x="31" y="557"/>
                    <a:pt x="28" y="542"/>
                    <a:pt x="36" y="542"/>
                  </a:cubicBezTo>
                  <a:cubicBezTo>
                    <a:pt x="45" y="542"/>
                    <a:pt x="55" y="539"/>
                    <a:pt x="62" y="534"/>
                  </a:cubicBezTo>
                  <a:cubicBezTo>
                    <a:pt x="69" y="529"/>
                    <a:pt x="62" y="513"/>
                    <a:pt x="71" y="503"/>
                  </a:cubicBezTo>
                  <a:cubicBezTo>
                    <a:pt x="79" y="493"/>
                    <a:pt x="127" y="478"/>
                    <a:pt x="127" y="467"/>
                  </a:cubicBezTo>
                  <a:cubicBezTo>
                    <a:pt x="127" y="455"/>
                    <a:pt x="117" y="444"/>
                    <a:pt x="115" y="434"/>
                  </a:cubicBezTo>
                  <a:cubicBezTo>
                    <a:pt x="114" y="424"/>
                    <a:pt x="117" y="403"/>
                    <a:pt x="117" y="403"/>
                  </a:cubicBezTo>
                  <a:close/>
                  <a:moveTo>
                    <a:pt x="232" y="684"/>
                  </a:moveTo>
                  <a:cubicBezTo>
                    <a:pt x="257" y="706"/>
                    <a:pt x="257" y="706"/>
                    <a:pt x="257" y="706"/>
                  </a:cubicBezTo>
                  <a:cubicBezTo>
                    <a:pt x="259" y="679"/>
                    <a:pt x="259" y="679"/>
                    <a:pt x="259" y="679"/>
                  </a:cubicBezTo>
                  <a:cubicBezTo>
                    <a:pt x="244" y="668"/>
                    <a:pt x="244" y="668"/>
                    <a:pt x="244" y="668"/>
                  </a:cubicBezTo>
                  <a:lnTo>
                    <a:pt x="232" y="684"/>
                  </a:lnTo>
                  <a:close/>
                  <a:moveTo>
                    <a:pt x="451" y="560"/>
                  </a:moveTo>
                  <a:cubicBezTo>
                    <a:pt x="451" y="560"/>
                    <a:pt x="451" y="529"/>
                    <a:pt x="441" y="524"/>
                  </a:cubicBezTo>
                  <a:cubicBezTo>
                    <a:pt x="430" y="519"/>
                    <a:pt x="405" y="483"/>
                    <a:pt x="396" y="491"/>
                  </a:cubicBezTo>
                  <a:cubicBezTo>
                    <a:pt x="388" y="499"/>
                    <a:pt x="420" y="522"/>
                    <a:pt x="413" y="526"/>
                  </a:cubicBezTo>
                  <a:cubicBezTo>
                    <a:pt x="406" y="529"/>
                    <a:pt x="376" y="532"/>
                    <a:pt x="376" y="532"/>
                  </a:cubicBezTo>
                  <a:cubicBezTo>
                    <a:pt x="376" y="553"/>
                    <a:pt x="376" y="553"/>
                    <a:pt x="376" y="553"/>
                  </a:cubicBezTo>
                  <a:cubicBezTo>
                    <a:pt x="362" y="552"/>
                    <a:pt x="362" y="552"/>
                    <a:pt x="362" y="552"/>
                  </a:cubicBezTo>
                  <a:cubicBezTo>
                    <a:pt x="358" y="567"/>
                    <a:pt x="358" y="567"/>
                    <a:pt x="358" y="567"/>
                  </a:cubicBezTo>
                  <a:cubicBezTo>
                    <a:pt x="341" y="576"/>
                    <a:pt x="341" y="576"/>
                    <a:pt x="341" y="576"/>
                  </a:cubicBezTo>
                  <a:cubicBezTo>
                    <a:pt x="341" y="576"/>
                    <a:pt x="316" y="560"/>
                    <a:pt x="307" y="568"/>
                  </a:cubicBezTo>
                  <a:cubicBezTo>
                    <a:pt x="299" y="576"/>
                    <a:pt x="283" y="604"/>
                    <a:pt x="283" y="604"/>
                  </a:cubicBezTo>
                  <a:cubicBezTo>
                    <a:pt x="283" y="604"/>
                    <a:pt x="273" y="585"/>
                    <a:pt x="268" y="594"/>
                  </a:cubicBezTo>
                  <a:cubicBezTo>
                    <a:pt x="263" y="604"/>
                    <a:pt x="251" y="627"/>
                    <a:pt x="251" y="627"/>
                  </a:cubicBezTo>
                  <a:cubicBezTo>
                    <a:pt x="264" y="640"/>
                    <a:pt x="264" y="640"/>
                    <a:pt x="264" y="640"/>
                  </a:cubicBezTo>
                  <a:cubicBezTo>
                    <a:pt x="278" y="627"/>
                    <a:pt x="278" y="627"/>
                    <a:pt x="278" y="627"/>
                  </a:cubicBezTo>
                  <a:cubicBezTo>
                    <a:pt x="287" y="643"/>
                    <a:pt x="287" y="643"/>
                    <a:pt x="287" y="643"/>
                  </a:cubicBezTo>
                  <a:cubicBezTo>
                    <a:pt x="287" y="643"/>
                    <a:pt x="314" y="621"/>
                    <a:pt x="321" y="621"/>
                  </a:cubicBezTo>
                  <a:cubicBezTo>
                    <a:pt x="328" y="621"/>
                    <a:pt x="350" y="642"/>
                    <a:pt x="350" y="642"/>
                  </a:cubicBezTo>
                  <a:cubicBezTo>
                    <a:pt x="350" y="642"/>
                    <a:pt x="340" y="648"/>
                    <a:pt x="340" y="657"/>
                  </a:cubicBezTo>
                  <a:cubicBezTo>
                    <a:pt x="340" y="665"/>
                    <a:pt x="358" y="701"/>
                    <a:pt x="367" y="704"/>
                  </a:cubicBezTo>
                  <a:cubicBezTo>
                    <a:pt x="376" y="707"/>
                    <a:pt x="400" y="714"/>
                    <a:pt x="400" y="714"/>
                  </a:cubicBezTo>
                  <a:cubicBezTo>
                    <a:pt x="413" y="701"/>
                    <a:pt x="413" y="701"/>
                    <a:pt x="413" y="701"/>
                  </a:cubicBezTo>
                  <a:cubicBezTo>
                    <a:pt x="415" y="717"/>
                    <a:pt x="415" y="717"/>
                    <a:pt x="415" y="717"/>
                  </a:cubicBezTo>
                  <a:cubicBezTo>
                    <a:pt x="429" y="719"/>
                    <a:pt x="429" y="719"/>
                    <a:pt x="429" y="719"/>
                  </a:cubicBezTo>
                  <a:cubicBezTo>
                    <a:pt x="430" y="693"/>
                    <a:pt x="430" y="693"/>
                    <a:pt x="430" y="693"/>
                  </a:cubicBezTo>
                  <a:cubicBezTo>
                    <a:pt x="430" y="693"/>
                    <a:pt x="410" y="671"/>
                    <a:pt x="415" y="658"/>
                  </a:cubicBezTo>
                  <a:cubicBezTo>
                    <a:pt x="420" y="645"/>
                    <a:pt x="427" y="642"/>
                    <a:pt x="427" y="642"/>
                  </a:cubicBezTo>
                  <a:cubicBezTo>
                    <a:pt x="444" y="676"/>
                    <a:pt x="444" y="676"/>
                    <a:pt x="444" y="676"/>
                  </a:cubicBezTo>
                  <a:cubicBezTo>
                    <a:pt x="444" y="676"/>
                    <a:pt x="463" y="650"/>
                    <a:pt x="463" y="634"/>
                  </a:cubicBezTo>
                  <a:cubicBezTo>
                    <a:pt x="463" y="617"/>
                    <a:pt x="451" y="599"/>
                    <a:pt x="451" y="599"/>
                  </a:cubicBezTo>
                  <a:lnTo>
                    <a:pt x="451" y="560"/>
                  </a:lnTo>
                  <a:close/>
                  <a:moveTo>
                    <a:pt x="230" y="258"/>
                  </a:moveTo>
                  <a:cubicBezTo>
                    <a:pt x="248" y="256"/>
                    <a:pt x="255" y="265"/>
                    <a:pt x="259" y="279"/>
                  </a:cubicBezTo>
                  <a:cubicBezTo>
                    <a:pt x="262" y="291"/>
                    <a:pt x="272" y="303"/>
                    <a:pt x="286" y="309"/>
                  </a:cubicBezTo>
                  <a:cubicBezTo>
                    <a:pt x="311" y="322"/>
                    <a:pt x="313" y="261"/>
                    <a:pt x="282" y="264"/>
                  </a:cubicBezTo>
                  <a:cubicBezTo>
                    <a:pt x="281" y="258"/>
                    <a:pt x="286" y="256"/>
                    <a:pt x="288" y="251"/>
                  </a:cubicBezTo>
                  <a:cubicBezTo>
                    <a:pt x="276" y="250"/>
                    <a:pt x="272" y="236"/>
                    <a:pt x="259" y="240"/>
                  </a:cubicBezTo>
                  <a:cubicBezTo>
                    <a:pt x="251" y="257"/>
                    <a:pt x="236" y="236"/>
                    <a:pt x="224" y="236"/>
                  </a:cubicBezTo>
                  <a:cubicBezTo>
                    <a:pt x="208" y="235"/>
                    <a:pt x="201" y="259"/>
                    <a:pt x="188" y="239"/>
                  </a:cubicBezTo>
                  <a:cubicBezTo>
                    <a:pt x="181" y="228"/>
                    <a:pt x="184" y="213"/>
                    <a:pt x="184" y="201"/>
                  </a:cubicBezTo>
                  <a:cubicBezTo>
                    <a:pt x="184" y="189"/>
                    <a:pt x="180" y="170"/>
                    <a:pt x="185" y="159"/>
                  </a:cubicBezTo>
                  <a:cubicBezTo>
                    <a:pt x="192" y="143"/>
                    <a:pt x="203" y="148"/>
                    <a:pt x="202" y="128"/>
                  </a:cubicBezTo>
                  <a:cubicBezTo>
                    <a:pt x="202" y="114"/>
                    <a:pt x="191" y="105"/>
                    <a:pt x="193" y="93"/>
                  </a:cubicBezTo>
                  <a:cubicBezTo>
                    <a:pt x="194" y="80"/>
                    <a:pt x="202" y="64"/>
                    <a:pt x="198" y="50"/>
                  </a:cubicBezTo>
                  <a:cubicBezTo>
                    <a:pt x="195" y="44"/>
                    <a:pt x="188" y="41"/>
                    <a:pt x="185" y="35"/>
                  </a:cubicBezTo>
                  <a:cubicBezTo>
                    <a:pt x="182" y="29"/>
                    <a:pt x="185" y="22"/>
                    <a:pt x="184" y="16"/>
                  </a:cubicBezTo>
                  <a:cubicBezTo>
                    <a:pt x="183" y="11"/>
                    <a:pt x="181" y="0"/>
                    <a:pt x="172" y="0"/>
                  </a:cubicBezTo>
                  <a:cubicBezTo>
                    <a:pt x="167" y="1"/>
                    <a:pt x="165" y="9"/>
                    <a:pt x="162" y="12"/>
                  </a:cubicBezTo>
                  <a:cubicBezTo>
                    <a:pt x="145" y="26"/>
                    <a:pt x="142" y="9"/>
                    <a:pt x="126" y="10"/>
                  </a:cubicBezTo>
                  <a:cubicBezTo>
                    <a:pt x="117" y="13"/>
                    <a:pt x="117" y="13"/>
                    <a:pt x="117" y="13"/>
                  </a:cubicBezTo>
                  <a:cubicBezTo>
                    <a:pt x="114" y="20"/>
                    <a:pt x="117" y="27"/>
                    <a:pt x="115" y="34"/>
                  </a:cubicBezTo>
                  <a:cubicBezTo>
                    <a:pt x="113" y="41"/>
                    <a:pt x="104" y="47"/>
                    <a:pt x="100" y="53"/>
                  </a:cubicBezTo>
                  <a:cubicBezTo>
                    <a:pt x="92" y="65"/>
                    <a:pt x="94" y="57"/>
                    <a:pt x="101" y="69"/>
                  </a:cubicBezTo>
                  <a:cubicBezTo>
                    <a:pt x="104" y="74"/>
                    <a:pt x="108" y="83"/>
                    <a:pt x="110" y="89"/>
                  </a:cubicBezTo>
                  <a:cubicBezTo>
                    <a:pt x="112" y="95"/>
                    <a:pt x="113" y="102"/>
                    <a:pt x="112" y="109"/>
                  </a:cubicBezTo>
                  <a:cubicBezTo>
                    <a:pt x="111" y="116"/>
                    <a:pt x="103" y="122"/>
                    <a:pt x="103" y="127"/>
                  </a:cubicBezTo>
                  <a:cubicBezTo>
                    <a:pt x="103" y="135"/>
                    <a:pt x="114" y="137"/>
                    <a:pt x="110" y="145"/>
                  </a:cubicBezTo>
                  <a:cubicBezTo>
                    <a:pt x="108" y="150"/>
                    <a:pt x="96" y="153"/>
                    <a:pt x="92" y="152"/>
                  </a:cubicBezTo>
                  <a:cubicBezTo>
                    <a:pt x="92" y="146"/>
                    <a:pt x="90" y="140"/>
                    <a:pt x="85" y="138"/>
                  </a:cubicBezTo>
                  <a:cubicBezTo>
                    <a:pt x="84" y="161"/>
                    <a:pt x="87" y="175"/>
                    <a:pt x="103" y="194"/>
                  </a:cubicBezTo>
                  <a:cubicBezTo>
                    <a:pt x="115" y="207"/>
                    <a:pt x="127" y="217"/>
                    <a:pt x="135" y="233"/>
                  </a:cubicBezTo>
                  <a:cubicBezTo>
                    <a:pt x="140" y="245"/>
                    <a:pt x="156" y="275"/>
                    <a:pt x="171" y="274"/>
                  </a:cubicBezTo>
                  <a:cubicBezTo>
                    <a:pt x="181" y="273"/>
                    <a:pt x="185" y="260"/>
                    <a:pt x="196" y="259"/>
                  </a:cubicBezTo>
                  <a:cubicBezTo>
                    <a:pt x="207" y="258"/>
                    <a:pt x="212" y="268"/>
                    <a:pt x="219" y="274"/>
                  </a:cubicBezTo>
                  <a:cubicBezTo>
                    <a:pt x="241" y="293"/>
                    <a:pt x="240" y="275"/>
                    <a:pt x="230" y="258"/>
                  </a:cubicBezTo>
                  <a:close/>
                  <a:moveTo>
                    <a:pt x="182" y="288"/>
                  </a:moveTo>
                  <a:cubicBezTo>
                    <a:pt x="175" y="282"/>
                    <a:pt x="146" y="285"/>
                    <a:pt x="146" y="285"/>
                  </a:cubicBezTo>
                  <a:cubicBezTo>
                    <a:pt x="167" y="313"/>
                    <a:pt x="167" y="313"/>
                    <a:pt x="167" y="313"/>
                  </a:cubicBezTo>
                  <a:cubicBezTo>
                    <a:pt x="180" y="357"/>
                    <a:pt x="180" y="357"/>
                    <a:pt x="180" y="357"/>
                  </a:cubicBezTo>
                  <a:cubicBezTo>
                    <a:pt x="180" y="357"/>
                    <a:pt x="192" y="347"/>
                    <a:pt x="197" y="339"/>
                  </a:cubicBezTo>
                  <a:cubicBezTo>
                    <a:pt x="203" y="331"/>
                    <a:pt x="191" y="315"/>
                    <a:pt x="191" y="315"/>
                  </a:cubicBezTo>
                  <a:cubicBezTo>
                    <a:pt x="191" y="315"/>
                    <a:pt x="189" y="295"/>
                    <a:pt x="182" y="288"/>
                  </a:cubicBezTo>
                  <a:close/>
                  <a:moveTo>
                    <a:pt x="232" y="434"/>
                  </a:moveTo>
                  <a:cubicBezTo>
                    <a:pt x="237" y="444"/>
                    <a:pt x="245" y="454"/>
                    <a:pt x="245" y="454"/>
                  </a:cubicBezTo>
                  <a:cubicBezTo>
                    <a:pt x="245" y="454"/>
                    <a:pt x="261" y="437"/>
                    <a:pt x="266" y="441"/>
                  </a:cubicBezTo>
                  <a:cubicBezTo>
                    <a:pt x="271" y="444"/>
                    <a:pt x="271" y="463"/>
                    <a:pt x="271" y="463"/>
                  </a:cubicBezTo>
                  <a:cubicBezTo>
                    <a:pt x="280" y="472"/>
                    <a:pt x="280" y="472"/>
                    <a:pt x="280" y="472"/>
                  </a:cubicBezTo>
                  <a:cubicBezTo>
                    <a:pt x="280" y="472"/>
                    <a:pt x="257" y="506"/>
                    <a:pt x="257" y="513"/>
                  </a:cubicBezTo>
                  <a:cubicBezTo>
                    <a:pt x="257" y="519"/>
                    <a:pt x="257" y="539"/>
                    <a:pt x="273" y="535"/>
                  </a:cubicBezTo>
                  <a:cubicBezTo>
                    <a:pt x="288" y="532"/>
                    <a:pt x="311" y="527"/>
                    <a:pt x="302" y="513"/>
                  </a:cubicBezTo>
                  <a:cubicBezTo>
                    <a:pt x="293" y="498"/>
                    <a:pt x="292" y="486"/>
                    <a:pt x="300" y="463"/>
                  </a:cubicBezTo>
                  <a:cubicBezTo>
                    <a:pt x="309" y="441"/>
                    <a:pt x="302" y="424"/>
                    <a:pt x="295" y="431"/>
                  </a:cubicBezTo>
                  <a:cubicBezTo>
                    <a:pt x="288" y="437"/>
                    <a:pt x="275" y="445"/>
                    <a:pt x="275" y="437"/>
                  </a:cubicBezTo>
                  <a:cubicBezTo>
                    <a:pt x="275" y="429"/>
                    <a:pt x="295" y="398"/>
                    <a:pt x="283" y="395"/>
                  </a:cubicBezTo>
                  <a:cubicBezTo>
                    <a:pt x="271" y="391"/>
                    <a:pt x="249" y="378"/>
                    <a:pt x="249" y="378"/>
                  </a:cubicBezTo>
                  <a:cubicBezTo>
                    <a:pt x="249" y="378"/>
                    <a:pt x="228" y="373"/>
                    <a:pt x="227" y="380"/>
                  </a:cubicBezTo>
                  <a:cubicBezTo>
                    <a:pt x="225" y="387"/>
                    <a:pt x="239" y="398"/>
                    <a:pt x="239" y="398"/>
                  </a:cubicBezTo>
                  <a:cubicBezTo>
                    <a:pt x="239" y="398"/>
                    <a:pt x="227" y="424"/>
                    <a:pt x="232" y="434"/>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65" name="Freeform 26"/>
            <p:cNvSpPr>
              <a:spLocks/>
            </p:cNvSpPr>
            <p:nvPr/>
          </p:nvSpPr>
          <p:spPr bwMode="gray">
            <a:xfrm>
              <a:off x="7354888" y="3213100"/>
              <a:ext cx="47625" cy="101600"/>
            </a:xfrm>
            <a:custGeom>
              <a:avLst/>
              <a:gdLst>
                <a:gd name="T0" fmla="*/ 62 w 85"/>
                <a:gd name="T1" fmla="*/ 181 h 181"/>
                <a:gd name="T2" fmla="*/ 62 w 85"/>
                <a:gd name="T3" fmla="*/ 148 h 181"/>
                <a:gd name="T4" fmla="*/ 75 w 85"/>
                <a:gd name="T5" fmla="*/ 118 h 181"/>
                <a:gd name="T6" fmla="*/ 75 w 85"/>
                <a:gd name="T7" fmla="*/ 68 h 181"/>
                <a:gd name="T8" fmla="*/ 84 w 85"/>
                <a:gd name="T9" fmla="*/ 43 h 181"/>
                <a:gd name="T10" fmla="*/ 85 w 85"/>
                <a:gd name="T11" fmla="*/ 17 h 181"/>
                <a:gd name="T12" fmla="*/ 56 w 85"/>
                <a:gd name="T13" fmla="*/ 0 h 181"/>
                <a:gd name="T14" fmla="*/ 39 w 85"/>
                <a:gd name="T15" fmla="*/ 20 h 181"/>
                <a:gd name="T16" fmla="*/ 8 w 85"/>
                <a:gd name="T17" fmla="*/ 114 h 181"/>
                <a:gd name="T18" fmla="*/ 34 w 85"/>
                <a:gd name="T19" fmla="*/ 147 h 181"/>
                <a:gd name="T20" fmla="*/ 62 w 85"/>
                <a:gd name="T21" fmla="*/ 181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5" h="181">
                  <a:moveTo>
                    <a:pt x="62" y="181"/>
                  </a:moveTo>
                  <a:cubicBezTo>
                    <a:pt x="62" y="148"/>
                    <a:pt x="62" y="148"/>
                    <a:pt x="62" y="148"/>
                  </a:cubicBezTo>
                  <a:cubicBezTo>
                    <a:pt x="62" y="148"/>
                    <a:pt x="75" y="139"/>
                    <a:pt x="75" y="118"/>
                  </a:cubicBezTo>
                  <a:cubicBezTo>
                    <a:pt x="75" y="97"/>
                    <a:pt x="75" y="68"/>
                    <a:pt x="75" y="68"/>
                  </a:cubicBezTo>
                  <a:cubicBezTo>
                    <a:pt x="75" y="68"/>
                    <a:pt x="85" y="55"/>
                    <a:pt x="84" y="43"/>
                  </a:cubicBezTo>
                  <a:cubicBezTo>
                    <a:pt x="83" y="31"/>
                    <a:pt x="85" y="17"/>
                    <a:pt x="85" y="17"/>
                  </a:cubicBezTo>
                  <a:cubicBezTo>
                    <a:pt x="56" y="0"/>
                    <a:pt x="56" y="0"/>
                    <a:pt x="56" y="0"/>
                  </a:cubicBezTo>
                  <a:cubicBezTo>
                    <a:pt x="39" y="20"/>
                    <a:pt x="39" y="20"/>
                    <a:pt x="39" y="20"/>
                  </a:cubicBezTo>
                  <a:cubicBezTo>
                    <a:pt x="39" y="20"/>
                    <a:pt x="0" y="102"/>
                    <a:pt x="8" y="114"/>
                  </a:cubicBezTo>
                  <a:cubicBezTo>
                    <a:pt x="16" y="126"/>
                    <a:pt x="34" y="147"/>
                    <a:pt x="34" y="147"/>
                  </a:cubicBezTo>
                  <a:cubicBezTo>
                    <a:pt x="34" y="147"/>
                    <a:pt x="47" y="181"/>
                    <a:pt x="62" y="181"/>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66" name="Freeform 27"/>
            <p:cNvSpPr>
              <a:spLocks noEditPoints="1"/>
            </p:cNvSpPr>
            <p:nvPr/>
          </p:nvSpPr>
          <p:spPr bwMode="gray">
            <a:xfrm>
              <a:off x="8393113" y="4175125"/>
              <a:ext cx="138112" cy="131763"/>
            </a:xfrm>
            <a:custGeom>
              <a:avLst/>
              <a:gdLst>
                <a:gd name="T0" fmla="*/ 21 w 247"/>
                <a:gd name="T1" fmla="*/ 14 h 235"/>
                <a:gd name="T2" fmla="*/ 9 w 247"/>
                <a:gd name="T3" fmla="*/ 0 h 235"/>
                <a:gd name="T4" fmla="*/ 2 w 247"/>
                <a:gd name="T5" fmla="*/ 16 h 235"/>
                <a:gd name="T6" fmla="*/ 15 w 247"/>
                <a:gd name="T7" fmla="*/ 32 h 235"/>
                <a:gd name="T8" fmla="*/ 21 w 247"/>
                <a:gd name="T9" fmla="*/ 14 h 235"/>
                <a:gd name="T10" fmla="*/ 0 w 247"/>
                <a:gd name="T11" fmla="*/ 84 h 235"/>
                <a:gd name="T12" fmla="*/ 13 w 247"/>
                <a:gd name="T13" fmla="*/ 89 h 235"/>
                <a:gd name="T14" fmla="*/ 22 w 247"/>
                <a:gd name="T15" fmla="*/ 67 h 235"/>
                <a:gd name="T16" fmla="*/ 0 w 247"/>
                <a:gd name="T17" fmla="*/ 70 h 235"/>
                <a:gd name="T18" fmla="*/ 0 w 247"/>
                <a:gd name="T19" fmla="*/ 84 h 235"/>
                <a:gd name="T20" fmla="*/ 51 w 247"/>
                <a:gd name="T21" fmla="*/ 81 h 235"/>
                <a:gd name="T22" fmla="*/ 25 w 247"/>
                <a:gd name="T23" fmla="*/ 81 h 235"/>
                <a:gd name="T24" fmla="*/ 26 w 247"/>
                <a:gd name="T25" fmla="*/ 97 h 235"/>
                <a:gd name="T26" fmla="*/ 53 w 247"/>
                <a:gd name="T27" fmla="*/ 91 h 235"/>
                <a:gd name="T28" fmla="*/ 51 w 247"/>
                <a:gd name="T29" fmla="*/ 81 h 235"/>
                <a:gd name="T30" fmla="*/ 39 w 247"/>
                <a:gd name="T31" fmla="*/ 126 h 235"/>
                <a:gd name="T32" fmla="*/ 64 w 247"/>
                <a:gd name="T33" fmla="*/ 123 h 235"/>
                <a:gd name="T34" fmla="*/ 32 w 247"/>
                <a:gd name="T35" fmla="*/ 103 h 235"/>
                <a:gd name="T36" fmla="*/ 39 w 247"/>
                <a:gd name="T37" fmla="*/ 126 h 235"/>
                <a:gd name="T38" fmla="*/ 163 w 247"/>
                <a:gd name="T39" fmla="*/ 149 h 235"/>
                <a:gd name="T40" fmla="*/ 128 w 247"/>
                <a:gd name="T41" fmla="*/ 142 h 235"/>
                <a:gd name="T42" fmla="*/ 142 w 247"/>
                <a:gd name="T43" fmla="*/ 169 h 235"/>
                <a:gd name="T44" fmla="*/ 183 w 247"/>
                <a:gd name="T45" fmla="*/ 172 h 235"/>
                <a:gd name="T46" fmla="*/ 163 w 247"/>
                <a:gd name="T47" fmla="*/ 149 h 235"/>
                <a:gd name="T48" fmla="*/ 205 w 247"/>
                <a:gd name="T49" fmla="*/ 193 h 235"/>
                <a:gd name="T50" fmla="*/ 238 w 247"/>
                <a:gd name="T51" fmla="*/ 235 h 235"/>
                <a:gd name="T52" fmla="*/ 247 w 247"/>
                <a:gd name="T53" fmla="*/ 215 h 235"/>
                <a:gd name="T54" fmla="*/ 205 w 247"/>
                <a:gd name="T55" fmla="*/ 193 h 235"/>
                <a:gd name="T56" fmla="*/ 189 w 247"/>
                <a:gd name="T57" fmla="*/ 84 h 235"/>
                <a:gd name="T58" fmla="*/ 184 w 247"/>
                <a:gd name="T59" fmla="*/ 130 h 235"/>
                <a:gd name="T60" fmla="*/ 218 w 247"/>
                <a:gd name="T61" fmla="*/ 160 h 235"/>
                <a:gd name="T62" fmla="*/ 189 w 247"/>
                <a:gd name="T63" fmla="*/ 84 h 235"/>
                <a:gd name="T64" fmla="*/ 81 w 247"/>
                <a:gd name="T65" fmla="*/ 41 h 235"/>
                <a:gd name="T66" fmla="*/ 138 w 247"/>
                <a:gd name="T67" fmla="*/ 102 h 235"/>
                <a:gd name="T68" fmla="*/ 81 w 247"/>
                <a:gd name="T69" fmla="*/ 41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7" h="235">
                  <a:moveTo>
                    <a:pt x="21" y="14"/>
                  </a:moveTo>
                  <a:cubicBezTo>
                    <a:pt x="9" y="0"/>
                    <a:pt x="9" y="0"/>
                    <a:pt x="9" y="0"/>
                  </a:cubicBezTo>
                  <a:cubicBezTo>
                    <a:pt x="2" y="16"/>
                    <a:pt x="2" y="16"/>
                    <a:pt x="2" y="16"/>
                  </a:cubicBezTo>
                  <a:cubicBezTo>
                    <a:pt x="15" y="32"/>
                    <a:pt x="15" y="32"/>
                    <a:pt x="15" y="32"/>
                  </a:cubicBezTo>
                  <a:lnTo>
                    <a:pt x="21" y="14"/>
                  </a:lnTo>
                  <a:close/>
                  <a:moveTo>
                    <a:pt x="0" y="84"/>
                  </a:moveTo>
                  <a:cubicBezTo>
                    <a:pt x="13" y="89"/>
                    <a:pt x="13" y="89"/>
                    <a:pt x="13" y="89"/>
                  </a:cubicBezTo>
                  <a:cubicBezTo>
                    <a:pt x="22" y="67"/>
                    <a:pt x="22" y="67"/>
                    <a:pt x="22" y="67"/>
                  </a:cubicBezTo>
                  <a:cubicBezTo>
                    <a:pt x="0" y="70"/>
                    <a:pt x="0" y="70"/>
                    <a:pt x="0" y="70"/>
                  </a:cubicBezTo>
                  <a:lnTo>
                    <a:pt x="0" y="84"/>
                  </a:lnTo>
                  <a:close/>
                  <a:moveTo>
                    <a:pt x="51" y="81"/>
                  </a:moveTo>
                  <a:cubicBezTo>
                    <a:pt x="25" y="81"/>
                    <a:pt x="25" y="81"/>
                    <a:pt x="25" y="81"/>
                  </a:cubicBezTo>
                  <a:cubicBezTo>
                    <a:pt x="26" y="97"/>
                    <a:pt x="26" y="97"/>
                    <a:pt x="26" y="97"/>
                  </a:cubicBezTo>
                  <a:cubicBezTo>
                    <a:pt x="53" y="91"/>
                    <a:pt x="53" y="91"/>
                    <a:pt x="53" y="91"/>
                  </a:cubicBezTo>
                  <a:lnTo>
                    <a:pt x="51" y="81"/>
                  </a:lnTo>
                  <a:close/>
                  <a:moveTo>
                    <a:pt x="39" y="126"/>
                  </a:moveTo>
                  <a:cubicBezTo>
                    <a:pt x="64" y="123"/>
                    <a:pt x="64" y="123"/>
                    <a:pt x="64" y="123"/>
                  </a:cubicBezTo>
                  <a:cubicBezTo>
                    <a:pt x="32" y="103"/>
                    <a:pt x="32" y="103"/>
                    <a:pt x="32" y="103"/>
                  </a:cubicBezTo>
                  <a:lnTo>
                    <a:pt x="39" y="126"/>
                  </a:lnTo>
                  <a:close/>
                  <a:moveTo>
                    <a:pt x="163" y="149"/>
                  </a:moveTo>
                  <a:cubicBezTo>
                    <a:pt x="145" y="139"/>
                    <a:pt x="128" y="142"/>
                    <a:pt x="128" y="142"/>
                  </a:cubicBezTo>
                  <a:cubicBezTo>
                    <a:pt x="128" y="142"/>
                    <a:pt x="124" y="161"/>
                    <a:pt x="142" y="169"/>
                  </a:cubicBezTo>
                  <a:cubicBezTo>
                    <a:pt x="168" y="180"/>
                    <a:pt x="183" y="172"/>
                    <a:pt x="183" y="172"/>
                  </a:cubicBezTo>
                  <a:cubicBezTo>
                    <a:pt x="183" y="172"/>
                    <a:pt x="182" y="160"/>
                    <a:pt x="163" y="149"/>
                  </a:cubicBezTo>
                  <a:close/>
                  <a:moveTo>
                    <a:pt x="205" y="193"/>
                  </a:moveTo>
                  <a:cubicBezTo>
                    <a:pt x="238" y="235"/>
                    <a:pt x="238" y="235"/>
                    <a:pt x="238" y="235"/>
                  </a:cubicBezTo>
                  <a:cubicBezTo>
                    <a:pt x="247" y="215"/>
                    <a:pt x="247" y="215"/>
                    <a:pt x="247" y="215"/>
                  </a:cubicBezTo>
                  <a:lnTo>
                    <a:pt x="205" y="193"/>
                  </a:lnTo>
                  <a:close/>
                  <a:moveTo>
                    <a:pt x="189" y="84"/>
                  </a:moveTo>
                  <a:cubicBezTo>
                    <a:pt x="189" y="84"/>
                    <a:pt x="178" y="119"/>
                    <a:pt x="184" y="130"/>
                  </a:cubicBezTo>
                  <a:cubicBezTo>
                    <a:pt x="191" y="140"/>
                    <a:pt x="218" y="160"/>
                    <a:pt x="218" y="160"/>
                  </a:cubicBezTo>
                  <a:lnTo>
                    <a:pt x="189" y="84"/>
                  </a:lnTo>
                  <a:close/>
                  <a:moveTo>
                    <a:pt x="81" y="41"/>
                  </a:moveTo>
                  <a:cubicBezTo>
                    <a:pt x="75" y="51"/>
                    <a:pt x="130" y="104"/>
                    <a:pt x="138" y="102"/>
                  </a:cubicBezTo>
                  <a:cubicBezTo>
                    <a:pt x="154" y="100"/>
                    <a:pt x="86" y="30"/>
                    <a:pt x="81" y="41"/>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67" name="Freeform 28"/>
            <p:cNvSpPr>
              <a:spLocks/>
            </p:cNvSpPr>
            <p:nvPr/>
          </p:nvSpPr>
          <p:spPr bwMode="gray">
            <a:xfrm>
              <a:off x="6892925" y="3773488"/>
              <a:ext cx="115887" cy="163513"/>
            </a:xfrm>
            <a:custGeom>
              <a:avLst/>
              <a:gdLst>
                <a:gd name="T0" fmla="*/ 1 w 207"/>
                <a:gd name="T1" fmla="*/ 30 h 293"/>
                <a:gd name="T2" fmla="*/ 6 w 207"/>
                <a:gd name="T3" fmla="*/ 91 h 293"/>
                <a:gd name="T4" fmla="*/ 38 w 207"/>
                <a:gd name="T5" fmla="*/ 99 h 293"/>
                <a:gd name="T6" fmla="*/ 39 w 207"/>
                <a:gd name="T7" fmla="*/ 153 h 293"/>
                <a:gd name="T8" fmla="*/ 62 w 207"/>
                <a:gd name="T9" fmla="*/ 153 h 293"/>
                <a:gd name="T10" fmla="*/ 65 w 207"/>
                <a:gd name="T11" fmla="*/ 203 h 293"/>
                <a:gd name="T12" fmla="*/ 114 w 207"/>
                <a:gd name="T13" fmla="*/ 236 h 293"/>
                <a:gd name="T14" fmla="*/ 121 w 207"/>
                <a:gd name="T15" fmla="*/ 258 h 293"/>
                <a:gd name="T16" fmla="*/ 153 w 207"/>
                <a:gd name="T17" fmla="*/ 271 h 293"/>
                <a:gd name="T18" fmla="*/ 169 w 207"/>
                <a:gd name="T19" fmla="*/ 293 h 293"/>
                <a:gd name="T20" fmla="*/ 202 w 207"/>
                <a:gd name="T21" fmla="*/ 290 h 293"/>
                <a:gd name="T22" fmla="*/ 205 w 207"/>
                <a:gd name="T23" fmla="*/ 252 h 293"/>
                <a:gd name="T24" fmla="*/ 172 w 207"/>
                <a:gd name="T25" fmla="*/ 210 h 293"/>
                <a:gd name="T26" fmla="*/ 170 w 207"/>
                <a:gd name="T27" fmla="*/ 184 h 293"/>
                <a:gd name="T28" fmla="*/ 168 w 207"/>
                <a:gd name="T29" fmla="*/ 160 h 293"/>
                <a:gd name="T30" fmla="*/ 167 w 207"/>
                <a:gd name="T31" fmla="*/ 87 h 293"/>
                <a:gd name="T32" fmla="*/ 115 w 207"/>
                <a:gd name="T33" fmla="*/ 41 h 293"/>
                <a:gd name="T34" fmla="*/ 103 w 207"/>
                <a:gd name="T35" fmla="*/ 31 h 293"/>
                <a:gd name="T36" fmla="*/ 91 w 207"/>
                <a:gd name="T37" fmla="*/ 55 h 293"/>
                <a:gd name="T38" fmla="*/ 72 w 207"/>
                <a:gd name="T39" fmla="*/ 47 h 293"/>
                <a:gd name="T40" fmla="*/ 49 w 207"/>
                <a:gd name="T41" fmla="*/ 54 h 293"/>
                <a:gd name="T42" fmla="*/ 52 w 207"/>
                <a:gd name="T43" fmla="*/ 32 h 293"/>
                <a:gd name="T44" fmla="*/ 45 w 207"/>
                <a:gd name="T45" fmla="*/ 28 h 293"/>
                <a:gd name="T46" fmla="*/ 39 w 207"/>
                <a:gd name="T47" fmla="*/ 16 h 293"/>
                <a:gd name="T48" fmla="*/ 21 w 207"/>
                <a:gd name="T49" fmla="*/ 12 h 293"/>
                <a:gd name="T50" fmla="*/ 12 w 207"/>
                <a:gd name="T51" fmla="*/ 1 h 293"/>
                <a:gd name="T52" fmla="*/ 7 w 207"/>
                <a:gd name="T53" fmla="*/ 17 h 293"/>
                <a:gd name="T54" fmla="*/ 0 w 207"/>
                <a:gd name="T55" fmla="*/ 29 h 293"/>
                <a:gd name="T56" fmla="*/ 1 w 207"/>
                <a:gd name="T57" fmla="*/ 3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07" h="293">
                  <a:moveTo>
                    <a:pt x="1" y="30"/>
                  </a:moveTo>
                  <a:cubicBezTo>
                    <a:pt x="6" y="91"/>
                    <a:pt x="6" y="91"/>
                    <a:pt x="6" y="91"/>
                  </a:cubicBezTo>
                  <a:cubicBezTo>
                    <a:pt x="6" y="91"/>
                    <a:pt x="38" y="79"/>
                    <a:pt x="38" y="99"/>
                  </a:cubicBezTo>
                  <a:cubicBezTo>
                    <a:pt x="37" y="119"/>
                    <a:pt x="28" y="141"/>
                    <a:pt x="39" y="153"/>
                  </a:cubicBezTo>
                  <a:cubicBezTo>
                    <a:pt x="50" y="166"/>
                    <a:pt x="62" y="153"/>
                    <a:pt x="62" y="153"/>
                  </a:cubicBezTo>
                  <a:cubicBezTo>
                    <a:pt x="62" y="153"/>
                    <a:pt x="55" y="194"/>
                    <a:pt x="65" y="203"/>
                  </a:cubicBezTo>
                  <a:cubicBezTo>
                    <a:pt x="75" y="212"/>
                    <a:pt x="114" y="236"/>
                    <a:pt x="114" y="236"/>
                  </a:cubicBezTo>
                  <a:cubicBezTo>
                    <a:pt x="114" y="236"/>
                    <a:pt x="116" y="256"/>
                    <a:pt x="121" y="258"/>
                  </a:cubicBezTo>
                  <a:cubicBezTo>
                    <a:pt x="126" y="259"/>
                    <a:pt x="153" y="271"/>
                    <a:pt x="153" y="271"/>
                  </a:cubicBezTo>
                  <a:cubicBezTo>
                    <a:pt x="169" y="293"/>
                    <a:pt x="169" y="293"/>
                    <a:pt x="169" y="293"/>
                  </a:cubicBezTo>
                  <a:cubicBezTo>
                    <a:pt x="202" y="290"/>
                    <a:pt x="202" y="290"/>
                    <a:pt x="202" y="290"/>
                  </a:cubicBezTo>
                  <a:cubicBezTo>
                    <a:pt x="202" y="290"/>
                    <a:pt x="207" y="270"/>
                    <a:pt x="205" y="252"/>
                  </a:cubicBezTo>
                  <a:cubicBezTo>
                    <a:pt x="203" y="235"/>
                    <a:pt x="173" y="215"/>
                    <a:pt x="172" y="210"/>
                  </a:cubicBezTo>
                  <a:cubicBezTo>
                    <a:pt x="171" y="205"/>
                    <a:pt x="177" y="193"/>
                    <a:pt x="170" y="184"/>
                  </a:cubicBezTo>
                  <a:cubicBezTo>
                    <a:pt x="162" y="175"/>
                    <a:pt x="168" y="173"/>
                    <a:pt x="168" y="160"/>
                  </a:cubicBezTo>
                  <a:cubicBezTo>
                    <a:pt x="169" y="148"/>
                    <a:pt x="172" y="109"/>
                    <a:pt x="167" y="87"/>
                  </a:cubicBezTo>
                  <a:cubicBezTo>
                    <a:pt x="163" y="65"/>
                    <a:pt x="121" y="50"/>
                    <a:pt x="115" y="41"/>
                  </a:cubicBezTo>
                  <a:cubicBezTo>
                    <a:pt x="113" y="38"/>
                    <a:pt x="108" y="34"/>
                    <a:pt x="103" y="31"/>
                  </a:cubicBezTo>
                  <a:cubicBezTo>
                    <a:pt x="100" y="39"/>
                    <a:pt x="95" y="50"/>
                    <a:pt x="91" y="55"/>
                  </a:cubicBezTo>
                  <a:cubicBezTo>
                    <a:pt x="85" y="63"/>
                    <a:pt x="83" y="46"/>
                    <a:pt x="72" y="47"/>
                  </a:cubicBezTo>
                  <a:cubicBezTo>
                    <a:pt x="61" y="48"/>
                    <a:pt x="62" y="58"/>
                    <a:pt x="49" y="54"/>
                  </a:cubicBezTo>
                  <a:cubicBezTo>
                    <a:pt x="36" y="50"/>
                    <a:pt x="52" y="38"/>
                    <a:pt x="52" y="32"/>
                  </a:cubicBezTo>
                  <a:cubicBezTo>
                    <a:pt x="52" y="26"/>
                    <a:pt x="45" y="28"/>
                    <a:pt x="45" y="28"/>
                  </a:cubicBezTo>
                  <a:cubicBezTo>
                    <a:pt x="45" y="28"/>
                    <a:pt x="46" y="20"/>
                    <a:pt x="39" y="16"/>
                  </a:cubicBezTo>
                  <a:cubicBezTo>
                    <a:pt x="32" y="12"/>
                    <a:pt x="21" y="12"/>
                    <a:pt x="21" y="12"/>
                  </a:cubicBezTo>
                  <a:cubicBezTo>
                    <a:pt x="21" y="12"/>
                    <a:pt x="19" y="0"/>
                    <a:pt x="12" y="1"/>
                  </a:cubicBezTo>
                  <a:cubicBezTo>
                    <a:pt x="5" y="2"/>
                    <a:pt x="6" y="8"/>
                    <a:pt x="7" y="17"/>
                  </a:cubicBezTo>
                  <a:cubicBezTo>
                    <a:pt x="7" y="21"/>
                    <a:pt x="4" y="25"/>
                    <a:pt x="0" y="29"/>
                  </a:cubicBezTo>
                  <a:cubicBezTo>
                    <a:pt x="1" y="29"/>
                    <a:pt x="1" y="30"/>
                    <a:pt x="1" y="30"/>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68" name="Freeform 29"/>
            <p:cNvSpPr>
              <a:spLocks/>
            </p:cNvSpPr>
            <p:nvPr/>
          </p:nvSpPr>
          <p:spPr bwMode="gray">
            <a:xfrm>
              <a:off x="6942138" y="3536950"/>
              <a:ext cx="141287" cy="125413"/>
            </a:xfrm>
            <a:custGeom>
              <a:avLst/>
              <a:gdLst>
                <a:gd name="T0" fmla="*/ 214 w 252"/>
                <a:gd name="T1" fmla="*/ 0 h 224"/>
                <a:gd name="T2" fmla="*/ 206 w 252"/>
                <a:gd name="T3" fmla="*/ 9 h 224"/>
                <a:gd name="T4" fmla="*/ 184 w 252"/>
                <a:gd name="T5" fmla="*/ 0 h 224"/>
                <a:gd name="T6" fmla="*/ 175 w 252"/>
                <a:gd name="T7" fmla="*/ 8 h 224"/>
                <a:gd name="T8" fmla="*/ 164 w 252"/>
                <a:gd name="T9" fmla="*/ 16 h 224"/>
                <a:gd name="T10" fmla="*/ 168 w 252"/>
                <a:gd name="T11" fmla="*/ 36 h 224"/>
                <a:gd name="T12" fmla="*/ 151 w 252"/>
                <a:gd name="T13" fmla="*/ 24 h 224"/>
                <a:gd name="T14" fmla="*/ 131 w 252"/>
                <a:gd name="T15" fmla="*/ 22 h 224"/>
                <a:gd name="T16" fmla="*/ 128 w 252"/>
                <a:gd name="T17" fmla="*/ 13 h 224"/>
                <a:gd name="T18" fmla="*/ 123 w 252"/>
                <a:gd name="T19" fmla="*/ 16 h 224"/>
                <a:gd name="T20" fmla="*/ 101 w 252"/>
                <a:gd name="T21" fmla="*/ 8 h 224"/>
                <a:gd name="T22" fmla="*/ 74 w 252"/>
                <a:gd name="T23" fmla="*/ 15 h 224"/>
                <a:gd name="T24" fmla="*/ 46 w 252"/>
                <a:gd name="T25" fmla="*/ 10 h 224"/>
                <a:gd name="T26" fmla="*/ 19 w 252"/>
                <a:gd name="T27" fmla="*/ 34 h 224"/>
                <a:gd name="T28" fmla="*/ 0 w 252"/>
                <a:gd name="T29" fmla="*/ 54 h 224"/>
                <a:gd name="T30" fmla="*/ 2 w 252"/>
                <a:gd name="T31" fmla="*/ 79 h 224"/>
                <a:gd name="T32" fmla="*/ 9 w 252"/>
                <a:gd name="T33" fmla="*/ 85 h 224"/>
                <a:gd name="T34" fmla="*/ 9 w 252"/>
                <a:gd name="T35" fmla="*/ 104 h 224"/>
                <a:gd name="T36" fmla="*/ 20 w 252"/>
                <a:gd name="T37" fmla="*/ 114 h 224"/>
                <a:gd name="T38" fmla="*/ 17 w 252"/>
                <a:gd name="T39" fmla="*/ 133 h 224"/>
                <a:gd name="T40" fmla="*/ 26 w 252"/>
                <a:gd name="T41" fmla="*/ 139 h 224"/>
                <a:gd name="T42" fmla="*/ 27 w 252"/>
                <a:gd name="T43" fmla="*/ 168 h 224"/>
                <a:gd name="T44" fmla="*/ 46 w 252"/>
                <a:gd name="T45" fmla="*/ 191 h 224"/>
                <a:gd name="T46" fmla="*/ 59 w 252"/>
                <a:gd name="T47" fmla="*/ 178 h 224"/>
                <a:gd name="T48" fmla="*/ 68 w 252"/>
                <a:gd name="T49" fmla="*/ 204 h 224"/>
                <a:gd name="T50" fmla="*/ 91 w 252"/>
                <a:gd name="T51" fmla="*/ 208 h 224"/>
                <a:gd name="T52" fmla="*/ 97 w 252"/>
                <a:gd name="T53" fmla="*/ 223 h 224"/>
                <a:gd name="T54" fmla="*/ 110 w 252"/>
                <a:gd name="T55" fmla="*/ 224 h 224"/>
                <a:gd name="T56" fmla="*/ 139 w 252"/>
                <a:gd name="T57" fmla="*/ 213 h 224"/>
                <a:gd name="T58" fmla="*/ 135 w 252"/>
                <a:gd name="T59" fmla="*/ 197 h 224"/>
                <a:gd name="T60" fmla="*/ 153 w 252"/>
                <a:gd name="T61" fmla="*/ 197 h 224"/>
                <a:gd name="T62" fmla="*/ 169 w 252"/>
                <a:gd name="T63" fmla="*/ 190 h 224"/>
                <a:gd name="T64" fmla="*/ 193 w 252"/>
                <a:gd name="T65" fmla="*/ 205 h 224"/>
                <a:gd name="T66" fmla="*/ 183 w 252"/>
                <a:gd name="T67" fmla="*/ 186 h 224"/>
                <a:gd name="T68" fmla="*/ 175 w 252"/>
                <a:gd name="T69" fmla="*/ 154 h 224"/>
                <a:gd name="T70" fmla="*/ 204 w 252"/>
                <a:gd name="T71" fmla="*/ 152 h 224"/>
                <a:gd name="T72" fmla="*/ 201 w 252"/>
                <a:gd name="T73" fmla="*/ 138 h 224"/>
                <a:gd name="T74" fmla="*/ 222 w 252"/>
                <a:gd name="T75" fmla="*/ 137 h 224"/>
                <a:gd name="T76" fmla="*/ 228 w 252"/>
                <a:gd name="T77" fmla="*/ 123 h 224"/>
                <a:gd name="T78" fmla="*/ 245 w 252"/>
                <a:gd name="T79" fmla="*/ 125 h 224"/>
                <a:gd name="T80" fmla="*/ 248 w 252"/>
                <a:gd name="T81" fmla="*/ 111 h 224"/>
                <a:gd name="T82" fmla="*/ 237 w 252"/>
                <a:gd name="T83" fmla="*/ 72 h 224"/>
                <a:gd name="T84" fmla="*/ 252 w 252"/>
                <a:gd name="T85" fmla="*/ 56 h 224"/>
                <a:gd name="T86" fmla="*/ 231 w 252"/>
                <a:gd name="T87" fmla="*/ 32 h 224"/>
                <a:gd name="T88" fmla="*/ 231 w 252"/>
                <a:gd name="T89" fmla="*/ 4 h 224"/>
                <a:gd name="T90" fmla="*/ 214 w 252"/>
                <a:gd name="T91"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2" h="224">
                  <a:moveTo>
                    <a:pt x="214" y="0"/>
                  </a:moveTo>
                  <a:cubicBezTo>
                    <a:pt x="206" y="9"/>
                    <a:pt x="206" y="9"/>
                    <a:pt x="206" y="9"/>
                  </a:cubicBezTo>
                  <a:cubicBezTo>
                    <a:pt x="184" y="0"/>
                    <a:pt x="184" y="0"/>
                    <a:pt x="184" y="0"/>
                  </a:cubicBezTo>
                  <a:cubicBezTo>
                    <a:pt x="175" y="8"/>
                    <a:pt x="175" y="8"/>
                    <a:pt x="175" y="8"/>
                  </a:cubicBezTo>
                  <a:cubicBezTo>
                    <a:pt x="164" y="16"/>
                    <a:pt x="164" y="16"/>
                    <a:pt x="164" y="16"/>
                  </a:cubicBezTo>
                  <a:cubicBezTo>
                    <a:pt x="164" y="16"/>
                    <a:pt x="176" y="28"/>
                    <a:pt x="168" y="36"/>
                  </a:cubicBezTo>
                  <a:cubicBezTo>
                    <a:pt x="160" y="44"/>
                    <a:pt x="151" y="24"/>
                    <a:pt x="151" y="24"/>
                  </a:cubicBezTo>
                  <a:cubicBezTo>
                    <a:pt x="151" y="24"/>
                    <a:pt x="135" y="23"/>
                    <a:pt x="131" y="22"/>
                  </a:cubicBezTo>
                  <a:cubicBezTo>
                    <a:pt x="128" y="21"/>
                    <a:pt x="128" y="16"/>
                    <a:pt x="128" y="13"/>
                  </a:cubicBezTo>
                  <a:cubicBezTo>
                    <a:pt x="125" y="15"/>
                    <a:pt x="123" y="16"/>
                    <a:pt x="123" y="16"/>
                  </a:cubicBezTo>
                  <a:cubicBezTo>
                    <a:pt x="123" y="16"/>
                    <a:pt x="106" y="7"/>
                    <a:pt x="101" y="8"/>
                  </a:cubicBezTo>
                  <a:cubicBezTo>
                    <a:pt x="96" y="9"/>
                    <a:pt x="74" y="15"/>
                    <a:pt x="74" y="15"/>
                  </a:cubicBezTo>
                  <a:cubicBezTo>
                    <a:pt x="74" y="15"/>
                    <a:pt x="73" y="5"/>
                    <a:pt x="46" y="10"/>
                  </a:cubicBezTo>
                  <a:cubicBezTo>
                    <a:pt x="19" y="15"/>
                    <a:pt x="19" y="34"/>
                    <a:pt x="19" y="34"/>
                  </a:cubicBezTo>
                  <a:cubicBezTo>
                    <a:pt x="0" y="54"/>
                    <a:pt x="0" y="54"/>
                    <a:pt x="0" y="54"/>
                  </a:cubicBezTo>
                  <a:cubicBezTo>
                    <a:pt x="2" y="79"/>
                    <a:pt x="2" y="79"/>
                    <a:pt x="2" y="79"/>
                  </a:cubicBezTo>
                  <a:cubicBezTo>
                    <a:pt x="9" y="85"/>
                    <a:pt x="9" y="85"/>
                    <a:pt x="9" y="85"/>
                  </a:cubicBezTo>
                  <a:cubicBezTo>
                    <a:pt x="9" y="104"/>
                    <a:pt x="9" y="104"/>
                    <a:pt x="9" y="104"/>
                  </a:cubicBezTo>
                  <a:cubicBezTo>
                    <a:pt x="20" y="114"/>
                    <a:pt x="20" y="114"/>
                    <a:pt x="20" y="114"/>
                  </a:cubicBezTo>
                  <a:cubicBezTo>
                    <a:pt x="17" y="133"/>
                    <a:pt x="17" y="133"/>
                    <a:pt x="17" y="133"/>
                  </a:cubicBezTo>
                  <a:cubicBezTo>
                    <a:pt x="20" y="134"/>
                    <a:pt x="23" y="136"/>
                    <a:pt x="26" y="139"/>
                  </a:cubicBezTo>
                  <a:cubicBezTo>
                    <a:pt x="41" y="156"/>
                    <a:pt x="27" y="168"/>
                    <a:pt x="27" y="168"/>
                  </a:cubicBezTo>
                  <a:cubicBezTo>
                    <a:pt x="27" y="168"/>
                    <a:pt x="36" y="190"/>
                    <a:pt x="46" y="191"/>
                  </a:cubicBezTo>
                  <a:cubicBezTo>
                    <a:pt x="56" y="191"/>
                    <a:pt x="59" y="178"/>
                    <a:pt x="59" y="178"/>
                  </a:cubicBezTo>
                  <a:cubicBezTo>
                    <a:pt x="59" y="178"/>
                    <a:pt x="58" y="202"/>
                    <a:pt x="68" y="204"/>
                  </a:cubicBezTo>
                  <a:cubicBezTo>
                    <a:pt x="79" y="206"/>
                    <a:pt x="89" y="198"/>
                    <a:pt x="91" y="208"/>
                  </a:cubicBezTo>
                  <a:cubicBezTo>
                    <a:pt x="92" y="212"/>
                    <a:pt x="95" y="218"/>
                    <a:pt x="97" y="223"/>
                  </a:cubicBezTo>
                  <a:cubicBezTo>
                    <a:pt x="110" y="224"/>
                    <a:pt x="110" y="224"/>
                    <a:pt x="110" y="224"/>
                  </a:cubicBezTo>
                  <a:cubicBezTo>
                    <a:pt x="112" y="219"/>
                    <a:pt x="124" y="214"/>
                    <a:pt x="139" y="213"/>
                  </a:cubicBezTo>
                  <a:cubicBezTo>
                    <a:pt x="159" y="211"/>
                    <a:pt x="135" y="197"/>
                    <a:pt x="135" y="197"/>
                  </a:cubicBezTo>
                  <a:cubicBezTo>
                    <a:pt x="135" y="197"/>
                    <a:pt x="149" y="197"/>
                    <a:pt x="153" y="197"/>
                  </a:cubicBezTo>
                  <a:cubicBezTo>
                    <a:pt x="157" y="197"/>
                    <a:pt x="159" y="190"/>
                    <a:pt x="169" y="190"/>
                  </a:cubicBezTo>
                  <a:cubicBezTo>
                    <a:pt x="179" y="190"/>
                    <a:pt x="186" y="206"/>
                    <a:pt x="193" y="205"/>
                  </a:cubicBezTo>
                  <a:cubicBezTo>
                    <a:pt x="200" y="204"/>
                    <a:pt x="193" y="194"/>
                    <a:pt x="183" y="186"/>
                  </a:cubicBezTo>
                  <a:cubicBezTo>
                    <a:pt x="173" y="178"/>
                    <a:pt x="173" y="160"/>
                    <a:pt x="175" y="154"/>
                  </a:cubicBezTo>
                  <a:cubicBezTo>
                    <a:pt x="177" y="148"/>
                    <a:pt x="204" y="152"/>
                    <a:pt x="204" y="152"/>
                  </a:cubicBezTo>
                  <a:cubicBezTo>
                    <a:pt x="201" y="138"/>
                    <a:pt x="201" y="138"/>
                    <a:pt x="201" y="138"/>
                  </a:cubicBezTo>
                  <a:cubicBezTo>
                    <a:pt x="222" y="137"/>
                    <a:pt x="222" y="137"/>
                    <a:pt x="222" y="137"/>
                  </a:cubicBezTo>
                  <a:cubicBezTo>
                    <a:pt x="222" y="137"/>
                    <a:pt x="223" y="126"/>
                    <a:pt x="228" y="123"/>
                  </a:cubicBezTo>
                  <a:cubicBezTo>
                    <a:pt x="233" y="120"/>
                    <a:pt x="245" y="125"/>
                    <a:pt x="245" y="125"/>
                  </a:cubicBezTo>
                  <a:cubicBezTo>
                    <a:pt x="248" y="111"/>
                    <a:pt x="248" y="111"/>
                    <a:pt x="248" y="111"/>
                  </a:cubicBezTo>
                  <a:cubicBezTo>
                    <a:pt x="248" y="111"/>
                    <a:pt x="238" y="75"/>
                    <a:pt x="237" y="72"/>
                  </a:cubicBezTo>
                  <a:cubicBezTo>
                    <a:pt x="236" y="69"/>
                    <a:pt x="252" y="69"/>
                    <a:pt x="252" y="56"/>
                  </a:cubicBezTo>
                  <a:cubicBezTo>
                    <a:pt x="252" y="43"/>
                    <a:pt x="231" y="32"/>
                    <a:pt x="231" y="32"/>
                  </a:cubicBezTo>
                  <a:cubicBezTo>
                    <a:pt x="231" y="4"/>
                    <a:pt x="231" y="4"/>
                    <a:pt x="231" y="4"/>
                  </a:cubicBezTo>
                  <a:lnTo>
                    <a:pt x="214" y="0"/>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69" name="Freeform 30"/>
            <p:cNvSpPr>
              <a:spLocks noEditPoints="1"/>
            </p:cNvSpPr>
            <p:nvPr/>
          </p:nvSpPr>
          <p:spPr bwMode="gray">
            <a:xfrm>
              <a:off x="7389813" y="2817813"/>
              <a:ext cx="106362" cy="158750"/>
            </a:xfrm>
            <a:custGeom>
              <a:avLst/>
              <a:gdLst>
                <a:gd name="T0" fmla="*/ 100 w 191"/>
                <a:gd name="T1" fmla="*/ 267 h 284"/>
                <a:gd name="T2" fmla="*/ 101 w 191"/>
                <a:gd name="T3" fmla="*/ 284 h 284"/>
                <a:gd name="T4" fmla="*/ 100 w 191"/>
                <a:gd name="T5" fmla="*/ 267 h 284"/>
                <a:gd name="T6" fmla="*/ 185 w 191"/>
                <a:gd name="T7" fmla="*/ 165 h 284"/>
                <a:gd name="T8" fmla="*/ 166 w 191"/>
                <a:gd name="T9" fmla="*/ 132 h 284"/>
                <a:gd name="T10" fmla="*/ 162 w 191"/>
                <a:gd name="T11" fmla="*/ 101 h 284"/>
                <a:gd name="T12" fmla="*/ 111 w 191"/>
                <a:gd name="T13" fmla="*/ 50 h 284"/>
                <a:gd name="T14" fmla="*/ 98 w 191"/>
                <a:gd name="T15" fmla="*/ 45 h 284"/>
                <a:gd name="T16" fmla="*/ 82 w 191"/>
                <a:gd name="T17" fmla="*/ 21 h 284"/>
                <a:gd name="T18" fmla="*/ 64 w 191"/>
                <a:gd name="T19" fmla="*/ 0 h 284"/>
                <a:gd name="T20" fmla="*/ 54 w 191"/>
                <a:gd name="T21" fmla="*/ 10 h 284"/>
                <a:gd name="T22" fmla="*/ 16 w 191"/>
                <a:gd name="T23" fmla="*/ 16 h 284"/>
                <a:gd name="T24" fmla="*/ 13 w 191"/>
                <a:gd name="T25" fmla="*/ 29 h 284"/>
                <a:gd name="T26" fmla="*/ 0 w 191"/>
                <a:gd name="T27" fmla="*/ 39 h 284"/>
                <a:gd name="T28" fmla="*/ 8 w 191"/>
                <a:gd name="T29" fmla="*/ 56 h 284"/>
                <a:gd name="T30" fmla="*/ 30 w 191"/>
                <a:gd name="T31" fmla="*/ 64 h 284"/>
                <a:gd name="T32" fmla="*/ 41 w 191"/>
                <a:gd name="T33" fmla="*/ 89 h 284"/>
                <a:gd name="T34" fmla="*/ 6 w 191"/>
                <a:gd name="T35" fmla="*/ 82 h 284"/>
                <a:gd name="T36" fmla="*/ 27 w 191"/>
                <a:gd name="T37" fmla="*/ 102 h 284"/>
                <a:gd name="T38" fmla="*/ 37 w 191"/>
                <a:gd name="T39" fmla="*/ 130 h 284"/>
                <a:gd name="T40" fmla="*/ 60 w 191"/>
                <a:gd name="T41" fmla="*/ 134 h 284"/>
                <a:gd name="T42" fmla="*/ 60 w 191"/>
                <a:gd name="T43" fmla="*/ 153 h 284"/>
                <a:gd name="T44" fmla="*/ 54 w 191"/>
                <a:gd name="T45" fmla="*/ 180 h 284"/>
                <a:gd name="T46" fmla="*/ 74 w 191"/>
                <a:gd name="T47" fmla="*/ 199 h 284"/>
                <a:gd name="T48" fmla="*/ 80 w 191"/>
                <a:gd name="T49" fmla="*/ 222 h 284"/>
                <a:gd name="T50" fmla="*/ 100 w 191"/>
                <a:gd name="T51" fmla="*/ 203 h 284"/>
                <a:gd name="T52" fmla="*/ 133 w 191"/>
                <a:gd name="T53" fmla="*/ 188 h 284"/>
                <a:gd name="T54" fmla="*/ 150 w 191"/>
                <a:gd name="T55" fmla="*/ 193 h 284"/>
                <a:gd name="T56" fmla="*/ 155 w 191"/>
                <a:gd name="T57" fmla="*/ 181 h 284"/>
                <a:gd name="T58" fmla="*/ 185 w 191"/>
                <a:gd name="T59" fmla="*/ 165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91" h="284">
                  <a:moveTo>
                    <a:pt x="100" y="267"/>
                  </a:moveTo>
                  <a:cubicBezTo>
                    <a:pt x="76" y="275"/>
                    <a:pt x="86" y="284"/>
                    <a:pt x="101" y="284"/>
                  </a:cubicBezTo>
                  <a:cubicBezTo>
                    <a:pt x="120" y="284"/>
                    <a:pt x="124" y="259"/>
                    <a:pt x="100" y="267"/>
                  </a:cubicBezTo>
                  <a:close/>
                  <a:moveTo>
                    <a:pt x="185" y="165"/>
                  </a:moveTo>
                  <a:cubicBezTo>
                    <a:pt x="179" y="146"/>
                    <a:pt x="166" y="132"/>
                    <a:pt x="166" y="132"/>
                  </a:cubicBezTo>
                  <a:cubicBezTo>
                    <a:pt x="166" y="132"/>
                    <a:pt x="171" y="115"/>
                    <a:pt x="162" y="101"/>
                  </a:cubicBezTo>
                  <a:cubicBezTo>
                    <a:pt x="153" y="87"/>
                    <a:pt x="111" y="50"/>
                    <a:pt x="111" y="50"/>
                  </a:cubicBezTo>
                  <a:cubicBezTo>
                    <a:pt x="98" y="45"/>
                    <a:pt x="98" y="45"/>
                    <a:pt x="98" y="45"/>
                  </a:cubicBezTo>
                  <a:cubicBezTo>
                    <a:pt x="98" y="45"/>
                    <a:pt x="94" y="34"/>
                    <a:pt x="82" y="21"/>
                  </a:cubicBezTo>
                  <a:cubicBezTo>
                    <a:pt x="76" y="14"/>
                    <a:pt x="69" y="6"/>
                    <a:pt x="64" y="0"/>
                  </a:cubicBezTo>
                  <a:cubicBezTo>
                    <a:pt x="54" y="10"/>
                    <a:pt x="54" y="10"/>
                    <a:pt x="54" y="10"/>
                  </a:cubicBezTo>
                  <a:cubicBezTo>
                    <a:pt x="54" y="10"/>
                    <a:pt x="30" y="9"/>
                    <a:pt x="16" y="16"/>
                  </a:cubicBezTo>
                  <a:cubicBezTo>
                    <a:pt x="2" y="24"/>
                    <a:pt x="14" y="26"/>
                    <a:pt x="13" y="29"/>
                  </a:cubicBezTo>
                  <a:cubicBezTo>
                    <a:pt x="12" y="32"/>
                    <a:pt x="0" y="39"/>
                    <a:pt x="0" y="39"/>
                  </a:cubicBezTo>
                  <a:cubicBezTo>
                    <a:pt x="0" y="39"/>
                    <a:pt x="1" y="50"/>
                    <a:pt x="8" y="56"/>
                  </a:cubicBezTo>
                  <a:cubicBezTo>
                    <a:pt x="15" y="62"/>
                    <a:pt x="30" y="64"/>
                    <a:pt x="30" y="64"/>
                  </a:cubicBezTo>
                  <a:cubicBezTo>
                    <a:pt x="41" y="89"/>
                    <a:pt x="41" y="89"/>
                    <a:pt x="41" y="89"/>
                  </a:cubicBezTo>
                  <a:cubicBezTo>
                    <a:pt x="41" y="89"/>
                    <a:pt x="7" y="75"/>
                    <a:pt x="6" y="82"/>
                  </a:cubicBezTo>
                  <a:cubicBezTo>
                    <a:pt x="5" y="89"/>
                    <a:pt x="27" y="102"/>
                    <a:pt x="27" y="102"/>
                  </a:cubicBezTo>
                  <a:cubicBezTo>
                    <a:pt x="37" y="130"/>
                    <a:pt x="37" y="130"/>
                    <a:pt x="37" y="130"/>
                  </a:cubicBezTo>
                  <a:cubicBezTo>
                    <a:pt x="60" y="134"/>
                    <a:pt x="60" y="134"/>
                    <a:pt x="60" y="134"/>
                  </a:cubicBezTo>
                  <a:cubicBezTo>
                    <a:pt x="60" y="153"/>
                    <a:pt x="60" y="153"/>
                    <a:pt x="60" y="153"/>
                  </a:cubicBezTo>
                  <a:cubicBezTo>
                    <a:pt x="60" y="153"/>
                    <a:pt x="49" y="161"/>
                    <a:pt x="54" y="180"/>
                  </a:cubicBezTo>
                  <a:cubicBezTo>
                    <a:pt x="59" y="199"/>
                    <a:pt x="74" y="199"/>
                    <a:pt x="74" y="199"/>
                  </a:cubicBezTo>
                  <a:cubicBezTo>
                    <a:pt x="74" y="199"/>
                    <a:pt x="61" y="225"/>
                    <a:pt x="80" y="222"/>
                  </a:cubicBezTo>
                  <a:cubicBezTo>
                    <a:pt x="99" y="219"/>
                    <a:pt x="100" y="203"/>
                    <a:pt x="100" y="203"/>
                  </a:cubicBezTo>
                  <a:cubicBezTo>
                    <a:pt x="133" y="188"/>
                    <a:pt x="133" y="188"/>
                    <a:pt x="133" y="188"/>
                  </a:cubicBezTo>
                  <a:cubicBezTo>
                    <a:pt x="150" y="193"/>
                    <a:pt x="150" y="193"/>
                    <a:pt x="150" y="193"/>
                  </a:cubicBezTo>
                  <a:cubicBezTo>
                    <a:pt x="155" y="181"/>
                    <a:pt x="155" y="181"/>
                    <a:pt x="155" y="181"/>
                  </a:cubicBezTo>
                  <a:cubicBezTo>
                    <a:pt x="155" y="181"/>
                    <a:pt x="191" y="184"/>
                    <a:pt x="185" y="165"/>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70" name="Freeform 31"/>
            <p:cNvSpPr>
              <a:spLocks/>
            </p:cNvSpPr>
            <p:nvPr/>
          </p:nvSpPr>
          <p:spPr bwMode="gray">
            <a:xfrm>
              <a:off x="6853238" y="3298825"/>
              <a:ext cx="227012" cy="263525"/>
            </a:xfrm>
            <a:custGeom>
              <a:avLst/>
              <a:gdLst>
                <a:gd name="T0" fmla="*/ 28 w 404"/>
                <a:gd name="T1" fmla="*/ 124 h 470"/>
                <a:gd name="T2" fmla="*/ 47 w 404"/>
                <a:gd name="T3" fmla="*/ 163 h 470"/>
                <a:gd name="T4" fmla="*/ 68 w 404"/>
                <a:gd name="T5" fmla="*/ 160 h 470"/>
                <a:gd name="T6" fmla="*/ 74 w 404"/>
                <a:gd name="T7" fmla="*/ 196 h 470"/>
                <a:gd name="T8" fmla="*/ 73 w 404"/>
                <a:gd name="T9" fmla="*/ 224 h 470"/>
                <a:gd name="T10" fmla="*/ 88 w 404"/>
                <a:gd name="T11" fmla="*/ 254 h 470"/>
                <a:gd name="T12" fmla="*/ 143 w 404"/>
                <a:gd name="T13" fmla="*/ 245 h 470"/>
                <a:gd name="T14" fmla="*/ 187 w 404"/>
                <a:gd name="T15" fmla="*/ 228 h 470"/>
                <a:gd name="T16" fmla="*/ 215 w 404"/>
                <a:gd name="T17" fmla="*/ 247 h 470"/>
                <a:gd name="T18" fmla="*/ 248 w 404"/>
                <a:gd name="T19" fmla="*/ 298 h 470"/>
                <a:gd name="T20" fmla="*/ 283 w 404"/>
                <a:gd name="T21" fmla="*/ 347 h 470"/>
                <a:gd name="T22" fmla="*/ 294 w 404"/>
                <a:gd name="T23" fmla="*/ 367 h 470"/>
                <a:gd name="T24" fmla="*/ 302 w 404"/>
                <a:gd name="T25" fmla="*/ 425 h 470"/>
                <a:gd name="T26" fmla="*/ 290 w 404"/>
                <a:gd name="T27" fmla="*/ 448 h 470"/>
                <a:gd name="T28" fmla="*/ 327 w 404"/>
                <a:gd name="T29" fmla="*/ 462 h 470"/>
                <a:gd name="T30" fmla="*/ 334 w 404"/>
                <a:gd name="T31" fmla="*/ 434 h 470"/>
                <a:gd name="T32" fmla="*/ 365 w 404"/>
                <a:gd name="T33" fmla="*/ 435 h 470"/>
                <a:gd name="T34" fmla="*/ 390 w 404"/>
                <a:gd name="T35" fmla="*/ 430 h 470"/>
                <a:gd name="T36" fmla="*/ 391 w 404"/>
                <a:gd name="T37" fmla="*/ 410 h 470"/>
                <a:gd name="T38" fmla="*/ 369 w 404"/>
                <a:gd name="T39" fmla="*/ 369 h 470"/>
                <a:gd name="T40" fmla="*/ 361 w 404"/>
                <a:gd name="T41" fmla="*/ 331 h 470"/>
                <a:gd name="T42" fmla="*/ 334 w 404"/>
                <a:gd name="T43" fmla="*/ 299 h 470"/>
                <a:gd name="T44" fmla="*/ 319 w 404"/>
                <a:gd name="T45" fmla="*/ 289 h 470"/>
                <a:gd name="T46" fmla="*/ 285 w 404"/>
                <a:gd name="T47" fmla="*/ 236 h 470"/>
                <a:gd name="T48" fmla="*/ 256 w 404"/>
                <a:gd name="T49" fmla="*/ 203 h 470"/>
                <a:gd name="T50" fmla="*/ 193 w 404"/>
                <a:gd name="T51" fmla="*/ 168 h 470"/>
                <a:gd name="T52" fmla="*/ 218 w 404"/>
                <a:gd name="T53" fmla="*/ 156 h 470"/>
                <a:gd name="T54" fmla="*/ 212 w 404"/>
                <a:gd name="T55" fmla="*/ 112 h 470"/>
                <a:gd name="T56" fmla="*/ 184 w 404"/>
                <a:gd name="T57" fmla="*/ 79 h 470"/>
                <a:gd name="T58" fmla="*/ 160 w 404"/>
                <a:gd name="T59" fmla="*/ 90 h 470"/>
                <a:gd name="T60" fmla="*/ 128 w 404"/>
                <a:gd name="T61" fmla="*/ 63 h 470"/>
                <a:gd name="T62" fmla="*/ 118 w 404"/>
                <a:gd name="T63" fmla="*/ 40 h 470"/>
                <a:gd name="T64" fmla="*/ 91 w 404"/>
                <a:gd name="T65" fmla="*/ 2 h 470"/>
                <a:gd name="T66" fmla="*/ 60 w 404"/>
                <a:gd name="T67" fmla="*/ 22 h 470"/>
                <a:gd name="T68" fmla="*/ 79 w 404"/>
                <a:gd name="T69" fmla="*/ 72 h 470"/>
                <a:gd name="T70" fmla="*/ 48 w 404"/>
                <a:gd name="T71" fmla="*/ 57 h 470"/>
                <a:gd name="T72" fmla="*/ 26 w 404"/>
                <a:gd name="T73" fmla="*/ 74 h 470"/>
                <a:gd name="T74" fmla="*/ 26 w 404"/>
                <a:gd name="T75" fmla="*/ 89 h 470"/>
                <a:gd name="T76" fmla="*/ 2 w 404"/>
                <a:gd name="T77" fmla="*/ 110 h 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4" h="470">
                  <a:moveTo>
                    <a:pt x="17" y="121"/>
                  </a:moveTo>
                  <a:cubicBezTo>
                    <a:pt x="17" y="121"/>
                    <a:pt x="27" y="116"/>
                    <a:pt x="28" y="124"/>
                  </a:cubicBezTo>
                  <a:cubicBezTo>
                    <a:pt x="29" y="132"/>
                    <a:pt x="22" y="153"/>
                    <a:pt x="28" y="158"/>
                  </a:cubicBezTo>
                  <a:cubicBezTo>
                    <a:pt x="34" y="163"/>
                    <a:pt x="47" y="163"/>
                    <a:pt x="47" y="163"/>
                  </a:cubicBezTo>
                  <a:cubicBezTo>
                    <a:pt x="45" y="155"/>
                    <a:pt x="45" y="155"/>
                    <a:pt x="45" y="155"/>
                  </a:cubicBezTo>
                  <a:cubicBezTo>
                    <a:pt x="45" y="155"/>
                    <a:pt x="68" y="146"/>
                    <a:pt x="68" y="160"/>
                  </a:cubicBezTo>
                  <a:cubicBezTo>
                    <a:pt x="68" y="174"/>
                    <a:pt x="66" y="180"/>
                    <a:pt x="66" y="180"/>
                  </a:cubicBezTo>
                  <a:cubicBezTo>
                    <a:pt x="66" y="180"/>
                    <a:pt x="74" y="187"/>
                    <a:pt x="74" y="196"/>
                  </a:cubicBezTo>
                  <a:cubicBezTo>
                    <a:pt x="74" y="205"/>
                    <a:pt x="60" y="216"/>
                    <a:pt x="60" y="216"/>
                  </a:cubicBezTo>
                  <a:cubicBezTo>
                    <a:pt x="60" y="216"/>
                    <a:pt x="73" y="215"/>
                    <a:pt x="73" y="224"/>
                  </a:cubicBezTo>
                  <a:cubicBezTo>
                    <a:pt x="73" y="233"/>
                    <a:pt x="49" y="264"/>
                    <a:pt x="59" y="267"/>
                  </a:cubicBezTo>
                  <a:cubicBezTo>
                    <a:pt x="69" y="270"/>
                    <a:pt x="88" y="254"/>
                    <a:pt x="88" y="254"/>
                  </a:cubicBezTo>
                  <a:cubicBezTo>
                    <a:pt x="88" y="254"/>
                    <a:pt x="101" y="229"/>
                    <a:pt x="108" y="231"/>
                  </a:cubicBezTo>
                  <a:cubicBezTo>
                    <a:pt x="115" y="233"/>
                    <a:pt x="129" y="244"/>
                    <a:pt x="143" y="245"/>
                  </a:cubicBezTo>
                  <a:cubicBezTo>
                    <a:pt x="157" y="246"/>
                    <a:pt x="154" y="221"/>
                    <a:pt x="164" y="220"/>
                  </a:cubicBezTo>
                  <a:cubicBezTo>
                    <a:pt x="174" y="219"/>
                    <a:pt x="187" y="228"/>
                    <a:pt x="187" y="228"/>
                  </a:cubicBezTo>
                  <a:cubicBezTo>
                    <a:pt x="187" y="228"/>
                    <a:pt x="194" y="226"/>
                    <a:pt x="202" y="228"/>
                  </a:cubicBezTo>
                  <a:cubicBezTo>
                    <a:pt x="210" y="230"/>
                    <a:pt x="197" y="236"/>
                    <a:pt x="215" y="247"/>
                  </a:cubicBezTo>
                  <a:cubicBezTo>
                    <a:pt x="233" y="258"/>
                    <a:pt x="247" y="270"/>
                    <a:pt x="247" y="270"/>
                  </a:cubicBezTo>
                  <a:cubicBezTo>
                    <a:pt x="248" y="298"/>
                    <a:pt x="248" y="298"/>
                    <a:pt x="248" y="298"/>
                  </a:cubicBezTo>
                  <a:cubicBezTo>
                    <a:pt x="248" y="298"/>
                    <a:pt x="255" y="318"/>
                    <a:pt x="260" y="327"/>
                  </a:cubicBezTo>
                  <a:cubicBezTo>
                    <a:pt x="265" y="336"/>
                    <a:pt x="283" y="343"/>
                    <a:pt x="283" y="347"/>
                  </a:cubicBezTo>
                  <a:cubicBezTo>
                    <a:pt x="283" y="351"/>
                    <a:pt x="285" y="364"/>
                    <a:pt x="285" y="364"/>
                  </a:cubicBezTo>
                  <a:cubicBezTo>
                    <a:pt x="285" y="364"/>
                    <a:pt x="288" y="357"/>
                    <a:pt x="294" y="367"/>
                  </a:cubicBezTo>
                  <a:cubicBezTo>
                    <a:pt x="300" y="377"/>
                    <a:pt x="285" y="390"/>
                    <a:pt x="287" y="394"/>
                  </a:cubicBezTo>
                  <a:cubicBezTo>
                    <a:pt x="289" y="398"/>
                    <a:pt x="312" y="413"/>
                    <a:pt x="302" y="425"/>
                  </a:cubicBezTo>
                  <a:cubicBezTo>
                    <a:pt x="296" y="432"/>
                    <a:pt x="291" y="436"/>
                    <a:pt x="287" y="439"/>
                  </a:cubicBezTo>
                  <a:cubicBezTo>
                    <a:pt x="287" y="442"/>
                    <a:pt x="287" y="447"/>
                    <a:pt x="290" y="448"/>
                  </a:cubicBezTo>
                  <a:cubicBezTo>
                    <a:pt x="294" y="449"/>
                    <a:pt x="310" y="450"/>
                    <a:pt x="310" y="450"/>
                  </a:cubicBezTo>
                  <a:cubicBezTo>
                    <a:pt x="310" y="450"/>
                    <a:pt x="319" y="470"/>
                    <a:pt x="327" y="462"/>
                  </a:cubicBezTo>
                  <a:cubicBezTo>
                    <a:pt x="335" y="454"/>
                    <a:pt x="323" y="442"/>
                    <a:pt x="323" y="442"/>
                  </a:cubicBezTo>
                  <a:cubicBezTo>
                    <a:pt x="334" y="434"/>
                    <a:pt x="334" y="434"/>
                    <a:pt x="334" y="434"/>
                  </a:cubicBezTo>
                  <a:cubicBezTo>
                    <a:pt x="343" y="426"/>
                    <a:pt x="343" y="426"/>
                    <a:pt x="343" y="426"/>
                  </a:cubicBezTo>
                  <a:cubicBezTo>
                    <a:pt x="365" y="435"/>
                    <a:pt x="365" y="435"/>
                    <a:pt x="365" y="435"/>
                  </a:cubicBezTo>
                  <a:cubicBezTo>
                    <a:pt x="373" y="426"/>
                    <a:pt x="373" y="426"/>
                    <a:pt x="373" y="426"/>
                  </a:cubicBezTo>
                  <a:cubicBezTo>
                    <a:pt x="390" y="430"/>
                    <a:pt x="390" y="430"/>
                    <a:pt x="390" y="430"/>
                  </a:cubicBezTo>
                  <a:cubicBezTo>
                    <a:pt x="390" y="430"/>
                    <a:pt x="396" y="431"/>
                    <a:pt x="400" y="423"/>
                  </a:cubicBezTo>
                  <a:cubicBezTo>
                    <a:pt x="404" y="415"/>
                    <a:pt x="391" y="410"/>
                    <a:pt x="391" y="410"/>
                  </a:cubicBezTo>
                  <a:cubicBezTo>
                    <a:pt x="402" y="389"/>
                    <a:pt x="402" y="389"/>
                    <a:pt x="402" y="389"/>
                  </a:cubicBezTo>
                  <a:cubicBezTo>
                    <a:pt x="402" y="389"/>
                    <a:pt x="383" y="380"/>
                    <a:pt x="369" y="369"/>
                  </a:cubicBezTo>
                  <a:cubicBezTo>
                    <a:pt x="355" y="358"/>
                    <a:pt x="369" y="355"/>
                    <a:pt x="377" y="350"/>
                  </a:cubicBezTo>
                  <a:cubicBezTo>
                    <a:pt x="385" y="345"/>
                    <a:pt x="361" y="331"/>
                    <a:pt x="361" y="331"/>
                  </a:cubicBezTo>
                  <a:cubicBezTo>
                    <a:pt x="361" y="331"/>
                    <a:pt x="351" y="330"/>
                    <a:pt x="344" y="323"/>
                  </a:cubicBezTo>
                  <a:cubicBezTo>
                    <a:pt x="337" y="316"/>
                    <a:pt x="334" y="299"/>
                    <a:pt x="334" y="299"/>
                  </a:cubicBezTo>
                  <a:cubicBezTo>
                    <a:pt x="320" y="300"/>
                    <a:pt x="320" y="300"/>
                    <a:pt x="320" y="300"/>
                  </a:cubicBezTo>
                  <a:cubicBezTo>
                    <a:pt x="319" y="289"/>
                    <a:pt x="319" y="289"/>
                    <a:pt x="319" y="289"/>
                  </a:cubicBezTo>
                  <a:cubicBezTo>
                    <a:pt x="319" y="289"/>
                    <a:pt x="308" y="278"/>
                    <a:pt x="295" y="267"/>
                  </a:cubicBezTo>
                  <a:cubicBezTo>
                    <a:pt x="282" y="256"/>
                    <a:pt x="285" y="236"/>
                    <a:pt x="285" y="236"/>
                  </a:cubicBezTo>
                  <a:cubicBezTo>
                    <a:pt x="285" y="236"/>
                    <a:pt x="263" y="228"/>
                    <a:pt x="259" y="224"/>
                  </a:cubicBezTo>
                  <a:cubicBezTo>
                    <a:pt x="255" y="220"/>
                    <a:pt x="256" y="203"/>
                    <a:pt x="256" y="203"/>
                  </a:cubicBezTo>
                  <a:cubicBezTo>
                    <a:pt x="256" y="203"/>
                    <a:pt x="238" y="198"/>
                    <a:pt x="232" y="193"/>
                  </a:cubicBezTo>
                  <a:cubicBezTo>
                    <a:pt x="226" y="188"/>
                    <a:pt x="193" y="168"/>
                    <a:pt x="193" y="168"/>
                  </a:cubicBezTo>
                  <a:cubicBezTo>
                    <a:pt x="193" y="168"/>
                    <a:pt x="193" y="156"/>
                    <a:pt x="191" y="152"/>
                  </a:cubicBezTo>
                  <a:cubicBezTo>
                    <a:pt x="189" y="148"/>
                    <a:pt x="218" y="156"/>
                    <a:pt x="218" y="156"/>
                  </a:cubicBezTo>
                  <a:cubicBezTo>
                    <a:pt x="218" y="156"/>
                    <a:pt x="237" y="142"/>
                    <a:pt x="243" y="132"/>
                  </a:cubicBezTo>
                  <a:cubicBezTo>
                    <a:pt x="249" y="122"/>
                    <a:pt x="230" y="120"/>
                    <a:pt x="212" y="112"/>
                  </a:cubicBezTo>
                  <a:cubicBezTo>
                    <a:pt x="194" y="104"/>
                    <a:pt x="214" y="98"/>
                    <a:pt x="214" y="98"/>
                  </a:cubicBezTo>
                  <a:cubicBezTo>
                    <a:pt x="214" y="98"/>
                    <a:pt x="192" y="80"/>
                    <a:pt x="184" y="79"/>
                  </a:cubicBezTo>
                  <a:cubicBezTo>
                    <a:pt x="176" y="78"/>
                    <a:pt x="179" y="90"/>
                    <a:pt x="172" y="98"/>
                  </a:cubicBezTo>
                  <a:cubicBezTo>
                    <a:pt x="165" y="106"/>
                    <a:pt x="160" y="90"/>
                    <a:pt x="160" y="90"/>
                  </a:cubicBezTo>
                  <a:cubicBezTo>
                    <a:pt x="151" y="90"/>
                    <a:pt x="151" y="90"/>
                    <a:pt x="151" y="90"/>
                  </a:cubicBezTo>
                  <a:cubicBezTo>
                    <a:pt x="151" y="90"/>
                    <a:pt x="138" y="76"/>
                    <a:pt x="128" y="63"/>
                  </a:cubicBezTo>
                  <a:cubicBezTo>
                    <a:pt x="118" y="50"/>
                    <a:pt x="131" y="41"/>
                    <a:pt x="127" y="37"/>
                  </a:cubicBezTo>
                  <a:cubicBezTo>
                    <a:pt x="123" y="33"/>
                    <a:pt x="118" y="40"/>
                    <a:pt x="118" y="40"/>
                  </a:cubicBezTo>
                  <a:cubicBezTo>
                    <a:pt x="118" y="40"/>
                    <a:pt x="102" y="22"/>
                    <a:pt x="96" y="15"/>
                  </a:cubicBezTo>
                  <a:cubicBezTo>
                    <a:pt x="93" y="12"/>
                    <a:pt x="92" y="7"/>
                    <a:pt x="91" y="2"/>
                  </a:cubicBezTo>
                  <a:cubicBezTo>
                    <a:pt x="67" y="0"/>
                    <a:pt x="67" y="0"/>
                    <a:pt x="67" y="0"/>
                  </a:cubicBezTo>
                  <a:cubicBezTo>
                    <a:pt x="67" y="0"/>
                    <a:pt x="59" y="9"/>
                    <a:pt x="60" y="22"/>
                  </a:cubicBezTo>
                  <a:cubicBezTo>
                    <a:pt x="61" y="35"/>
                    <a:pt x="79" y="47"/>
                    <a:pt x="79" y="47"/>
                  </a:cubicBezTo>
                  <a:cubicBezTo>
                    <a:pt x="79" y="72"/>
                    <a:pt x="79" y="72"/>
                    <a:pt x="79" y="72"/>
                  </a:cubicBezTo>
                  <a:cubicBezTo>
                    <a:pt x="50" y="70"/>
                    <a:pt x="50" y="70"/>
                    <a:pt x="50" y="70"/>
                  </a:cubicBezTo>
                  <a:cubicBezTo>
                    <a:pt x="48" y="57"/>
                    <a:pt x="48" y="57"/>
                    <a:pt x="48" y="57"/>
                  </a:cubicBezTo>
                  <a:cubicBezTo>
                    <a:pt x="26" y="67"/>
                    <a:pt x="26" y="67"/>
                    <a:pt x="26" y="67"/>
                  </a:cubicBezTo>
                  <a:cubicBezTo>
                    <a:pt x="26" y="74"/>
                    <a:pt x="26" y="74"/>
                    <a:pt x="26" y="74"/>
                  </a:cubicBezTo>
                  <a:cubicBezTo>
                    <a:pt x="21" y="82"/>
                    <a:pt x="21" y="82"/>
                    <a:pt x="21" y="82"/>
                  </a:cubicBezTo>
                  <a:cubicBezTo>
                    <a:pt x="26" y="89"/>
                    <a:pt x="26" y="89"/>
                    <a:pt x="26" y="89"/>
                  </a:cubicBezTo>
                  <a:cubicBezTo>
                    <a:pt x="26" y="89"/>
                    <a:pt x="18" y="92"/>
                    <a:pt x="9" y="95"/>
                  </a:cubicBezTo>
                  <a:cubicBezTo>
                    <a:pt x="0" y="98"/>
                    <a:pt x="2" y="110"/>
                    <a:pt x="2" y="110"/>
                  </a:cubicBezTo>
                  <a:cubicBezTo>
                    <a:pt x="6" y="111"/>
                    <a:pt x="17" y="121"/>
                    <a:pt x="17" y="121"/>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71" name="Freeform 32"/>
            <p:cNvSpPr>
              <a:spLocks/>
            </p:cNvSpPr>
            <p:nvPr/>
          </p:nvSpPr>
          <p:spPr bwMode="gray">
            <a:xfrm>
              <a:off x="6792913" y="3360738"/>
              <a:ext cx="234950" cy="447675"/>
            </a:xfrm>
            <a:custGeom>
              <a:avLst/>
              <a:gdLst>
                <a:gd name="T0" fmla="*/ 402 w 420"/>
                <a:gd name="T1" fmla="*/ 258 h 800"/>
                <a:gd name="T2" fmla="*/ 391 w 420"/>
                <a:gd name="T3" fmla="*/ 238 h 800"/>
                <a:gd name="T4" fmla="*/ 356 w 420"/>
                <a:gd name="T5" fmla="*/ 189 h 800"/>
                <a:gd name="T6" fmla="*/ 323 w 420"/>
                <a:gd name="T7" fmla="*/ 138 h 800"/>
                <a:gd name="T8" fmla="*/ 295 w 420"/>
                <a:gd name="T9" fmla="*/ 119 h 800"/>
                <a:gd name="T10" fmla="*/ 251 w 420"/>
                <a:gd name="T11" fmla="*/ 136 h 800"/>
                <a:gd name="T12" fmla="*/ 196 w 420"/>
                <a:gd name="T13" fmla="*/ 145 h 800"/>
                <a:gd name="T14" fmla="*/ 181 w 420"/>
                <a:gd name="T15" fmla="*/ 115 h 800"/>
                <a:gd name="T16" fmla="*/ 182 w 420"/>
                <a:gd name="T17" fmla="*/ 87 h 800"/>
                <a:gd name="T18" fmla="*/ 176 w 420"/>
                <a:gd name="T19" fmla="*/ 51 h 800"/>
                <a:gd name="T20" fmla="*/ 155 w 420"/>
                <a:gd name="T21" fmla="*/ 54 h 800"/>
                <a:gd name="T22" fmla="*/ 136 w 420"/>
                <a:gd name="T23" fmla="*/ 15 h 800"/>
                <a:gd name="T24" fmla="*/ 110 w 420"/>
                <a:gd name="T25" fmla="*/ 1 h 800"/>
                <a:gd name="T26" fmla="*/ 82 w 420"/>
                <a:gd name="T27" fmla="*/ 21 h 800"/>
                <a:gd name="T28" fmla="*/ 53 w 420"/>
                <a:gd name="T29" fmla="*/ 43 h 800"/>
                <a:gd name="T30" fmla="*/ 19 w 420"/>
                <a:gd name="T31" fmla="*/ 64 h 800"/>
                <a:gd name="T32" fmla="*/ 17 w 420"/>
                <a:gd name="T33" fmla="*/ 102 h 800"/>
                <a:gd name="T34" fmla="*/ 8 w 420"/>
                <a:gd name="T35" fmla="*/ 120 h 800"/>
                <a:gd name="T36" fmla="*/ 22 w 420"/>
                <a:gd name="T37" fmla="*/ 145 h 800"/>
                <a:gd name="T38" fmla="*/ 67 w 420"/>
                <a:gd name="T39" fmla="*/ 188 h 800"/>
                <a:gd name="T40" fmla="*/ 79 w 420"/>
                <a:gd name="T41" fmla="*/ 219 h 800"/>
                <a:gd name="T42" fmla="*/ 73 w 420"/>
                <a:gd name="T43" fmla="*/ 236 h 800"/>
                <a:gd name="T44" fmla="*/ 65 w 420"/>
                <a:gd name="T45" fmla="*/ 279 h 800"/>
                <a:gd name="T46" fmla="*/ 79 w 420"/>
                <a:gd name="T47" fmla="*/ 326 h 800"/>
                <a:gd name="T48" fmla="*/ 112 w 420"/>
                <a:gd name="T49" fmla="*/ 409 h 800"/>
                <a:gd name="T50" fmla="*/ 133 w 420"/>
                <a:gd name="T51" fmla="*/ 450 h 800"/>
                <a:gd name="T52" fmla="*/ 110 w 420"/>
                <a:gd name="T53" fmla="*/ 522 h 800"/>
                <a:gd name="T54" fmla="*/ 98 w 420"/>
                <a:gd name="T55" fmla="*/ 567 h 800"/>
                <a:gd name="T56" fmla="*/ 84 w 420"/>
                <a:gd name="T57" fmla="*/ 676 h 800"/>
                <a:gd name="T58" fmla="*/ 101 w 420"/>
                <a:gd name="T59" fmla="*/ 653 h 800"/>
                <a:gd name="T60" fmla="*/ 132 w 420"/>
                <a:gd name="T61" fmla="*/ 698 h 800"/>
                <a:gd name="T62" fmla="*/ 159 w 420"/>
                <a:gd name="T63" fmla="*/ 743 h 800"/>
                <a:gd name="T64" fmla="*/ 184 w 420"/>
                <a:gd name="T65" fmla="*/ 754 h 800"/>
                <a:gd name="T66" fmla="*/ 198 w 420"/>
                <a:gd name="T67" fmla="*/ 749 h 800"/>
                <a:gd name="T68" fmla="*/ 222 w 420"/>
                <a:gd name="T69" fmla="*/ 765 h 800"/>
                <a:gd name="T70" fmla="*/ 226 w 420"/>
                <a:gd name="T71" fmla="*/ 791 h 800"/>
                <a:gd name="T72" fmla="*/ 268 w 420"/>
                <a:gd name="T73" fmla="*/ 792 h 800"/>
                <a:gd name="T74" fmla="*/ 261 w 420"/>
                <a:gd name="T75" fmla="*/ 755 h 800"/>
                <a:gd name="T76" fmla="*/ 215 w 420"/>
                <a:gd name="T77" fmla="*/ 727 h 800"/>
                <a:gd name="T78" fmla="*/ 190 w 420"/>
                <a:gd name="T79" fmla="*/ 705 h 800"/>
                <a:gd name="T80" fmla="*/ 190 w 420"/>
                <a:gd name="T81" fmla="*/ 679 h 800"/>
                <a:gd name="T82" fmla="*/ 165 w 420"/>
                <a:gd name="T83" fmla="*/ 635 h 800"/>
                <a:gd name="T84" fmla="*/ 131 w 420"/>
                <a:gd name="T85" fmla="*/ 608 h 800"/>
                <a:gd name="T86" fmla="*/ 120 w 420"/>
                <a:gd name="T87" fmla="*/ 524 h 800"/>
                <a:gd name="T88" fmla="*/ 138 w 420"/>
                <a:gd name="T89" fmla="*/ 456 h 800"/>
                <a:gd name="T90" fmla="*/ 147 w 420"/>
                <a:gd name="T91" fmla="*/ 396 h 800"/>
                <a:gd name="T92" fmla="*/ 158 w 420"/>
                <a:gd name="T93" fmla="*/ 374 h 800"/>
                <a:gd name="T94" fmla="*/ 201 w 420"/>
                <a:gd name="T95" fmla="*/ 381 h 800"/>
                <a:gd name="T96" fmla="*/ 199 w 420"/>
                <a:gd name="T97" fmla="*/ 419 h 800"/>
                <a:gd name="T98" fmla="*/ 265 w 420"/>
                <a:gd name="T99" fmla="*/ 457 h 800"/>
                <a:gd name="T100" fmla="*/ 287 w 420"/>
                <a:gd name="T101" fmla="*/ 431 h 800"/>
                <a:gd name="T102" fmla="*/ 276 w 420"/>
                <a:gd name="T103" fmla="*/ 402 h 800"/>
                <a:gd name="T104" fmla="*/ 267 w 420"/>
                <a:gd name="T105" fmla="*/ 371 h 800"/>
                <a:gd name="T106" fmla="*/ 313 w 420"/>
                <a:gd name="T107" fmla="*/ 327 h 800"/>
                <a:gd name="T108" fmla="*/ 368 w 420"/>
                <a:gd name="T109" fmla="*/ 325 h 800"/>
                <a:gd name="T110" fmla="*/ 410 w 420"/>
                <a:gd name="T111" fmla="*/ 31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0" h="800">
                  <a:moveTo>
                    <a:pt x="395" y="285"/>
                  </a:moveTo>
                  <a:cubicBezTo>
                    <a:pt x="393" y="281"/>
                    <a:pt x="408" y="268"/>
                    <a:pt x="402" y="258"/>
                  </a:cubicBezTo>
                  <a:cubicBezTo>
                    <a:pt x="396" y="248"/>
                    <a:pt x="393" y="255"/>
                    <a:pt x="393" y="255"/>
                  </a:cubicBezTo>
                  <a:cubicBezTo>
                    <a:pt x="393" y="255"/>
                    <a:pt x="391" y="242"/>
                    <a:pt x="391" y="238"/>
                  </a:cubicBezTo>
                  <a:cubicBezTo>
                    <a:pt x="391" y="234"/>
                    <a:pt x="373" y="227"/>
                    <a:pt x="368" y="218"/>
                  </a:cubicBezTo>
                  <a:cubicBezTo>
                    <a:pt x="363" y="209"/>
                    <a:pt x="356" y="189"/>
                    <a:pt x="356" y="189"/>
                  </a:cubicBezTo>
                  <a:cubicBezTo>
                    <a:pt x="355" y="161"/>
                    <a:pt x="355" y="161"/>
                    <a:pt x="355" y="161"/>
                  </a:cubicBezTo>
                  <a:cubicBezTo>
                    <a:pt x="355" y="161"/>
                    <a:pt x="341" y="149"/>
                    <a:pt x="323" y="138"/>
                  </a:cubicBezTo>
                  <a:cubicBezTo>
                    <a:pt x="305" y="127"/>
                    <a:pt x="318" y="121"/>
                    <a:pt x="310" y="119"/>
                  </a:cubicBezTo>
                  <a:cubicBezTo>
                    <a:pt x="302" y="117"/>
                    <a:pt x="295" y="119"/>
                    <a:pt x="295" y="119"/>
                  </a:cubicBezTo>
                  <a:cubicBezTo>
                    <a:pt x="295" y="119"/>
                    <a:pt x="282" y="110"/>
                    <a:pt x="272" y="111"/>
                  </a:cubicBezTo>
                  <a:cubicBezTo>
                    <a:pt x="262" y="112"/>
                    <a:pt x="265" y="137"/>
                    <a:pt x="251" y="136"/>
                  </a:cubicBezTo>
                  <a:cubicBezTo>
                    <a:pt x="237" y="135"/>
                    <a:pt x="223" y="124"/>
                    <a:pt x="216" y="122"/>
                  </a:cubicBezTo>
                  <a:cubicBezTo>
                    <a:pt x="209" y="120"/>
                    <a:pt x="196" y="145"/>
                    <a:pt x="196" y="145"/>
                  </a:cubicBezTo>
                  <a:cubicBezTo>
                    <a:pt x="196" y="145"/>
                    <a:pt x="177" y="161"/>
                    <a:pt x="167" y="158"/>
                  </a:cubicBezTo>
                  <a:cubicBezTo>
                    <a:pt x="157" y="155"/>
                    <a:pt x="181" y="124"/>
                    <a:pt x="181" y="115"/>
                  </a:cubicBezTo>
                  <a:cubicBezTo>
                    <a:pt x="181" y="106"/>
                    <a:pt x="168" y="107"/>
                    <a:pt x="168" y="107"/>
                  </a:cubicBezTo>
                  <a:cubicBezTo>
                    <a:pt x="168" y="107"/>
                    <a:pt x="182" y="96"/>
                    <a:pt x="182" y="87"/>
                  </a:cubicBezTo>
                  <a:cubicBezTo>
                    <a:pt x="182" y="78"/>
                    <a:pt x="174" y="71"/>
                    <a:pt x="174" y="71"/>
                  </a:cubicBezTo>
                  <a:cubicBezTo>
                    <a:pt x="174" y="71"/>
                    <a:pt x="176" y="65"/>
                    <a:pt x="176" y="51"/>
                  </a:cubicBezTo>
                  <a:cubicBezTo>
                    <a:pt x="176" y="37"/>
                    <a:pt x="153" y="46"/>
                    <a:pt x="153" y="46"/>
                  </a:cubicBezTo>
                  <a:cubicBezTo>
                    <a:pt x="155" y="54"/>
                    <a:pt x="155" y="54"/>
                    <a:pt x="155" y="54"/>
                  </a:cubicBezTo>
                  <a:cubicBezTo>
                    <a:pt x="155" y="54"/>
                    <a:pt x="142" y="54"/>
                    <a:pt x="136" y="49"/>
                  </a:cubicBezTo>
                  <a:cubicBezTo>
                    <a:pt x="130" y="44"/>
                    <a:pt x="137" y="23"/>
                    <a:pt x="136" y="15"/>
                  </a:cubicBezTo>
                  <a:cubicBezTo>
                    <a:pt x="135" y="7"/>
                    <a:pt x="125" y="12"/>
                    <a:pt x="125" y="12"/>
                  </a:cubicBezTo>
                  <a:cubicBezTo>
                    <a:pt x="125" y="12"/>
                    <a:pt x="114" y="2"/>
                    <a:pt x="110" y="1"/>
                  </a:cubicBezTo>
                  <a:cubicBezTo>
                    <a:pt x="106" y="0"/>
                    <a:pt x="87" y="6"/>
                    <a:pt x="87" y="6"/>
                  </a:cubicBezTo>
                  <a:cubicBezTo>
                    <a:pt x="82" y="21"/>
                    <a:pt x="82" y="21"/>
                    <a:pt x="82" y="21"/>
                  </a:cubicBezTo>
                  <a:cubicBezTo>
                    <a:pt x="65" y="22"/>
                    <a:pt x="65" y="22"/>
                    <a:pt x="65" y="22"/>
                  </a:cubicBezTo>
                  <a:cubicBezTo>
                    <a:pt x="65" y="22"/>
                    <a:pt x="63" y="40"/>
                    <a:pt x="53" y="43"/>
                  </a:cubicBezTo>
                  <a:cubicBezTo>
                    <a:pt x="43" y="46"/>
                    <a:pt x="34" y="35"/>
                    <a:pt x="23" y="37"/>
                  </a:cubicBezTo>
                  <a:cubicBezTo>
                    <a:pt x="12" y="39"/>
                    <a:pt x="20" y="55"/>
                    <a:pt x="19" y="64"/>
                  </a:cubicBezTo>
                  <a:cubicBezTo>
                    <a:pt x="18" y="73"/>
                    <a:pt x="8" y="74"/>
                    <a:pt x="7" y="78"/>
                  </a:cubicBezTo>
                  <a:cubicBezTo>
                    <a:pt x="6" y="82"/>
                    <a:pt x="17" y="93"/>
                    <a:pt x="17" y="102"/>
                  </a:cubicBezTo>
                  <a:cubicBezTo>
                    <a:pt x="17" y="111"/>
                    <a:pt x="6" y="105"/>
                    <a:pt x="3" y="108"/>
                  </a:cubicBezTo>
                  <a:cubicBezTo>
                    <a:pt x="0" y="111"/>
                    <a:pt x="3" y="116"/>
                    <a:pt x="8" y="120"/>
                  </a:cubicBezTo>
                  <a:cubicBezTo>
                    <a:pt x="13" y="124"/>
                    <a:pt x="26" y="130"/>
                    <a:pt x="26" y="130"/>
                  </a:cubicBezTo>
                  <a:cubicBezTo>
                    <a:pt x="22" y="145"/>
                    <a:pt x="22" y="145"/>
                    <a:pt x="22" y="145"/>
                  </a:cubicBezTo>
                  <a:cubicBezTo>
                    <a:pt x="22" y="145"/>
                    <a:pt x="27" y="148"/>
                    <a:pt x="30" y="158"/>
                  </a:cubicBezTo>
                  <a:cubicBezTo>
                    <a:pt x="33" y="168"/>
                    <a:pt x="59" y="177"/>
                    <a:pt x="67" y="188"/>
                  </a:cubicBezTo>
                  <a:cubicBezTo>
                    <a:pt x="75" y="199"/>
                    <a:pt x="61" y="194"/>
                    <a:pt x="66" y="206"/>
                  </a:cubicBezTo>
                  <a:cubicBezTo>
                    <a:pt x="71" y="218"/>
                    <a:pt x="79" y="219"/>
                    <a:pt x="79" y="219"/>
                  </a:cubicBezTo>
                  <a:cubicBezTo>
                    <a:pt x="79" y="219"/>
                    <a:pt x="85" y="211"/>
                    <a:pt x="85" y="224"/>
                  </a:cubicBezTo>
                  <a:cubicBezTo>
                    <a:pt x="85" y="237"/>
                    <a:pt x="73" y="236"/>
                    <a:pt x="73" y="236"/>
                  </a:cubicBezTo>
                  <a:cubicBezTo>
                    <a:pt x="73" y="236"/>
                    <a:pt x="76" y="247"/>
                    <a:pt x="76" y="253"/>
                  </a:cubicBezTo>
                  <a:cubicBezTo>
                    <a:pt x="76" y="259"/>
                    <a:pt x="75" y="269"/>
                    <a:pt x="65" y="279"/>
                  </a:cubicBezTo>
                  <a:cubicBezTo>
                    <a:pt x="55" y="289"/>
                    <a:pt x="63" y="302"/>
                    <a:pt x="63" y="302"/>
                  </a:cubicBezTo>
                  <a:cubicBezTo>
                    <a:pt x="63" y="302"/>
                    <a:pt x="75" y="316"/>
                    <a:pt x="79" y="326"/>
                  </a:cubicBezTo>
                  <a:cubicBezTo>
                    <a:pt x="83" y="336"/>
                    <a:pt x="105" y="349"/>
                    <a:pt x="109" y="364"/>
                  </a:cubicBezTo>
                  <a:cubicBezTo>
                    <a:pt x="113" y="379"/>
                    <a:pt x="108" y="403"/>
                    <a:pt x="112" y="409"/>
                  </a:cubicBezTo>
                  <a:cubicBezTo>
                    <a:pt x="116" y="415"/>
                    <a:pt x="131" y="427"/>
                    <a:pt x="131" y="427"/>
                  </a:cubicBezTo>
                  <a:cubicBezTo>
                    <a:pt x="131" y="427"/>
                    <a:pt x="129" y="437"/>
                    <a:pt x="133" y="450"/>
                  </a:cubicBezTo>
                  <a:cubicBezTo>
                    <a:pt x="137" y="463"/>
                    <a:pt x="130" y="488"/>
                    <a:pt x="127" y="498"/>
                  </a:cubicBezTo>
                  <a:cubicBezTo>
                    <a:pt x="124" y="508"/>
                    <a:pt x="119" y="515"/>
                    <a:pt x="110" y="522"/>
                  </a:cubicBezTo>
                  <a:cubicBezTo>
                    <a:pt x="101" y="529"/>
                    <a:pt x="109" y="536"/>
                    <a:pt x="108" y="545"/>
                  </a:cubicBezTo>
                  <a:cubicBezTo>
                    <a:pt x="107" y="554"/>
                    <a:pt x="98" y="567"/>
                    <a:pt x="98" y="567"/>
                  </a:cubicBezTo>
                  <a:cubicBezTo>
                    <a:pt x="98" y="567"/>
                    <a:pt x="86" y="599"/>
                    <a:pt x="84" y="615"/>
                  </a:cubicBezTo>
                  <a:cubicBezTo>
                    <a:pt x="82" y="631"/>
                    <a:pt x="84" y="676"/>
                    <a:pt x="84" y="676"/>
                  </a:cubicBezTo>
                  <a:cubicBezTo>
                    <a:pt x="84" y="676"/>
                    <a:pt x="94" y="686"/>
                    <a:pt x="96" y="676"/>
                  </a:cubicBezTo>
                  <a:cubicBezTo>
                    <a:pt x="97" y="666"/>
                    <a:pt x="97" y="642"/>
                    <a:pt x="101" y="653"/>
                  </a:cubicBezTo>
                  <a:cubicBezTo>
                    <a:pt x="104" y="665"/>
                    <a:pt x="96" y="665"/>
                    <a:pt x="110" y="667"/>
                  </a:cubicBezTo>
                  <a:cubicBezTo>
                    <a:pt x="124" y="668"/>
                    <a:pt x="132" y="698"/>
                    <a:pt x="132" y="698"/>
                  </a:cubicBezTo>
                  <a:cubicBezTo>
                    <a:pt x="155" y="718"/>
                    <a:pt x="155" y="718"/>
                    <a:pt x="155" y="718"/>
                  </a:cubicBezTo>
                  <a:cubicBezTo>
                    <a:pt x="155" y="718"/>
                    <a:pt x="150" y="729"/>
                    <a:pt x="159" y="743"/>
                  </a:cubicBezTo>
                  <a:cubicBezTo>
                    <a:pt x="165" y="754"/>
                    <a:pt x="173" y="762"/>
                    <a:pt x="177" y="766"/>
                  </a:cubicBezTo>
                  <a:cubicBezTo>
                    <a:pt x="181" y="762"/>
                    <a:pt x="184" y="758"/>
                    <a:pt x="184" y="754"/>
                  </a:cubicBezTo>
                  <a:cubicBezTo>
                    <a:pt x="183" y="745"/>
                    <a:pt x="182" y="739"/>
                    <a:pt x="189" y="738"/>
                  </a:cubicBezTo>
                  <a:cubicBezTo>
                    <a:pt x="196" y="737"/>
                    <a:pt x="198" y="749"/>
                    <a:pt x="198" y="749"/>
                  </a:cubicBezTo>
                  <a:cubicBezTo>
                    <a:pt x="198" y="749"/>
                    <a:pt x="209" y="749"/>
                    <a:pt x="216" y="753"/>
                  </a:cubicBezTo>
                  <a:cubicBezTo>
                    <a:pt x="223" y="757"/>
                    <a:pt x="222" y="765"/>
                    <a:pt x="222" y="765"/>
                  </a:cubicBezTo>
                  <a:cubicBezTo>
                    <a:pt x="222" y="765"/>
                    <a:pt x="229" y="763"/>
                    <a:pt x="229" y="769"/>
                  </a:cubicBezTo>
                  <a:cubicBezTo>
                    <a:pt x="229" y="775"/>
                    <a:pt x="213" y="787"/>
                    <a:pt x="226" y="791"/>
                  </a:cubicBezTo>
                  <a:cubicBezTo>
                    <a:pt x="239" y="795"/>
                    <a:pt x="238" y="785"/>
                    <a:pt x="249" y="784"/>
                  </a:cubicBezTo>
                  <a:cubicBezTo>
                    <a:pt x="260" y="783"/>
                    <a:pt x="262" y="800"/>
                    <a:pt x="268" y="792"/>
                  </a:cubicBezTo>
                  <a:cubicBezTo>
                    <a:pt x="272" y="787"/>
                    <a:pt x="277" y="776"/>
                    <a:pt x="280" y="768"/>
                  </a:cubicBezTo>
                  <a:cubicBezTo>
                    <a:pt x="271" y="761"/>
                    <a:pt x="261" y="755"/>
                    <a:pt x="261" y="755"/>
                  </a:cubicBezTo>
                  <a:cubicBezTo>
                    <a:pt x="261" y="755"/>
                    <a:pt x="256" y="731"/>
                    <a:pt x="253" y="721"/>
                  </a:cubicBezTo>
                  <a:cubicBezTo>
                    <a:pt x="250" y="711"/>
                    <a:pt x="223" y="731"/>
                    <a:pt x="215" y="727"/>
                  </a:cubicBezTo>
                  <a:cubicBezTo>
                    <a:pt x="208" y="723"/>
                    <a:pt x="201" y="686"/>
                    <a:pt x="196" y="689"/>
                  </a:cubicBezTo>
                  <a:cubicBezTo>
                    <a:pt x="191" y="693"/>
                    <a:pt x="196" y="704"/>
                    <a:pt x="190" y="705"/>
                  </a:cubicBezTo>
                  <a:cubicBezTo>
                    <a:pt x="184" y="706"/>
                    <a:pt x="169" y="683"/>
                    <a:pt x="177" y="675"/>
                  </a:cubicBezTo>
                  <a:cubicBezTo>
                    <a:pt x="185" y="667"/>
                    <a:pt x="182" y="682"/>
                    <a:pt x="190" y="679"/>
                  </a:cubicBezTo>
                  <a:cubicBezTo>
                    <a:pt x="198" y="676"/>
                    <a:pt x="180" y="645"/>
                    <a:pt x="178" y="639"/>
                  </a:cubicBezTo>
                  <a:cubicBezTo>
                    <a:pt x="176" y="633"/>
                    <a:pt x="165" y="635"/>
                    <a:pt x="165" y="635"/>
                  </a:cubicBezTo>
                  <a:cubicBezTo>
                    <a:pt x="166" y="598"/>
                    <a:pt x="166" y="598"/>
                    <a:pt x="166" y="598"/>
                  </a:cubicBezTo>
                  <a:cubicBezTo>
                    <a:pt x="131" y="608"/>
                    <a:pt x="131" y="608"/>
                    <a:pt x="131" y="608"/>
                  </a:cubicBezTo>
                  <a:cubicBezTo>
                    <a:pt x="131" y="608"/>
                    <a:pt x="127" y="549"/>
                    <a:pt x="126" y="542"/>
                  </a:cubicBezTo>
                  <a:cubicBezTo>
                    <a:pt x="125" y="534"/>
                    <a:pt x="120" y="524"/>
                    <a:pt x="120" y="524"/>
                  </a:cubicBezTo>
                  <a:cubicBezTo>
                    <a:pt x="120" y="524"/>
                    <a:pt x="136" y="516"/>
                    <a:pt x="137" y="498"/>
                  </a:cubicBezTo>
                  <a:cubicBezTo>
                    <a:pt x="138" y="479"/>
                    <a:pt x="138" y="456"/>
                    <a:pt x="138" y="456"/>
                  </a:cubicBezTo>
                  <a:cubicBezTo>
                    <a:pt x="138" y="456"/>
                    <a:pt x="152" y="449"/>
                    <a:pt x="153" y="425"/>
                  </a:cubicBezTo>
                  <a:cubicBezTo>
                    <a:pt x="154" y="400"/>
                    <a:pt x="147" y="396"/>
                    <a:pt x="147" y="396"/>
                  </a:cubicBezTo>
                  <a:cubicBezTo>
                    <a:pt x="151" y="374"/>
                    <a:pt x="151" y="374"/>
                    <a:pt x="151" y="374"/>
                  </a:cubicBezTo>
                  <a:cubicBezTo>
                    <a:pt x="158" y="374"/>
                    <a:pt x="158" y="374"/>
                    <a:pt x="158" y="374"/>
                  </a:cubicBezTo>
                  <a:cubicBezTo>
                    <a:pt x="158" y="374"/>
                    <a:pt x="159" y="366"/>
                    <a:pt x="171" y="367"/>
                  </a:cubicBezTo>
                  <a:cubicBezTo>
                    <a:pt x="182" y="367"/>
                    <a:pt x="201" y="381"/>
                    <a:pt x="201" y="381"/>
                  </a:cubicBezTo>
                  <a:cubicBezTo>
                    <a:pt x="193" y="387"/>
                    <a:pt x="193" y="387"/>
                    <a:pt x="193" y="387"/>
                  </a:cubicBezTo>
                  <a:cubicBezTo>
                    <a:pt x="193" y="387"/>
                    <a:pt x="188" y="419"/>
                    <a:pt x="199" y="419"/>
                  </a:cubicBezTo>
                  <a:cubicBezTo>
                    <a:pt x="211" y="420"/>
                    <a:pt x="247" y="403"/>
                    <a:pt x="247" y="403"/>
                  </a:cubicBezTo>
                  <a:cubicBezTo>
                    <a:pt x="265" y="457"/>
                    <a:pt x="265" y="457"/>
                    <a:pt x="265" y="457"/>
                  </a:cubicBezTo>
                  <a:cubicBezTo>
                    <a:pt x="265" y="457"/>
                    <a:pt x="273" y="445"/>
                    <a:pt x="284" y="450"/>
                  </a:cubicBezTo>
                  <a:cubicBezTo>
                    <a:pt x="287" y="431"/>
                    <a:pt x="287" y="431"/>
                    <a:pt x="287" y="431"/>
                  </a:cubicBezTo>
                  <a:cubicBezTo>
                    <a:pt x="276" y="421"/>
                    <a:pt x="276" y="421"/>
                    <a:pt x="276" y="421"/>
                  </a:cubicBezTo>
                  <a:cubicBezTo>
                    <a:pt x="276" y="402"/>
                    <a:pt x="276" y="402"/>
                    <a:pt x="276" y="402"/>
                  </a:cubicBezTo>
                  <a:cubicBezTo>
                    <a:pt x="269" y="396"/>
                    <a:pt x="269" y="396"/>
                    <a:pt x="269" y="396"/>
                  </a:cubicBezTo>
                  <a:cubicBezTo>
                    <a:pt x="267" y="371"/>
                    <a:pt x="267" y="371"/>
                    <a:pt x="267" y="371"/>
                  </a:cubicBezTo>
                  <a:cubicBezTo>
                    <a:pt x="286" y="351"/>
                    <a:pt x="286" y="351"/>
                    <a:pt x="286" y="351"/>
                  </a:cubicBezTo>
                  <a:cubicBezTo>
                    <a:pt x="286" y="351"/>
                    <a:pt x="286" y="332"/>
                    <a:pt x="313" y="327"/>
                  </a:cubicBezTo>
                  <a:cubicBezTo>
                    <a:pt x="340" y="322"/>
                    <a:pt x="341" y="332"/>
                    <a:pt x="341" y="332"/>
                  </a:cubicBezTo>
                  <a:cubicBezTo>
                    <a:pt x="341" y="332"/>
                    <a:pt x="363" y="326"/>
                    <a:pt x="368" y="325"/>
                  </a:cubicBezTo>
                  <a:cubicBezTo>
                    <a:pt x="373" y="324"/>
                    <a:pt x="390" y="333"/>
                    <a:pt x="390" y="333"/>
                  </a:cubicBezTo>
                  <a:cubicBezTo>
                    <a:pt x="390" y="333"/>
                    <a:pt x="400" y="328"/>
                    <a:pt x="410" y="316"/>
                  </a:cubicBezTo>
                  <a:cubicBezTo>
                    <a:pt x="420" y="304"/>
                    <a:pt x="397" y="289"/>
                    <a:pt x="395" y="285"/>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72" name="Freeform 33"/>
            <p:cNvSpPr>
              <a:spLocks/>
            </p:cNvSpPr>
            <p:nvPr/>
          </p:nvSpPr>
          <p:spPr bwMode="gray">
            <a:xfrm>
              <a:off x="6904038" y="3273425"/>
              <a:ext cx="228600" cy="444500"/>
            </a:xfrm>
            <a:custGeom>
              <a:avLst/>
              <a:gdLst>
                <a:gd name="T0" fmla="*/ 6 w 407"/>
                <a:gd name="T1" fmla="*/ 62 h 795"/>
                <a:gd name="T2" fmla="*/ 37 w 407"/>
                <a:gd name="T3" fmla="*/ 84 h 795"/>
                <a:gd name="T4" fmla="*/ 61 w 407"/>
                <a:gd name="T5" fmla="*/ 137 h 795"/>
                <a:gd name="T6" fmla="*/ 82 w 407"/>
                <a:gd name="T7" fmla="*/ 145 h 795"/>
                <a:gd name="T8" fmla="*/ 124 w 407"/>
                <a:gd name="T9" fmla="*/ 145 h 795"/>
                <a:gd name="T10" fmla="*/ 153 w 407"/>
                <a:gd name="T11" fmla="*/ 179 h 795"/>
                <a:gd name="T12" fmla="*/ 101 w 407"/>
                <a:gd name="T13" fmla="*/ 199 h 795"/>
                <a:gd name="T14" fmla="*/ 142 w 407"/>
                <a:gd name="T15" fmla="*/ 240 h 795"/>
                <a:gd name="T16" fmla="*/ 169 w 407"/>
                <a:gd name="T17" fmla="*/ 271 h 795"/>
                <a:gd name="T18" fmla="*/ 205 w 407"/>
                <a:gd name="T19" fmla="*/ 314 h 795"/>
                <a:gd name="T20" fmla="*/ 230 w 407"/>
                <a:gd name="T21" fmla="*/ 347 h 795"/>
                <a:gd name="T22" fmla="*/ 254 w 407"/>
                <a:gd name="T23" fmla="*/ 370 h 795"/>
                <a:gd name="T24" fmla="*/ 287 w 407"/>
                <a:gd name="T25" fmla="*/ 397 h 795"/>
                <a:gd name="T26" fmla="*/ 312 w 407"/>
                <a:gd name="T27" fmla="*/ 436 h 795"/>
                <a:gd name="T28" fmla="*/ 310 w 407"/>
                <a:gd name="T29" fmla="*/ 470 h 795"/>
                <a:gd name="T30" fmla="*/ 300 w 407"/>
                <a:gd name="T31" fmla="*/ 505 h 795"/>
                <a:gd name="T32" fmla="*/ 306 w 407"/>
                <a:gd name="T33" fmla="*/ 545 h 795"/>
                <a:gd name="T34" fmla="*/ 314 w 407"/>
                <a:gd name="T35" fmla="*/ 598 h 795"/>
                <a:gd name="T36" fmla="*/ 291 w 407"/>
                <a:gd name="T37" fmla="*/ 610 h 795"/>
                <a:gd name="T38" fmla="*/ 273 w 407"/>
                <a:gd name="T39" fmla="*/ 625 h 795"/>
                <a:gd name="T40" fmla="*/ 252 w 407"/>
                <a:gd name="T41" fmla="*/ 659 h 795"/>
                <a:gd name="T42" fmla="*/ 238 w 407"/>
                <a:gd name="T43" fmla="*/ 663 h 795"/>
                <a:gd name="T44" fmla="*/ 204 w 407"/>
                <a:gd name="T45" fmla="*/ 670 h 795"/>
                <a:gd name="T46" fmla="*/ 180 w 407"/>
                <a:gd name="T47" fmla="*/ 703 h 795"/>
                <a:gd name="T48" fmla="*/ 196 w 407"/>
                <a:gd name="T49" fmla="*/ 734 h 795"/>
                <a:gd name="T50" fmla="*/ 194 w 407"/>
                <a:gd name="T51" fmla="*/ 789 h 795"/>
                <a:gd name="T52" fmla="*/ 228 w 407"/>
                <a:gd name="T53" fmla="*/ 783 h 795"/>
                <a:gd name="T54" fmla="*/ 255 w 407"/>
                <a:gd name="T55" fmla="*/ 752 h 795"/>
                <a:gd name="T56" fmla="*/ 285 w 407"/>
                <a:gd name="T57" fmla="*/ 735 h 795"/>
                <a:gd name="T58" fmla="*/ 300 w 407"/>
                <a:gd name="T59" fmla="*/ 693 h 795"/>
                <a:gd name="T60" fmla="*/ 391 w 407"/>
                <a:gd name="T61" fmla="*/ 639 h 795"/>
                <a:gd name="T62" fmla="*/ 385 w 407"/>
                <a:gd name="T63" fmla="*/ 539 h 795"/>
                <a:gd name="T64" fmla="*/ 390 w 407"/>
                <a:gd name="T65" fmla="*/ 485 h 795"/>
                <a:gd name="T66" fmla="*/ 363 w 407"/>
                <a:gd name="T67" fmla="*/ 418 h 795"/>
                <a:gd name="T68" fmla="*/ 256 w 407"/>
                <a:gd name="T69" fmla="*/ 332 h 795"/>
                <a:gd name="T70" fmla="*/ 193 w 407"/>
                <a:gd name="T71" fmla="*/ 235 h 795"/>
                <a:gd name="T72" fmla="*/ 197 w 407"/>
                <a:gd name="T73" fmla="*/ 160 h 795"/>
                <a:gd name="T74" fmla="*/ 229 w 407"/>
                <a:gd name="T75" fmla="*/ 129 h 795"/>
                <a:gd name="T76" fmla="*/ 259 w 407"/>
                <a:gd name="T77" fmla="*/ 100 h 795"/>
                <a:gd name="T78" fmla="*/ 257 w 407"/>
                <a:gd name="T79" fmla="*/ 92 h 795"/>
                <a:gd name="T80" fmla="*/ 218 w 407"/>
                <a:gd name="T81" fmla="*/ 75 h 795"/>
                <a:gd name="T82" fmla="*/ 207 w 407"/>
                <a:gd name="T83" fmla="*/ 61 h 795"/>
                <a:gd name="T84" fmla="*/ 196 w 407"/>
                <a:gd name="T85" fmla="*/ 47 h 795"/>
                <a:gd name="T86" fmla="*/ 182 w 407"/>
                <a:gd name="T87" fmla="*/ 25 h 795"/>
                <a:gd name="T88" fmla="*/ 156 w 407"/>
                <a:gd name="T89" fmla="*/ 22 h 795"/>
                <a:gd name="T90" fmla="*/ 115 w 407"/>
                <a:gd name="T91" fmla="*/ 9 h 795"/>
                <a:gd name="T92" fmla="*/ 95 w 407"/>
                <a:gd name="T93" fmla="*/ 36 h 795"/>
                <a:gd name="T94" fmla="*/ 80 w 407"/>
                <a:gd name="T95" fmla="*/ 29 h 795"/>
                <a:gd name="T96" fmla="*/ 72 w 407"/>
                <a:gd name="T97" fmla="*/ 42 h 795"/>
                <a:gd name="T98" fmla="*/ 58 w 407"/>
                <a:gd name="T99" fmla="*/ 30 h 795"/>
                <a:gd name="T100" fmla="*/ 48 w 407"/>
                <a:gd name="T101" fmla="*/ 31 h 795"/>
                <a:gd name="T102" fmla="*/ 4 w 407"/>
                <a:gd name="T103" fmla="*/ 32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07" h="795">
                  <a:moveTo>
                    <a:pt x="4" y="32"/>
                  </a:moveTo>
                  <a:cubicBezTo>
                    <a:pt x="0" y="40"/>
                    <a:pt x="0" y="55"/>
                    <a:pt x="6" y="62"/>
                  </a:cubicBezTo>
                  <a:cubicBezTo>
                    <a:pt x="12" y="69"/>
                    <a:pt x="28" y="87"/>
                    <a:pt x="28" y="87"/>
                  </a:cubicBezTo>
                  <a:cubicBezTo>
                    <a:pt x="28" y="87"/>
                    <a:pt x="33" y="80"/>
                    <a:pt x="37" y="84"/>
                  </a:cubicBezTo>
                  <a:cubicBezTo>
                    <a:pt x="41" y="88"/>
                    <a:pt x="28" y="97"/>
                    <a:pt x="38" y="110"/>
                  </a:cubicBezTo>
                  <a:cubicBezTo>
                    <a:pt x="48" y="123"/>
                    <a:pt x="61" y="137"/>
                    <a:pt x="61" y="137"/>
                  </a:cubicBezTo>
                  <a:cubicBezTo>
                    <a:pt x="70" y="137"/>
                    <a:pt x="70" y="137"/>
                    <a:pt x="70" y="137"/>
                  </a:cubicBezTo>
                  <a:cubicBezTo>
                    <a:pt x="70" y="137"/>
                    <a:pt x="75" y="153"/>
                    <a:pt x="82" y="145"/>
                  </a:cubicBezTo>
                  <a:cubicBezTo>
                    <a:pt x="89" y="137"/>
                    <a:pt x="86" y="125"/>
                    <a:pt x="94" y="126"/>
                  </a:cubicBezTo>
                  <a:cubicBezTo>
                    <a:pt x="102" y="127"/>
                    <a:pt x="124" y="145"/>
                    <a:pt x="124" y="145"/>
                  </a:cubicBezTo>
                  <a:cubicBezTo>
                    <a:pt x="124" y="145"/>
                    <a:pt x="104" y="151"/>
                    <a:pt x="122" y="159"/>
                  </a:cubicBezTo>
                  <a:cubicBezTo>
                    <a:pt x="140" y="167"/>
                    <a:pt x="159" y="169"/>
                    <a:pt x="153" y="179"/>
                  </a:cubicBezTo>
                  <a:cubicBezTo>
                    <a:pt x="147" y="189"/>
                    <a:pt x="128" y="203"/>
                    <a:pt x="128" y="203"/>
                  </a:cubicBezTo>
                  <a:cubicBezTo>
                    <a:pt x="128" y="203"/>
                    <a:pt x="99" y="195"/>
                    <a:pt x="101" y="199"/>
                  </a:cubicBezTo>
                  <a:cubicBezTo>
                    <a:pt x="103" y="203"/>
                    <a:pt x="103" y="215"/>
                    <a:pt x="103" y="215"/>
                  </a:cubicBezTo>
                  <a:cubicBezTo>
                    <a:pt x="103" y="215"/>
                    <a:pt x="136" y="235"/>
                    <a:pt x="142" y="240"/>
                  </a:cubicBezTo>
                  <a:cubicBezTo>
                    <a:pt x="148" y="245"/>
                    <a:pt x="166" y="250"/>
                    <a:pt x="166" y="250"/>
                  </a:cubicBezTo>
                  <a:cubicBezTo>
                    <a:pt x="166" y="250"/>
                    <a:pt x="165" y="267"/>
                    <a:pt x="169" y="271"/>
                  </a:cubicBezTo>
                  <a:cubicBezTo>
                    <a:pt x="173" y="275"/>
                    <a:pt x="195" y="283"/>
                    <a:pt x="195" y="283"/>
                  </a:cubicBezTo>
                  <a:cubicBezTo>
                    <a:pt x="195" y="283"/>
                    <a:pt x="192" y="303"/>
                    <a:pt x="205" y="314"/>
                  </a:cubicBezTo>
                  <a:cubicBezTo>
                    <a:pt x="218" y="325"/>
                    <a:pt x="229" y="336"/>
                    <a:pt x="229" y="336"/>
                  </a:cubicBezTo>
                  <a:cubicBezTo>
                    <a:pt x="230" y="347"/>
                    <a:pt x="230" y="347"/>
                    <a:pt x="230" y="347"/>
                  </a:cubicBezTo>
                  <a:cubicBezTo>
                    <a:pt x="244" y="346"/>
                    <a:pt x="244" y="346"/>
                    <a:pt x="244" y="346"/>
                  </a:cubicBezTo>
                  <a:cubicBezTo>
                    <a:pt x="244" y="346"/>
                    <a:pt x="247" y="363"/>
                    <a:pt x="254" y="370"/>
                  </a:cubicBezTo>
                  <a:cubicBezTo>
                    <a:pt x="261" y="377"/>
                    <a:pt x="271" y="378"/>
                    <a:pt x="271" y="378"/>
                  </a:cubicBezTo>
                  <a:cubicBezTo>
                    <a:pt x="271" y="378"/>
                    <a:pt x="295" y="392"/>
                    <a:pt x="287" y="397"/>
                  </a:cubicBezTo>
                  <a:cubicBezTo>
                    <a:pt x="279" y="402"/>
                    <a:pt x="265" y="405"/>
                    <a:pt x="279" y="416"/>
                  </a:cubicBezTo>
                  <a:cubicBezTo>
                    <a:pt x="293" y="427"/>
                    <a:pt x="312" y="436"/>
                    <a:pt x="312" y="436"/>
                  </a:cubicBezTo>
                  <a:cubicBezTo>
                    <a:pt x="301" y="457"/>
                    <a:pt x="301" y="457"/>
                    <a:pt x="301" y="457"/>
                  </a:cubicBezTo>
                  <a:cubicBezTo>
                    <a:pt x="301" y="457"/>
                    <a:pt x="314" y="462"/>
                    <a:pt x="310" y="470"/>
                  </a:cubicBezTo>
                  <a:cubicBezTo>
                    <a:pt x="306" y="478"/>
                    <a:pt x="300" y="477"/>
                    <a:pt x="300" y="477"/>
                  </a:cubicBezTo>
                  <a:cubicBezTo>
                    <a:pt x="300" y="505"/>
                    <a:pt x="300" y="505"/>
                    <a:pt x="300" y="505"/>
                  </a:cubicBezTo>
                  <a:cubicBezTo>
                    <a:pt x="300" y="505"/>
                    <a:pt x="321" y="516"/>
                    <a:pt x="321" y="529"/>
                  </a:cubicBezTo>
                  <a:cubicBezTo>
                    <a:pt x="321" y="542"/>
                    <a:pt x="305" y="542"/>
                    <a:pt x="306" y="545"/>
                  </a:cubicBezTo>
                  <a:cubicBezTo>
                    <a:pt x="307" y="548"/>
                    <a:pt x="317" y="584"/>
                    <a:pt x="317" y="584"/>
                  </a:cubicBezTo>
                  <a:cubicBezTo>
                    <a:pt x="314" y="598"/>
                    <a:pt x="314" y="598"/>
                    <a:pt x="314" y="598"/>
                  </a:cubicBezTo>
                  <a:cubicBezTo>
                    <a:pt x="314" y="598"/>
                    <a:pt x="302" y="593"/>
                    <a:pt x="297" y="596"/>
                  </a:cubicBezTo>
                  <a:cubicBezTo>
                    <a:pt x="292" y="599"/>
                    <a:pt x="291" y="610"/>
                    <a:pt x="291" y="610"/>
                  </a:cubicBezTo>
                  <a:cubicBezTo>
                    <a:pt x="270" y="611"/>
                    <a:pt x="270" y="611"/>
                    <a:pt x="270" y="611"/>
                  </a:cubicBezTo>
                  <a:cubicBezTo>
                    <a:pt x="273" y="625"/>
                    <a:pt x="273" y="625"/>
                    <a:pt x="273" y="625"/>
                  </a:cubicBezTo>
                  <a:cubicBezTo>
                    <a:pt x="273" y="625"/>
                    <a:pt x="246" y="621"/>
                    <a:pt x="244" y="627"/>
                  </a:cubicBezTo>
                  <a:cubicBezTo>
                    <a:pt x="242" y="633"/>
                    <a:pt x="242" y="651"/>
                    <a:pt x="252" y="659"/>
                  </a:cubicBezTo>
                  <a:cubicBezTo>
                    <a:pt x="262" y="667"/>
                    <a:pt x="269" y="677"/>
                    <a:pt x="262" y="678"/>
                  </a:cubicBezTo>
                  <a:cubicBezTo>
                    <a:pt x="255" y="679"/>
                    <a:pt x="248" y="663"/>
                    <a:pt x="238" y="663"/>
                  </a:cubicBezTo>
                  <a:cubicBezTo>
                    <a:pt x="228" y="663"/>
                    <a:pt x="226" y="670"/>
                    <a:pt x="222" y="670"/>
                  </a:cubicBezTo>
                  <a:cubicBezTo>
                    <a:pt x="218" y="670"/>
                    <a:pt x="204" y="670"/>
                    <a:pt x="204" y="670"/>
                  </a:cubicBezTo>
                  <a:cubicBezTo>
                    <a:pt x="204" y="670"/>
                    <a:pt x="228" y="684"/>
                    <a:pt x="208" y="686"/>
                  </a:cubicBezTo>
                  <a:cubicBezTo>
                    <a:pt x="188" y="688"/>
                    <a:pt x="174" y="695"/>
                    <a:pt x="180" y="703"/>
                  </a:cubicBezTo>
                  <a:cubicBezTo>
                    <a:pt x="186" y="711"/>
                    <a:pt x="209" y="723"/>
                    <a:pt x="209" y="723"/>
                  </a:cubicBezTo>
                  <a:cubicBezTo>
                    <a:pt x="196" y="734"/>
                    <a:pt x="196" y="734"/>
                    <a:pt x="196" y="734"/>
                  </a:cubicBezTo>
                  <a:cubicBezTo>
                    <a:pt x="196" y="734"/>
                    <a:pt x="210" y="769"/>
                    <a:pt x="203" y="775"/>
                  </a:cubicBezTo>
                  <a:cubicBezTo>
                    <a:pt x="199" y="778"/>
                    <a:pt x="196" y="784"/>
                    <a:pt x="194" y="789"/>
                  </a:cubicBezTo>
                  <a:cubicBezTo>
                    <a:pt x="195" y="789"/>
                    <a:pt x="195" y="789"/>
                    <a:pt x="195" y="789"/>
                  </a:cubicBezTo>
                  <a:cubicBezTo>
                    <a:pt x="204" y="795"/>
                    <a:pt x="218" y="795"/>
                    <a:pt x="228" y="783"/>
                  </a:cubicBezTo>
                  <a:cubicBezTo>
                    <a:pt x="239" y="772"/>
                    <a:pt x="252" y="768"/>
                    <a:pt x="252" y="768"/>
                  </a:cubicBezTo>
                  <a:cubicBezTo>
                    <a:pt x="255" y="752"/>
                    <a:pt x="255" y="752"/>
                    <a:pt x="255" y="752"/>
                  </a:cubicBezTo>
                  <a:cubicBezTo>
                    <a:pt x="255" y="736"/>
                    <a:pt x="255" y="736"/>
                    <a:pt x="255" y="736"/>
                  </a:cubicBezTo>
                  <a:cubicBezTo>
                    <a:pt x="255" y="736"/>
                    <a:pt x="280" y="747"/>
                    <a:pt x="285" y="735"/>
                  </a:cubicBezTo>
                  <a:cubicBezTo>
                    <a:pt x="289" y="723"/>
                    <a:pt x="269" y="711"/>
                    <a:pt x="273" y="708"/>
                  </a:cubicBezTo>
                  <a:cubicBezTo>
                    <a:pt x="277" y="704"/>
                    <a:pt x="300" y="693"/>
                    <a:pt x="300" y="693"/>
                  </a:cubicBezTo>
                  <a:cubicBezTo>
                    <a:pt x="300" y="693"/>
                    <a:pt x="311" y="702"/>
                    <a:pt x="334" y="690"/>
                  </a:cubicBezTo>
                  <a:cubicBezTo>
                    <a:pt x="356" y="679"/>
                    <a:pt x="387" y="656"/>
                    <a:pt x="391" y="639"/>
                  </a:cubicBezTo>
                  <a:cubicBezTo>
                    <a:pt x="394" y="622"/>
                    <a:pt x="407" y="577"/>
                    <a:pt x="405" y="567"/>
                  </a:cubicBezTo>
                  <a:cubicBezTo>
                    <a:pt x="403" y="557"/>
                    <a:pt x="385" y="539"/>
                    <a:pt x="385" y="539"/>
                  </a:cubicBezTo>
                  <a:cubicBezTo>
                    <a:pt x="395" y="535"/>
                    <a:pt x="395" y="535"/>
                    <a:pt x="395" y="535"/>
                  </a:cubicBezTo>
                  <a:cubicBezTo>
                    <a:pt x="395" y="535"/>
                    <a:pt x="395" y="498"/>
                    <a:pt x="390" y="485"/>
                  </a:cubicBezTo>
                  <a:cubicBezTo>
                    <a:pt x="384" y="471"/>
                    <a:pt x="368" y="448"/>
                    <a:pt x="368" y="448"/>
                  </a:cubicBezTo>
                  <a:cubicBezTo>
                    <a:pt x="368" y="448"/>
                    <a:pt x="379" y="434"/>
                    <a:pt x="363" y="418"/>
                  </a:cubicBezTo>
                  <a:cubicBezTo>
                    <a:pt x="347" y="403"/>
                    <a:pt x="302" y="361"/>
                    <a:pt x="288" y="354"/>
                  </a:cubicBezTo>
                  <a:cubicBezTo>
                    <a:pt x="274" y="348"/>
                    <a:pt x="259" y="340"/>
                    <a:pt x="256" y="332"/>
                  </a:cubicBezTo>
                  <a:cubicBezTo>
                    <a:pt x="252" y="325"/>
                    <a:pt x="260" y="319"/>
                    <a:pt x="254" y="309"/>
                  </a:cubicBezTo>
                  <a:cubicBezTo>
                    <a:pt x="248" y="299"/>
                    <a:pt x="200" y="258"/>
                    <a:pt x="193" y="235"/>
                  </a:cubicBezTo>
                  <a:cubicBezTo>
                    <a:pt x="187" y="211"/>
                    <a:pt x="182" y="185"/>
                    <a:pt x="188" y="180"/>
                  </a:cubicBezTo>
                  <a:cubicBezTo>
                    <a:pt x="195" y="176"/>
                    <a:pt x="197" y="160"/>
                    <a:pt x="197" y="160"/>
                  </a:cubicBezTo>
                  <a:cubicBezTo>
                    <a:pt x="197" y="160"/>
                    <a:pt x="215" y="147"/>
                    <a:pt x="220" y="143"/>
                  </a:cubicBezTo>
                  <a:cubicBezTo>
                    <a:pt x="226" y="140"/>
                    <a:pt x="229" y="129"/>
                    <a:pt x="229" y="129"/>
                  </a:cubicBezTo>
                  <a:cubicBezTo>
                    <a:pt x="229" y="129"/>
                    <a:pt x="248" y="132"/>
                    <a:pt x="254" y="127"/>
                  </a:cubicBezTo>
                  <a:cubicBezTo>
                    <a:pt x="259" y="122"/>
                    <a:pt x="259" y="100"/>
                    <a:pt x="259" y="100"/>
                  </a:cubicBezTo>
                  <a:cubicBezTo>
                    <a:pt x="266" y="95"/>
                    <a:pt x="266" y="95"/>
                    <a:pt x="266" y="95"/>
                  </a:cubicBezTo>
                  <a:cubicBezTo>
                    <a:pt x="264" y="94"/>
                    <a:pt x="261" y="92"/>
                    <a:pt x="257" y="92"/>
                  </a:cubicBezTo>
                  <a:cubicBezTo>
                    <a:pt x="249" y="91"/>
                    <a:pt x="236" y="94"/>
                    <a:pt x="229" y="87"/>
                  </a:cubicBezTo>
                  <a:cubicBezTo>
                    <a:pt x="222" y="80"/>
                    <a:pt x="218" y="75"/>
                    <a:pt x="218" y="75"/>
                  </a:cubicBezTo>
                  <a:cubicBezTo>
                    <a:pt x="207" y="74"/>
                    <a:pt x="207" y="74"/>
                    <a:pt x="207" y="74"/>
                  </a:cubicBezTo>
                  <a:cubicBezTo>
                    <a:pt x="207" y="61"/>
                    <a:pt x="207" y="61"/>
                    <a:pt x="207" y="61"/>
                  </a:cubicBezTo>
                  <a:cubicBezTo>
                    <a:pt x="200" y="57"/>
                    <a:pt x="200" y="57"/>
                    <a:pt x="200" y="57"/>
                  </a:cubicBezTo>
                  <a:cubicBezTo>
                    <a:pt x="196" y="47"/>
                    <a:pt x="196" y="47"/>
                    <a:pt x="196" y="47"/>
                  </a:cubicBezTo>
                  <a:cubicBezTo>
                    <a:pt x="196" y="47"/>
                    <a:pt x="212" y="40"/>
                    <a:pt x="207" y="32"/>
                  </a:cubicBezTo>
                  <a:cubicBezTo>
                    <a:pt x="202" y="24"/>
                    <a:pt x="182" y="25"/>
                    <a:pt x="182" y="25"/>
                  </a:cubicBezTo>
                  <a:cubicBezTo>
                    <a:pt x="177" y="17"/>
                    <a:pt x="177" y="17"/>
                    <a:pt x="177" y="17"/>
                  </a:cubicBezTo>
                  <a:cubicBezTo>
                    <a:pt x="156" y="22"/>
                    <a:pt x="156" y="22"/>
                    <a:pt x="156" y="22"/>
                  </a:cubicBezTo>
                  <a:cubicBezTo>
                    <a:pt x="134" y="0"/>
                    <a:pt x="134" y="0"/>
                    <a:pt x="134" y="0"/>
                  </a:cubicBezTo>
                  <a:cubicBezTo>
                    <a:pt x="134" y="0"/>
                    <a:pt x="119" y="4"/>
                    <a:pt x="115" y="9"/>
                  </a:cubicBezTo>
                  <a:cubicBezTo>
                    <a:pt x="111" y="14"/>
                    <a:pt x="117" y="28"/>
                    <a:pt x="110" y="30"/>
                  </a:cubicBezTo>
                  <a:cubicBezTo>
                    <a:pt x="103" y="32"/>
                    <a:pt x="95" y="36"/>
                    <a:pt x="95" y="36"/>
                  </a:cubicBezTo>
                  <a:cubicBezTo>
                    <a:pt x="91" y="29"/>
                    <a:pt x="91" y="29"/>
                    <a:pt x="91" y="29"/>
                  </a:cubicBezTo>
                  <a:cubicBezTo>
                    <a:pt x="80" y="29"/>
                    <a:pt x="80" y="29"/>
                    <a:pt x="80" y="29"/>
                  </a:cubicBezTo>
                  <a:cubicBezTo>
                    <a:pt x="80" y="29"/>
                    <a:pt x="97" y="45"/>
                    <a:pt x="84" y="46"/>
                  </a:cubicBezTo>
                  <a:cubicBezTo>
                    <a:pt x="71" y="47"/>
                    <a:pt x="72" y="42"/>
                    <a:pt x="72" y="42"/>
                  </a:cubicBezTo>
                  <a:cubicBezTo>
                    <a:pt x="63" y="29"/>
                    <a:pt x="63" y="29"/>
                    <a:pt x="63" y="29"/>
                  </a:cubicBezTo>
                  <a:cubicBezTo>
                    <a:pt x="58" y="30"/>
                    <a:pt x="58" y="30"/>
                    <a:pt x="58" y="30"/>
                  </a:cubicBezTo>
                  <a:cubicBezTo>
                    <a:pt x="59" y="43"/>
                    <a:pt x="59" y="43"/>
                    <a:pt x="59" y="43"/>
                  </a:cubicBezTo>
                  <a:cubicBezTo>
                    <a:pt x="48" y="31"/>
                    <a:pt x="48" y="31"/>
                    <a:pt x="48" y="31"/>
                  </a:cubicBezTo>
                  <a:cubicBezTo>
                    <a:pt x="48" y="31"/>
                    <a:pt x="39" y="47"/>
                    <a:pt x="33" y="47"/>
                  </a:cubicBezTo>
                  <a:cubicBezTo>
                    <a:pt x="27" y="47"/>
                    <a:pt x="8" y="24"/>
                    <a:pt x="4" y="32"/>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73" name="Freeform 34"/>
            <p:cNvSpPr>
              <a:spLocks/>
            </p:cNvSpPr>
            <p:nvPr/>
          </p:nvSpPr>
          <p:spPr bwMode="gray">
            <a:xfrm>
              <a:off x="6296025" y="3054350"/>
              <a:ext cx="223837" cy="130175"/>
            </a:xfrm>
            <a:custGeom>
              <a:avLst/>
              <a:gdLst>
                <a:gd name="T0" fmla="*/ 203 w 400"/>
                <a:gd name="T1" fmla="*/ 166 h 233"/>
                <a:gd name="T2" fmla="*/ 213 w 400"/>
                <a:gd name="T3" fmla="*/ 179 h 233"/>
                <a:gd name="T4" fmla="*/ 227 w 400"/>
                <a:gd name="T5" fmla="*/ 176 h 233"/>
                <a:gd name="T6" fmla="*/ 244 w 400"/>
                <a:gd name="T7" fmla="*/ 194 h 233"/>
                <a:gd name="T8" fmla="*/ 262 w 400"/>
                <a:gd name="T9" fmla="*/ 213 h 233"/>
                <a:gd name="T10" fmla="*/ 274 w 400"/>
                <a:gd name="T11" fmla="*/ 204 h 233"/>
                <a:gd name="T12" fmla="*/ 296 w 400"/>
                <a:gd name="T13" fmla="*/ 218 h 233"/>
                <a:gd name="T14" fmla="*/ 313 w 400"/>
                <a:gd name="T15" fmla="*/ 213 h 233"/>
                <a:gd name="T16" fmla="*/ 337 w 400"/>
                <a:gd name="T17" fmla="*/ 230 h 233"/>
                <a:gd name="T18" fmla="*/ 351 w 400"/>
                <a:gd name="T19" fmla="*/ 219 h 233"/>
                <a:gd name="T20" fmla="*/ 361 w 400"/>
                <a:gd name="T21" fmla="*/ 229 h 233"/>
                <a:gd name="T22" fmla="*/ 377 w 400"/>
                <a:gd name="T23" fmla="*/ 230 h 233"/>
                <a:gd name="T24" fmla="*/ 399 w 400"/>
                <a:gd name="T25" fmla="*/ 224 h 233"/>
                <a:gd name="T26" fmla="*/ 400 w 400"/>
                <a:gd name="T27" fmla="*/ 206 h 233"/>
                <a:gd name="T28" fmla="*/ 390 w 400"/>
                <a:gd name="T29" fmla="*/ 191 h 233"/>
                <a:gd name="T30" fmla="*/ 390 w 400"/>
                <a:gd name="T31" fmla="*/ 159 h 233"/>
                <a:gd name="T32" fmla="*/ 384 w 400"/>
                <a:gd name="T33" fmla="*/ 144 h 233"/>
                <a:gd name="T34" fmla="*/ 363 w 400"/>
                <a:gd name="T35" fmla="*/ 153 h 233"/>
                <a:gd name="T36" fmla="*/ 316 w 400"/>
                <a:gd name="T37" fmla="*/ 134 h 233"/>
                <a:gd name="T38" fmla="*/ 304 w 400"/>
                <a:gd name="T39" fmla="*/ 143 h 233"/>
                <a:gd name="T40" fmla="*/ 295 w 400"/>
                <a:gd name="T41" fmla="*/ 130 h 233"/>
                <a:gd name="T42" fmla="*/ 284 w 400"/>
                <a:gd name="T43" fmla="*/ 143 h 233"/>
                <a:gd name="T44" fmla="*/ 275 w 400"/>
                <a:gd name="T45" fmla="*/ 124 h 233"/>
                <a:gd name="T46" fmla="*/ 247 w 400"/>
                <a:gd name="T47" fmla="*/ 126 h 233"/>
                <a:gd name="T48" fmla="*/ 243 w 400"/>
                <a:gd name="T49" fmla="*/ 109 h 233"/>
                <a:gd name="T50" fmla="*/ 223 w 400"/>
                <a:gd name="T51" fmla="*/ 113 h 233"/>
                <a:gd name="T52" fmla="*/ 201 w 400"/>
                <a:gd name="T53" fmla="*/ 95 h 233"/>
                <a:gd name="T54" fmla="*/ 187 w 400"/>
                <a:gd name="T55" fmla="*/ 66 h 233"/>
                <a:gd name="T56" fmla="*/ 168 w 400"/>
                <a:gd name="T57" fmla="*/ 83 h 233"/>
                <a:gd name="T58" fmla="*/ 149 w 400"/>
                <a:gd name="T59" fmla="*/ 50 h 233"/>
                <a:gd name="T60" fmla="*/ 118 w 400"/>
                <a:gd name="T61" fmla="*/ 44 h 233"/>
                <a:gd name="T62" fmla="*/ 86 w 400"/>
                <a:gd name="T63" fmla="*/ 15 h 233"/>
                <a:gd name="T64" fmla="*/ 59 w 400"/>
                <a:gd name="T65" fmla="*/ 17 h 233"/>
                <a:gd name="T66" fmla="*/ 44 w 400"/>
                <a:gd name="T67" fmla="*/ 30 h 233"/>
                <a:gd name="T68" fmla="*/ 32 w 400"/>
                <a:gd name="T69" fmla="*/ 19 h 233"/>
                <a:gd name="T70" fmla="*/ 26 w 400"/>
                <a:gd name="T71" fmla="*/ 32 h 233"/>
                <a:gd name="T72" fmla="*/ 11 w 400"/>
                <a:gd name="T73" fmla="*/ 50 h 233"/>
                <a:gd name="T74" fmla="*/ 17 w 400"/>
                <a:gd name="T75" fmla="*/ 59 h 233"/>
                <a:gd name="T76" fmla="*/ 10 w 400"/>
                <a:gd name="T77" fmla="*/ 67 h 233"/>
                <a:gd name="T78" fmla="*/ 19 w 400"/>
                <a:gd name="T79" fmla="*/ 73 h 233"/>
                <a:gd name="T80" fmla="*/ 7 w 400"/>
                <a:gd name="T81" fmla="*/ 91 h 233"/>
                <a:gd name="T82" fmla="*/ 26 w 400"/>
                <a:gd name="T83" fmla="*/ 110 h 233"/>
                <a:gd name="T84" fmla="*/ 36 w 400"/>
                <a:gd name="T85" fmla="*/ 104 h 233"/>
                <a:gd name="T86" fmla="*/ 47 w 400"/>
                <a:gd name="T87" fmla="*/ 122 h 233"/>
                <a:gd name="T88" fmla="*/ 65 w 400"/>
                <a:gd name="T89" fmla="*/ 122 h 233"/>
                <a:gd name="T90" fmla="*/ 72 w 400"/>
                <a:gd name="T91" fmla="*/ 132 h 233"/>
                <a:gd name="T92" fmla="*/ 100 w 400"/>
                <a:gd name="T93" fmla="*/ 147 h 233"/>
                <a:gd name="T94" fmla="*/ 109 w 400"/>
                <a:gd name="T95" fmla="*/ 146 h 233"/>
                <a:gd name="T96" fmla="*/ 124 w 400"/>
                <a:gd name="T97" fmla="*/ 160 h 233"/>
                <a:gd name="T98" fmla="*/ 142 w 400"/>
                <a:gd name="T99" fmla="*/ 159 h 233"/>
                <a:gd name="T100" fmla="*/ 148 w 400"/>
                <a:gd name="T101" fmla="*/ 168 h 233"/>
                <a:gd name="T102" fmla="*/ 168 w 400"/>
                <a:gd name="T103" fmla="*/ 174 h 233"/>
                <a:gd name="T104" fmla="*/ 171 w 400"/>
                <a:gd name="T105" fmla="*/ 181 h 233"/>
                <a:gd name="T106" fmla="*/ 185 w 400"/>
                <a:gd name="T107" fmla="*/ 173 h 233"/>
                <a:gd name="T108" fmla="*/ 195 w 400"/>
                <a:gd name="T109" fmla="*/ 180 h 233"/>
                <a:gd name="T110" fmla="*/ 203 w 400"/>
                <a:gd name="T111" fmla="*/ 166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0" h="233">
                  <a:moveTo>
                    <a:pt x="203" y="166"/>
                  </a:moveTo>
                  <a:cubicBezTo>
                    <a:pt x="212" y="171"/>
                    <a:pt x="213" y="179"/>
                    <a:pt x="213" y="179"/>
                  </a:cubicBezTo>
                  <a:cubicBezTo>
                    <a:pt x="227" y="176"/>
                    <a:pt x="227" y="176"/>
                    <a:pt x="227" y="176"/>
                  </a:cubicBezTo>
                  <a:cubicBezTo>
                    <a:pt x="227" y="176"/>
                    <a:pt x="235" y="186"/>
                    <a:pt x="244" y="194"/>
                  </a:cubicBezTo>
                  <a:cubicBezTo>
                    <a:pt x="253" y="202"/>
                    <a:pt x="262" y="213"/>
                    <a:pt x="262" y="213"/>
                  </a:cubicBezTo>
                  <a:cubicBezTo>
                    <a:pt x="274" y="204"/>
                    <a:pt x="274" y="204"/>
                    <a:pt x="274" y="204"/>
                  </a:cubicBezTo>
                  <a:cubicBezTo>
                    <a:pt x="296" y="218"/>
                    <a:pt x="296" y="218"/>
                    <a:pt x="296" y="218"/>
                  </a:cubicBezTo>
                  <a:cubicBezTo>
                    <a:pt x="296" y="218"/>
                    <a:pt x="300" y="209"/>
                    <a:pt x="313" y="213"/>
                  </a:cubicBezTo>
                  <a:cubicBezTo>
                    <a:pt x="326" y="217"/>
                    <a:pt x="337" y="230"/>
                    <a:pt x="337" y="230"/>
                  </a:cubicBezTo>
                  <a:cubicBezTo>
                    <a:pt x="337" y="230"/>
                    <a:pt x="345" y="219"/>
                    <a:pt x="351" y="219"/>
                  </a:cubicBezTo>
                  <a:cubicBezTo>
                    <a:pt x="357" y="219"/>
                    <a:pt x="352" y="229"/>
                    <a:pt x="361" y="229"/>
                  </a:cubicBezTo>
                  <a:cubicBezTo>
                    <a:pt x="370" y="229"/>
                    <a:pt x="377" y="230"/>
                    <a:pt x="377" y="230"/>
                  </a:cubicBezTo>
                  <a:cubicBezTo>
                    <a:pt x="377" y="230"/>
                    <a:pt x="398" y="233"/>
                    <a:pt x="399" y="224"/>
                  </a:cubicBezTo>
                  <a:cubicBezTo>
                    <a:pt x="400" y="215"/>
                    <a:pt x="400" y="206"/>
                    <a:pt x="400" y="206"/>
                  </a:cubicBezTo>
                  <a:cubicBezTo>
                    <a:pt x="390" y="191"/>
                    <a:pt x="390" y="191"/>
                    <a:pt x="390" y="191"/>
                  </a:cubicBezTo>
                  <a:cubicBezTo>
                    <a:pt x="390" y="159"/>
                    <a:pt x="390" y="159"/>
                    <a:pt x="390" y="159"/>
                  </a:cubicBezTo>
                  <a:cubicBezTo>
                    <a:pt x="384" y="144"/>
                    <a:pt x="384" y="144"/>
                    <a:pt x="384" y="144"/>
                  </a:cubicBezTo>
                  <a:cubicBezTo>
                    <a:pt x="376" y="148"/>
                    <a:pt x="369" y="152"/>
                    <a:pt x="363" y="153"/>
                  </a:cubicBezTo>
                  <a:cubicBezTo>
                    <a:pt x="349" y="154"/>
                    <a:pt x="316" y="134"/>
                    <a:pt x="316" y="134"/>
                  </a:cubicBezTo>
                  <a:cubicBezTo>
                    <a:pt x="316" y="134"/>
                    <a:pt x="314" y="142"/>
                    <a:pt x="304" y="143"/>
                  </a:cubicBezTo>
                  <a:cubicBezTo>
                    <a:pt x="294" y="144"/>
                    <a:pt x="295" y="130"/>
                    <a:pt x="295" y="130"/>
                  </a:cubicBezTo>
                  <a:cubicBezTo>
                    <a:pt x="295" y="130"/>
                    <a:pt x="293" y="144"/>
                    <a:pt x="284" y="143"/>
                  </a:cubicBezTo>
                  <a:cubicBezTo>
                    <a:pt x="275" y="142"/>
                    <a:pt x="275" y="124"/>
                    <a:pt x="275" y="124"/>
                  </a:cubicBezTo>
                  <a:cubicBezTo>
                    <a:pt x="275" y="124"/>
                    <a:pt x="263" y="133"/>
                    <a:pt x="247" y="126"/>
                  </a:cubicBezTo>
                  <a:cubicBezTo>
                    <a:pt x="231" y="119"/>
                    <a:pt x="248" y="116"/>
                    <a:pt x="243" y="109"/>
                  </a:cubicBezTo>
                  <a:cubicBezTo>
                    <a:pt x="238" y="102"/>
                    <a:pt x="223" y="113"/>
                    <a:pt x="223" y="113"/>
                  </a:cubicBezTo>
                  <a:cubicBezTo>
                    <a:pt x="223" y="113"/>
                    <a:pt x="209" y="101"/>
                    <a:pt x="201" y="95"/>
                  </a:cubicBezTo>
                  <a:cubicBezTo>
                    <a:pt x="193" y="89"/>
                    <a:pt x="198" y="73"/>
                    <a:pt x="187" y="66"/>
                  </a:cubicBezTo>
                  <a:cubicBezTo>
                    <a:pt x="176" y="59"/>
                    <a:pt x="172" y="84"/>
                    <a:pt x="168" y="83"/>
                  </a:cubicBezTo>
                  <a:cubicBezTo>
                    <a:pt x="164" y="82"/>
                    <a:pt x="149" y="50"/>
                    <a:pt x="149" y="50"/>
                  </a:cubicBezTo>
                  <a:cubicBezTo>
                    <a:pt x="118" y="44"/>
                    <a:pt x="118" y="44"/>
                    <a:pt x="118" y="44"/>
                  </a:cubicBezTo>
                  <a:cubicBezTo>
                    <a:pt x="118" y="44"/>
                    <a:pt x="100" y="30"/>
                    <a:pt x="86" y="15"/>
                  </a:cubicBezTo>
                  <a:cubicBezTo>
                    <a:pt x="72" y="0"/>
                    <a:pt x="59" y="17"/>
                    <a:pt x="59" y="17"/>
                  </a:cubicBezTo>
                  <a:cubicBezTo>
                    <a:pt x="44" y="30"/>
                    <a:pt x="44" y="30"/>
                    <a:pt x="44" y="30"/>
                  </a:cubicBezTo>
                  <a:cubicBezTo>
                    <a:pt x="32" y="19"/>
                    <a:pt x="32" y="19"/>
                    <a:pt x="32" y="19"/>
                  </a:cubicBezTo>
                  <a:cubicBezTo>
                    <a:pt x="26" y="32"/>
                    <a:pt x="26" y="32"/>
                    <a:pt x="26" y="32"/>
                  </a:cubicBezTo>
                  <a:cubicBezTo>
                    <a:pt x="11" y="50"/>
                    <a:pt x="11" y="50"/>
                    <a:pt x="11" y="50"/>
                  </a:cubicBezTo>
                  <a:cubicBezTo>
                    <a:pt x="17" y="59"/>
                    <a:pt x="17" y="59"/>
                    <a:pt x="17" y="59"/>
                  </a:cubicBezTo>
                  <a:cubicBezTo>
                    <a:pt x="17" y="59"/>
                    <a:pt x="6" y="61"/>
                    <a:pt x="10" y="67"/>
                  </a:cubicBezTo>
                  <a:cubicBezTo>
                    <a:pt x="14" y="73"/>
                    <a:pt x="19" y="73"/>
                    <a:pt x="19" y="73"/>
                  </a:cubicBezTo>
                  <a:cubicBezTo>
                    <a:pt x="19" y="73"/>
                    <a:pt x="0" y="83"/>
                    <a:pt x="7" y="91"/>
                  </a:cubicBezTo>
                  <a:cubicBezTo>
                    <a:pt x="14" y="99"/>
                    <a:pt x="26" y="110"/>
                    <a:pt x="26" y="110"/>
                  </a:cubicBezTo>
                  <a:cubicBezTo>
                    <a:pt x="36" y="104"/>
                    <a:pt x="36" y="104"/>
                    <a:pt x="36" y="104"/>
                  </a:cubicBezTo>
                  <a:cubicBezTo>
                    <a:pt x="47" y="122"/>
                    <a:pt x="47" y="122"/>
                    <a:pt x="47" y="122"/>
                  </a:cubicBezTo>
                  <a:cubicBezTo>
                    <a:pt x="65" y="122"/>
                    <a:pt x="65" y="122"/>
                    <a:pt x="65" y="122"/>
                  </a:cubicBezTo>
                  <a:cubicBezTo>
                    <a:pt x="72" y="132"/>
                    <a:pt x="72" y="132"/>
                    <a:pt x="72" y="132"/>
                  </a:cubicBezTo>
                  <a:cubicBezTo>
                    <a:pt x="100" y="147"/>
                    <a:pt x="100" y="147"/>
                    <a:pt x="100" y="147"/>
                  </a:cubicBezTo>
                  <a:cubicBezTo>
                    <a:pt x="109" y="146"/>
                    <a:pt x="109" y="146"/>
                    <a:pt x="109" y="146"/>
                  </a:cubicBezTo>
                  <a:cubicBezTo>
                    <a:pt x="109" y="146"/>
                    <a:pt x="116" y="160"/>
                    <a:pt x="124" y="160"/>
                  </a:cubicBezTo>
                  <a:cubicBezTo>
                    <a:pt x="132" y="160"/>
                    <a:pt x="137" y="157"/>
                    <a:pt x="142" y="159"/>
                  </a:cubicBezTo>
                  <a:cubicBezTo>
                    <a:pt x="147" y="161"/>
                    <a:pt x="135" y="166"/>
                    <a:pt x="148" y="168"/>
                  </a:cubicBezTo>
                  <a:cubicBezTo>
                    <a:pt x="161" y="170"/>
                    <a:pt x="168" y="174"/>
                    <a:pt x="168" y="174"/>
                  </a:cubicBezTo>
                  <a:cubicBezTo>
                    <a:pt x="171" y="181"/>
                    <a:pt x="171" y="181"/>
                    <a:pt x="171" y="181"/>
                  </a:cubicBezTo>
                  <a:cubicBezTo>
                    <a:pt x="171" y="181"/>
                    <a:pt x="176" y="173"/>
                    <a:pt x="185" y="173"/>
                  </a:cubicBezTo>
                  <a:cubicBezTo>
                    <a:pt x="194" y="173"/>
                    <a:pt x="195" y="180"/>
                    <a:pt x="195" y="180"/>
                  </a:cubicBezTo>
                  <a:cubicBezTo>
                    <a:pt x="195" y="180"/>
                    <a:pt x="194" y="161"/>
                    <a:pt x="203" y="166"/>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74" name="Freeform 35"/>
            <p:cNvSpPr>
              <a:spLocks/>
            </p:cNvSpPr>
            <p:nvPr/>
          </p:nvSpPr>
          <p:spPr bwMode="gray">
            <a:xfrm>
              <a:off x="6524625" y="3121025"/>
              <a:ext cx="98425" cy="52388"/>
            </a:xfrm>
            <a:custGeom>
              <a:avLst/>
              <a:gdLst>
                <a:gd name="T0" fmla="*/ 66 w 176"/>
                <a:gd name="T1" fmla="*/ 92 h 93"/>
                <a:gd name="T2" fmla="*/ 88 w 176"/>
                <a:gd name="T3" fmla="*/ 84 h 93"/>
                <a:gd name="T4" fmla="*/ 113 w 176"/>
                <a:gd name="T5" fmla="*/ 90 h 93"/>
                <a:gd name="T6" fmla="*/ 139 w 176"/>
                <a:gd name="T7" fmla="*/ 86 h 93"/>
                <a:gd name="T8" fmla="*/ 162 w 176"/>
                <a:gd name="T9" fmla="*/ 86 h 93"/>
                <a:gd name="T10" fmla="*/ 161 w 176"/>
                <a:gd name="T11" fmla="*/ 68 h 93"/>
                <a:gd name="T12" fmla="*/ 161 w 176"/>
                <a:gd name="T13" fmla="*/ 54 h 93"/>
                <a:gd name="T14" fmla="*/ 140 w 176"/>
                <a:gd name="T15" fmla="*/ 48 h 93"/>
                <a:gd name="T16" fmla="*/ 142 w 176"/>
                <a:gd name="T17" fmla="*/ 39 h 93"/>
                <a:gd name="T18" fmla="*/ 129 w 176"/>
                <a:gd name="T19" fmla="*/ 18 h 93"/>
                <a:gd name="T20" fmla="*/ 80 w 176"/>
                <a:gd name="T21" fmla="*/ 25 h 93"/>
                <a:gd name="T22" fmla="*/ 80 w 176"/>
                <a:gd name="T23" fmla="*/ 11 h 93"/>
                <a:gd name="T24" fmla="*/ 56 w 176"/>
                <a:gd name="T25" fmla="*/ 5 h 93"/>
                <a:gd name="T26" fmla="*/ 18 w 176"/>
                <a:gd name="T27" fmla="*/ 56 h 93"/>
                <a:gd name="T28" fmla="*/ 23 w 176"/>
                <a:gd name="T29" fmla="*/ 76 h 93"/>
                <a:gd name="T30" fmla="*/ 50 w 176"/>
                <a:gd name="T31" fmla="*/ 81 h 93"/>
                <a:gd name="T32" fmla="*/ 66 w 176"/>
                <a:gd name="T33" fmla="*/ 92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6" h="93">
                  <a:moveTo>
                    <a:pt x="66" y="92"/>
                  </a:moveTo>
                  <a:cubicBezTo>
                    <a:pt x="85" y="92"/>
                    <a:pt x="79" y="84"/>
                    <a:pt x="88" y="84"/>
                  </a:cubicBezTo>
                  <a:cubicBezTo>
                    <a:pt x="97" y="84"/>
                    <a:pt x="95" y="90"/>
                    <a:pt x="113" y="90"/>
                  </a:cubicBezTo>
                  <a:cubicBezTo>
                    <a:pt x="131" y="90"/>
                    <a:pt x="139" y="86"/>
                    <a:pt x="139" y="86"/>
                  </a:cubicBezTo>
                  <a:cubicBezTo>
                    <a:pt x="139" y="86"/>
                    <a:pt x="148" y="93"/>
                    <a:pt x="162" y="86"/>
                  </a:cubicBezTo>
                  <a:cubicBezTo>
                    <a:pt x="176" y="79"/>
                    <a:pt x="161" y="68"/>
                    <a:pt x="161" y="68"/>
                  </a:cubicBezTo>
                  <a:cubicBezTo>
                    <a:pt x="161" y="54"/>
                    <a:pt x="161" y="54"/>
                    <a:pt x="161" y="54"/>
                  </a:cubicBezTo>
                  <a:cubicBezTo>
                    <a:pt x="161" y="54"/>
                    <a:pt x="144" y="55"/>
                    <a:pt x="140" y="48"/>
                  </a:cubicBezTo>
                  <a:cubicBezTo>
                    <a:pt x="136" y="41"/>
                    <a:pt x="142" y="39"/>
                    <a:pt x="142" y="39"/>
                  </a:cubicBezTo>
                  <a:cubicBezTo>
                    <a:pt x="142" y="39"/>
                    <a:pt x="142" y="29"/>
                    <a:pt x="129" y="18"/>
                  </a:cubicBezTo>
                  <a:cubicBezTo>
                    <a:pt x="116" y="7"/>
                    <a:pt x="80" y="25"/>
                    <a:pt x="80" y="25"/>
                  </a:cubicBezTo>
                  <a:cubicBezTo>
                    <a:pt x="80" y="11"/>
                    <a:pt x="80" y="11"/>
                    <a:pt x="80" y="11"/>
                  </a:cubicBezTo>
                  <a:cubicBezTo>
                    <a:pt x="80" y="11"/>
                    <a:pt x="70" y="10"/>
                    <a:pt x="56" y="5"/>
                  </a:cubicBezTo>
                  <a:cubicBezTo>
                    <a:pt x="42" y="0"/>
                    <a:pt x="18" y="56"/>
                    <a:pt x="18" y="56"/>
                  </a:cubicBezTo>
                  <a:cubicBezTo>
                    <a:pt x="18" y="56"/>
                    <a:pt x="0" y="60"/>
                    <a:pt x="23" y="76"/>
                  </a:cubicBezTo>
                  <a:cubicBezTo>
                    <a:pt x="46" y="92"/>
                    <a:pt x="50" y="81"/>
                    <a:pt x="50" y="81"/>
                  </a:cubicBezTo>
                  <a:cubicBezTo>
                    <a:pt x="50" y="81"/>
                    <a:pt x="47" y="92"/>
                    <a:pt x="66" y="92"/>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75" name="Freeform 36"/>
            <p:cNvSpPr>
              <a:spLocks/>
            </p:cNvSpPr>
            <p:nvPr/>
          </p:nvSpPr>
          <p:spPr bwMode="gray">
            <a:xfrm>
              <a:off x="6521450" y="3176588"/>
              <a:ext cx="138112" cy="158750"/>
            </a:xfrm>
            <a:custGeom>
              <a:avLst/>
              <a:gdLst>
                <a:gd name="T0" fmla="*/ 90 w 247"/>
                <a:gd name="T1" fmla="*/ 275 h 284"/>
                <a:gd name="T2" fmla="*/ 92 w 247"/>
                <a:gd name="T3" fmla="*/ 236 h 284"/>
                <a:gd name="T4" fmla="*/ 142 w 247"/>
                <a:gd name="T5" fmla="*/ 250 h 284"/>
                <a:gd name="T6" fmla="*/ 143 w 247"/>
                <a:gd name="T7" fmla="*/ 227 h 284"/>
                <a:gd name="T8" fmla="*/ 182 w 247"/>
                <a:gd name="T9" fmla="*/ 240 h 284"/>
                <a:gd name="T10" fmla="*/ 190 w 247"/>
                <a:gd name="T11" fmla="*/ 223 h 284"/>
                <a:gd name="T12" fmla="*/ 182 w 247"/>
                <a:gd name="T13" fmla="*/ 202 h 284"/>
                <a:gd name="T14" fmla="*/ 213 w 247"/>
                <a:gd name="T15" fmla="*/ 235 h 284"/>
                <a:gd name="T16" fmla="*/ 210 w 247"/>
                <a:gd name="T17" fmla="*/ 280 h 284"/>
                <a:gd name="T18" fmla="*/ 222 w 247"/>
                <a:gd name="T19" fmla="*/ 284 h 284"/>
                <a:gd name="T20" fmla="*/ 226 w 247"/>
                <a:gd name="T21" fmla="*/ 273 h 284"/>
                <a:gd name="T22" fmla="*/ 247 w 247"/>
                <a:gd name="T23" fmla="*/ 276 h 284"/>
                <a:gd name="T24" fmla="*/ 240 w 247"/>
                <a:gd name="T25" fmla="*/ 237 h 284"/>
                <a:gd name="T26" fmla="*/ 220 w 247"/>
                <a:gd name="T27" fmla="*/ 187 h 284"/>
                <a:gd name="T28" fmla="*/ 204 w 247"/>
                <a:gd name="T29" fmla="*/ 153 h 284"/>
                <a:gd name="T30" fmla="*/ 194 w 247"/>
                <a:gd name="T31" fmla="*/ 170 h 284"/>
                <a:gd name="T32" fmla="*/ 187 w 247"/>
                <a:gd name="T33" fmla="*/ 193 h 284"/>
                <a:gd name="T34" fmla="*/ 178 w 247"/>
                <a:gd name="T35" fmla="*/ 178 h 284"/>
                <a:gd name="T36" fmla="*/ 158 w 247"/>
                <a:gd name="T37" fmla="*/ 159 h 284"/>
                <a:gd name="T38" fmla="*/ 168 w 247"/>
                <a:gd name="T39" fmla="*/ 130 h 284"/>
                <a:gd name="T40" fmla="*/ 193 w 247"/>
                <a:gd name="T41" fmla="*/ 115 h 284"/>
                <a:gd name="T42" fmla="*/ 196 w 247"/>
                <a:gd name="T43" fmla="*/ 92 h 284"/>
                <a:gd name="T44" fmla="*/ 206 w 247"/>
                <a:gd name="T45" fmla="*/ 86 h 284"/>
                <a:gd name="T46" fmla="*/ 184 w 247"/>
                <a:gd name="T47" fmla="*/ 68 h 284"/>
                <a:gd name="T48" fmla="*/ 154 w 247"/>
                <a:gd name="T49" fmla="*/ 79 h 284"/>
                <a:gd name="T50" fmla="*/ 113 w 247"/>
                <a:gd name="T51" fmla="*/ 75 h 284"/>
                <a:gd name="T52" fmla="*/ 86 w 247"/>
                <a:gd name="T53" fmla="*/ 69 h 284"/>
                <a:gd name="T54" fmla="*/ 85 w 247"/>
                <a:gd name="T55" fmla="*/ 46 h 284"/>
                <a:gd name="T56" fmla="*/ 81 w 247"/>
                <a:gd name="T57" fmla="*/ 44 h 284"/>
                <a:gd name="T58" fmla="*/ 77 w 247"/>
                <a:gd name="T59" fmla="*/ 23 h 284"/>
                <a:gd name="T60" fmla="*/ 67 w 247"/>
                <a:gd name="T61" fmla="*/ 17 h 284"/>
                <a:gd name="T62" fmla="*/ 66 w 247"/>
                <a:gd name="T63" fmla="*/ 29 h 284"/>
                <a:gd name="T64" fmla="*/ 50 w 247"/>
                <a:gd name="T65" fmla="*/ 21 h 284"/>
                <a:gd name="T66" fmla="*/ 41 w 247"/>
                <a:gd name="T67" fmla="*/ 3 h 284"/>
                <a:gd name="T68" fmla="*/ 30 w 247"/>
                <a:gd name="T69" fmla="*/ 4 h 284"/>
                <a:gd name="T70" fmla="*/ 33 w 247"/>
                <a:gd name="T71" fmla="*/ 11 h 284"/>
                <a:gd name="T72" fmla="*/ 17 w 247"/>
                <a:gd name="T73" fmla="*/ 3 h 284"/>
                <a:gd name="T74" fmla="*/ 6 w 247"/>
                <a:gd name="T75" fmla="*/ 0 h 284"/>
                <a:gd name="T76" fmla="*/ 11 w 247"/>
                <a:gd name="T77" fmla="*/ 12 h 284"/>
                <a:gd name="T78" fmla="*/ 2 w 247"/>
                <a:gd name="T79" fmla="*/ 35 h 284"/>
                <a:gd name="T80" fmla="*/ 26 w 247"/>
                <a:gd name="T81" fmla="*/ 54 h 284"/>
                <a:gd name="T82" fmla="*/ 43 w 247"/>
                <a:gd name="T83" fmla="*/ 65 h 284"/>
                <a:gd name="T84" fmla="*/ 44 w 247"/>
                <a:gd name="T85" fmla="*/ 73 h 284"/>
                <a:gd name="T86" fmla="*/ 22 w 247"/>
                <a:gd name="T87" fmla="*/ 74 h 284"/>
                <a:gd name="T88" fmla="*/ 22 w 247"/>
                <a:gd name="T89" fmla="*/ 93 h 284"/>
                <a:gd name="T90" fmla="*/ 13 w 247"/>
                <a:gd name="T91" fmla="*/ 106 h 284"/>
                <a:gd name="T92" fmla="*/ 47 w 247"/>
                <a:gd name="T93" fmla="*/ 126 h 284"/>
                <a:gd name="T94" fmla="*/ 35 w 247"/>
                <a:gd name="T95" fmla="*/ 150 h 284"/>
                <a:gd name="T96" fmla="*/ 44 w 247"/>
                <a:gd name="T97" fmla="*/ 170 h 284"/>
                <a:gd name="T98" fmla="*/ 64 w 247"/>
                <a:gd name="T99" fmla="*/ 186 h 284"/>
                <a:gd name="T100" fmla="*/ 63 w 247"/>
                <a:gd name="T101" fmla="*/ 206 h 284"/>
                <a:gd name="T102" fmla="*/ 75 w 247"/>
                <a:gd name="T103" fmla="*/ 234 h 284"/>
                <a:gd name="T104" fmla="*/ 73 w 247"/>
                <a:gd name="T105" fmla="*/ 252 h 284"/>
                <a:gd name="T106" fmla="*/ 90 w 247"/>
                <a:gd name="T107" fmla="*/ 275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47" h="284">
                  <a:moveTo>
                    <a:pt x="90" y="275"/>
                  </a:moveTo>
                  <a:cubicBezTo>
                    <a:pt x="92" y="236"/>
                    <a:pt x="92" y="236"/>
                    <a:pt x="92" y="236"/>
                  </a:cubicBezTo>
                  <a:cubicBezTo>
                    <a:pt x="92" y="236"/>
                    <a:pt x="134" y="252"/>
                    <a:pt x="142" y="250"/>
                  </a:cubicBezTo>
                  <a:cubicBezTo>
                    <a:pt x="150" y="247"/>
                    <a:pt x="134" y="229"/>
                    <a:pt x="143" y="227"/>
                  </a:cubicBezTo>
                  <a:cubicBezTo>
                    <a:pt x="152" y="225"/>
                    <a:pt x="169" y="245"/>
                    <a:pt x="182" y="240"/>
                  </a:cubicBezTo>
                  <a:cubicBezTo>
                    <a:pt x="195" y="236"/>
                    <a:pt x="190" y="223"/>
                    <a:pt x="190" y="223"/>
                  </a:cubicBezTo>
                  <a:cubicBezTo>
                    <a:pt x="182" y="202"/>
                    <a:pt x="182" y="202"/>
                    <a:pt x="182" y="202"/>
                  </a:cubicBezTo>
                  <a:cubicBezTo>
                    <a:pt x="213" y="235"/>
                    <a:pt x="213" y="235"/>
                    <a:pt x="213" y="235"/>
                  </a:cubicBezTo>
                  <a:cubicBezTo>
                    <a:pt x="213" y="235"/>
                    <a:pt x="201" y="274"/>
                    <a:pt x="210" y="280"/>
                  </a:cubicBezTo>
                  <a:cubicBezTo>
                    <a:pt x="213" y="282"/>
                    <a:pt x="218" y="283"/>
                    <a:pt x="222" y="284"/>
                  </a:cubicBezTo>
                  <a:cubicBezTo>
                    <a:pt x="224" y="277"/>
                    <a:pt x="226" y="273"/>
                    <a:pt x="226" y="273"/>
                  </a:cubicBezTo>
                  <a:cubicBezTo>
                    <a:pt x="247" y="276"/>
                    <a:pt x="247" y="276"/>
                    <a:pt x="247" y="276"/>
                  </a:cubicBezTo>
                  <a:cubicBezTo>
                    <a:pt x="240" y="237"/>
                    <a:pt x="240" y="237"/>
                    <a:pt x="240" y="237"/>
                  </a:cubicBezTo>
                  <a:cubicBezTo>
                    <a:pt x="240" y="237"/>
                    <a:pt x="224" y="198"/>
                    <a:pt x="220" y="187"/>
                  </a:cubicBezTo>
                  <a:cubicBezTo>
                    <a:pt x="216" y="176"/>
                    <a:pt x="222" y="157"/>
                    <a:pt x="204" y="153"/>
                  </a:cubicBezTo>
                  <a:cubicBezTo>
                    <a:pt x="186" y="149"/>
                    <a:pt x="194" y="170"/>
                    <a:pt x="194" y="170"/>
                  </a:cubicBezTo>
                  <a:cubicBezTo>
                    <a:pt x="187" y="193"/>
                    <a:pt x="187" y="193"/>
                    <a:pt x="187" y="193"/>
                  </a:cubicBezTo>
                  <a:cubicBezTo>
                    <a:pt x="178" y="178"/>
                    <a:pt x="178" y="178"/>
                    <a:pt x="178" y="178"/>
                  </a:cubicBezTo>
                  <a:cubicBezTo>
                    <a:pt x="178" y="178"/>
                    <a:pt x="158" y="175"/>
                    <a:pt x="158" y="159"/>
                  </a:cubicBezTo>
                  <a:cubicBezTo>
                    <a:pt x="158" y="143"/>
                    <a:pt x="160" y="133"/>
                    <a:pt x="168" y="130"/>
                  </a:cubicBezTo>
                  <a:cubicBezTo>
                    <a:pt x="176" y="127"/>
                    <a:pt x="190" y="129"/>
                    <a:pt x="193" y="115"/>
                  </a:cubicBezTo>
                  <a:cubicBezTo>
                    <a:pt x="196" y="101"/>
                    <a:pt x="196" y="92"/>
                    <a:pt x="196" y="92"/>
                  </a:cubicBezTo>
                  <a:cubicBezTo>
                    <a:pt x="196" y="92"/>
                    <a:pt x="206" y="96"/>
                    <a:pt x="206" y="86"/>
                  </a:cubicBezTo>
                  <a:cubicBezTo>
                    <a:pt x="206" y="76"/>
                    <a:pt x="184" y="68"/>
                    <a:pt x="184" y="68"/>
                  </a:cubicBezTo>
                  <a:cubicBezTo>
                    <a:pt x="154" y="79"/>
                    <a:pt x="154" y="79"/>
                    <a:pt x="154" y="79"/>
                  </a:cubicBezTo>
                  <a:cubicBezTo>
                    <a:pt x="154" y="79"/>
                    <a:pt x="123" y="75"/>
                    <a:pt x="113" y="75"/>
                  </a:cubicBezTo>
                  <a:cubicBezTo>
                    <a:pt x="103" y="75"/>
                    <a:pt x="86" y="72"/>
                    <a:pt x="86" y="69"/>
                  </a:cubicBezTo>
                  <a:cubicBezTo>
                    <a:pt x="86" y="66"/>
                    <a:pt x="85" y="46"/>
                    <a:pt x="85" y="46"/>
                  </a:cubicBezTo>
                  <a:cubicBezTo>
                    <a:pt x="81" y="44"/>
                    <a:pt x="81" y="44"/>
                    <a:pt x="81" y="44"/>
                  </a:cubicBezTo>
                  <a:cubicBezTo>
                    <a:pt x="81" y="44"/>
                    <a:pt x="81" y="26"/>
                    <a:pt x="77" y="23"/>
                  </a:cubicBezTo>
                  <a:cubicBezTo>
                    <a:pt x="73" y="20"/>
                    <a:pt x="67" y="17"/>
                    <a:pt x="67" y="17"/>
                  </a:cubicBezTo>
                  <a:cubicBezTo>
                    <a:pt x="66" y="29"/>
                    <a:pt x="66" y="29"/>
                    <a:pt x="66" y="29"/>
                  </a:cubicBezTo>
                  <a:cubicBezTo>
                    <a:pt x="66" y="29"/>
                    <a:pt x="56" y="27"/>
                    <a:pt x="50" y="21"/>
                  </a:cubicBezTo>
                  <a:cubicBezTo>
                    <a:pt x="44" y="15"/>
                    <a:pt x="41" y="3"/>
                    <a:pt x="41" y="3"/>
                  </a:cubicBezTo>
                  <a:cubicBezTo>
                    <a:pt x="30" y="4"/>
                    <a:pt x="30" y="4"/>
                    <a:pt x="30" y="4"/>
                  </a:cubicBezTo>
                  <a:cubicBezTo>
                    <a:pt x="33" y="11"/>
                    <a:pt x="33" y="11"/>
                    <a:pt x="33" y="11"/>
                  </a:cubicBezTo>
                  <a:cubicBezTo>
                    <a:pt x="17" y="3"/>
                    <a:pt x="17" y="3"/>
                    <a:pt x="17" y="3"/>
                  </a:cubicBezTo>
                  <a:cubicBezTo>
                    <a:pt x="6" y="0"/>
                    <a:pt x="6" y="0"/>
                    <a:pt x="6" y="0"/>
                  </a:cubicBezTo>
                  <a:cubicBezTo>
                    <a:pt x="11" y="12"/>
                    <a:pt x="11" y="12"/>
                    <a:pt x="11" y="12"/>
                  </a:cubicBezTo>
                  <a:cubicBezTo>
                    <a:pt x="11" y="12"/>
                    <a:pt x="0" y="24"/>
                    <a:pt x="2" y="35"/>
                  </a:cubicBezTo>
                  <a:cubicBezTo>
                    <a:pt x="4" y="46"/>
                    <a:pt x="26" y="54"/>
                    <a:pt x="26" y="54"/>
                  </a:cubicBezTo>
                  <a:cubicBezTo>
                    <a:pt x="43" y="65"/>
                    <a:pt x="43" y="65"/>
                    <a:pt x="43" y="65"/>
                  </a:cubicBezTo>
                  <a:cubicBezTo>
                    <a:pt x="44" y="73"/>
                    <a:pt x="44" y="73"/>
                    <a:pt x="44" y="73"/>
                  </a:cubicBezTo>
                  <a:cubicBezTo>
                    <a:pt x="22" y="74"/>
                    <a:pt x="22" y="74"/>
                    <a:pt x="22" y="74"/>
                  </a:cubicBezTo>
                  <a:cubicBezTo>
                    <a:pt x="22" y="93"/>
                    <a:pt x="22" y="93"/>
                    <a:pt x="22" y="93"/>
                  </a:cubicBezTo>
                  <a:cubicBezTo>
                    <a:pt x="22" y="93"/>
                    <a:pt x="3" y="96"/>
                    <a:pt x="13" y="106"/>
                  </a:cubicBezTo>
                  <a:cubicBezTo>
                    <a:pt x="23" y="116"/>
                    <a:pt x="50" y="110"/>
                    <a:pt x="47" y="126"/>
                  </a:cubicBezTo>
                  <a:cubicBezTo>
                    <a:pt x="44" y="142"/>
                    <a:pt x="35" y="150"/>
                    <a:pt x="35" y="150"/>
                  </a:cubicBezTo>
                  <a:cubicBezTo>
                    <a:pt x="44" y="170"/>
                    <a:pt x="44" y="170"/>
                    <a:pt x="44" y="170"/>
                  </a:cubicBezTo>
                  <a:cubicBezTo>
                    <a:pt x="64" y="186"/>
                    <a:pt x="64" y="186"/>
                    <a:pt x="64" y="186"/>
                  </a:cubicBezTo>
                  <a:cubicBezTo>
                    <a:pt x="63" y="206"/>
                    <a:pt x="63" y="206"/>
                    <a:pt x="63" y="206"/>
                  </a:cubicBezTo>
                  <a:cubicBezTo>
                    <a:pt x="75" y="234"/>
                    <a:pt x="75" y="234"/>
                    <a:pt x="75" y="234"/>
                  </a:cubicBezTo>
                  <a:cubicBezTo>
                    <a:pt x="73" y="252"/>
                    <a:pt x="73" y="252"/>
                    <a:pt x="73" y="252"/>
                  </a:cubicBezTo>
                  <a:lnTo>
                    <a:pt x="90" y="275"/>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76" name="Freeform 37"/>
            <p:cNvSpPr>
              <a:spLocks noEditPoints="1"/>
            </p:cNvSpPr>
            <p:nvPr/>
          </p:nvSpPr>
          <p:spPr bwMode="gray">
            <a:xfrm>
              <a:off x="6019800" y="2890838"/>
              <a:ext cx="730250" cy="884238"/>
            </a:xfrm>
            <a:custGeom>
              <a:avLst/>
              <a:gdLst>
                <a:gd name="T0" fmla="*/ 1202 w 1304"/>
                <a:gd name="T1" fmla="*/ 1237 h 1578"/>
                <a:gd name="T2" fmla="*/ 1259 w 1304"/>
                <a:gd name="T3" fmla="*/ 1543 h 1578"/>
                <a:gd name="T4" fmla="*/ 1302 w 1304"/>
                <a:gd name="T5" fmla="*/ 417 h 1578"/>
                <a:gd name="T6" fmla="*/ 1231 w 1304"/>
                <a:gd name="T7" fmla="*/ 379 h 1578"/>
                <a:gd name="T8" fmla="*/ 1133 w 1304"/>
                <a:gd name="T9" fmla="*/ 390 h 1578"/>
                <a:gd name="T10" fmla="*/ 1045 w 1304"/>
                <a:gd name="T11" fmla="*/ 450 h 1578"/>
                <a:gd name="T12" fmla="*/ 1042 w 1304"/>
                <a:gd name="T13" fmla="*/ 497 h 1578"/>
                <a:gd name="T14" fmla="*/ 926 w 1304"/>
                <a:gd name="T15" fmla="*/ 487 h 1578"/>
                <a:gd name="T16" fmla="*/ 882 w 1304"/>
                <a:gd name="T17" fmla="*/ 450 h 1578"/>
                <a:gd name="T18" fmla="*/ 853 w 1304"/>
                <a:gd name="T19" fmla="*/ 520 h 1578"/>
                <a:gd name="T20" fmla="*/ 766 w 1304"/>
                <a:gd name="T21" fmla="*/ 495 h 1578"/>
                <a:gd name="T22" fmla="*/ 695 w 1304"/>
                <a:gd name="T23" fmla="*/ 457 h 1578"/>
                <a:gd name="T24" fmla="*/ 640 w 1304"/>
                <a:gd name="T25" fmla="*/ 459 h 1578"/>
                <a:gd name="T26" fmla="*/ 564 w 1304"/>
                <a:gd name="T27" fmla="*/ 423 h 1578"/>
                <a:gd name="T28" fmla="*/ 499 w 1304"/>
                <a:gd name="T29" fmla="*/ 382 h 1578"/>
                <a:gd name="T30" fmla="*/ 518 w 1304"/>
                <a:gd name="T31" fmla="*/ 323 h 1578"/>
                <a:gd name="T32" fmla="*/ 481 w 1304"/>
                <a:gd name="T33" fmla="*/ 283 h 1578"/>
                <a:gd name="T34" fmla="*/ 412 w 1304"/>
                <a:gd name="T35" fmla="*/ 221 h 1578"/>
                <a:gd name="T36" fmla="*/ 423 w 1304"/>
                <a:gd name="T37" fmla="*/ 194 h 1578"/>
                <a:gd name="T38" fmla="*/ 395 w 1304"/>
                <a:gd name="T39" fmla="*/ 129 h 1578"/>
                <a:gd name="T40" fmla="*/ 438 w 1304"/>
                <a:gd name="T41" fmla="*/ 69 h 1578"/>
                <a:gd name="T42" fmla="*/ 319 w 1304"/>
                <a:gd name="T43" fmla="*/ 29 h 1578"/>
                <a:gd name="T44" fmla="*/ 266 w 1304"/>
                <a:gd name="T45" fmla="*/ 74 h 1578"/>
                <a:gd name="T46" fmla="*/ 156 w 1304"/>
                <a:gd name="T47" fmla="*/ 89 h 1578"/>
                <a:gd name="T48" fmla="*/ 186 w 1304"/>
                <a:gd name="T49" fmla="*/ 141 h 1578"/>
                <a:gd name="T50" fmla="*/ 219 w 1304"/>
                <a:gd name="T51" fmla="*/ 196 h 1578"/>
                <a:gd name="T52" fmla="*/ 235 w 1304"/>
                <a:gd name="T53" fmla="*/ 268 h 1578"/>
                <a:gd name="T54" fmla="*/ 179 w 1304"/>
                <a:gd name="T55" fmla="*/ 372 h 1578"/>
                <a:gd name="T56" fmla="*/ 107 w 1304"/>
                <a:gd name="T57" fmla="*/ 437 h 1578"/>
                <a:gd name="T58" fmla="*/ 33 w 1304"/>
                <a:gd name="T59" fmla="*/ 493 h 1578"/>
                <a:gd name="T60" fmla="*/ 74 w 1304"/>
                <a:gd name="T61" fmla="*/ 551 h 1578"/>
                <a:gd name="T62" fmla="*/ 98 w 1304"/>
                <a:gd name="T63" fmla="*/ 635 h 1578"/>
                <a:gd name="T64" fmla="*/ 15 w 1304"/>
                <a:gd name="T65" fmla="*/ 630 h 1578"/>
                <a:gd name="T66" fmla="*/ 78 w 1304"/>
                <a:gd name="T67" fmla="*/ 697 h 1578"/>
                <a:gd name="T68" fmla="*/ 70 w 1304"/>
                <a:gd name="T69" fmla="*/ 779 h 1578"/>
                <a:gd name="T70" fmla="*/ 213 w 1304"/>
                <a:gd name="T71" fmla="*/ 781 h 1578"/>
                <a:gd name="T72" fmla="*/ 267 w 1304"/>
                <a:gd name="T73" fmla="*/ 1062 h 1578"/>
                <a:gd name="T74" fmla="*/ 407 w 1304"/>
                <a:gd name="T75" fmla="*/ 1335 h 1578"/>
                <a:gd name="T76" fmla="*/ 550 w 1304"/>
                <a:gd name="T77" fmla="*/ 1443 h 1578"/>
                <a:gd name="T78" fmla="*/ 601 w 1304"/>
                <a:gd name="T79" fmla="*/ 1311 h 1578"/>
                <a:gd name="T80" fmla="*/ 594 w 1304"/>
                <a:gd name="T81" fmla="*/ 1107 h 1578"/>
                <a:gd name="T82" fmla="*/ 688 w 1304"/>
                <a:gd name="T83" fmla="*/ 1044 h 1578"/>
                <a:gd name="T84" fmla="*/ 820 w 1304"/>
                <a:gd name="T85" fmla="*/ 866 h 1578"/>
                <a:gd name="T86" fmla="*/ 873 w 1304"/>
                <a:gd name="T87" fmla="*/ 795 h 1578"/>
                <a:gd name="T88" fmla="*/ 942 w 1304"/>
                <a:gd name="T89" fmla="*/ 744 h 1578"/>
                <a:gd name="T90" fmla="*/ 959 w 1304"/>
                <a:gd name="T91" fmla="*/ 697 h 1578"/>
                <a:gd name="T92" fmla="*/ 917 w 1304"/>
                <a:gd name="T93" fmla="*/ 604 h 1578"/>
                <a:gd name="T94" fmla="*/ 897 w 1304"/>
                <a:gd name="T95" fmla="*/ 546 h 1578"/>
                <a:gd name="T96" fmla="*/ 925 w 1304"/>
                <a:gd name="T97" fmla="*/ 515 h 1578"/>
                <a:gd name="T98" fmla="*/ 972 w 1304"/>
                <a:gd name="T99" fmla="*/ 534 h 1578"/>
                <a:gd name="T100" fmla="*/ 1049 w 1304"/>
                <a:gd name="T101" fmla="*/ 590 h 1578"/>
                <a:gd name="T102" fmla="*/ 1063 w 1304"/>
                <a:gd name="T103" fmla="*/ 641 h 1578"/>
                <a:gd name="T104" fmla="*/ 1099 w 1304"/>
                <a:gd name="T105" fmla="*/ 664 h 1578"/>
                <a:gd name="T106" fmla="*/ 1161 w 1304"/>
                <a:gd name="T107" fmla="*/ 750 h 1578"/>
                <a:gd name="T108" fmla="*/ 1143 w 1304"/>
                <a:gd name="T109" fmla="*/ 648 h 1578"/>
                <a:gd name="T110" fmla="*/ 1199 w 1304"/>
                <a:gd name="T111" fmla="*/ 576 h 1578"/>
                <a:gd name="T112" fmla="*/ 1238 w 1304"/>
                <a:gd name="T113" fmla="*/ 497 h 1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4" h="1578">
                  <a:moveTo>
                    <a:pt x="1204" y="1196"/>
                  </a:moveTo>
                  <a:cubicBezTo>
                    <a:pt x="1184" y="1198"/>
                    <a:pt x="1188" y="1259"/>
                    <a:pt x="1188" y="1259"/>
                  </a:cubicBezTo>
                  <a:cubicBezTo>
                    <a:pt x="1191" y="1325"/>
                    <a:pt x="1191" y="1325"/>
                    <a:pt x="1191" y="1325"/>
                  </a:cubicBezTo>
                  <a:cubicBezTo>
                    <a:pt x="1202" y="1305"/>
                    <a:pt x="1202" y="1305"/>
                    <a:pt x="1202" y="1305"/>
                  </a:cubicBezTo>
                  <a:cubicBezTo>
                    <a:pt x="1202" y="1237"/>
                    <a:pt x="1202" y="1237"/>
                    <a:pt x="1202" y="1237"/>
                  </a:cubicBezTo>
                  <a:cubicBezTo>
                    <a:pt x="1202" y="1237"/>
                    <a:pt x="1220" y="1194"/>
                    <a:pt x="1204" y="1196"/>
                  </a:cubicBezTo>
                  <a:close/>
                  <a:moveTo>
                    <a:pt x="1195" y="1357"/>
                  </a:moveTo>
                  <a:cubicBezTo>
                    <a:pt x="1180" y="1357"/>
                    <a:pt x="1196" y="1389"/>
                    <a:pt x="1196" y="1389"/>
                  </a:cubicBezTo>
                  <a:cubicBezTo>
                    <a:pt x="1196" y="1389"/>
                    <a:pt x="1209" y="1357"/>
                    <a:pt x="1195" y="1357"/>
                  </a:cubicBezTo>
                  <a:close/>
                  <a:moveTo>
                    <a:pt x="1259" y="1543"/>
                  </a:moveTo>
                  <a:cubicBezTo>
                    <a:pt x="1251" y="1544"/>
                    <a:pt x="1255" y="1578"/>
                    <a:pt x="1270" y="1578"/>
                  </a:cubicBezTo>
                  <a:cubicBezTo>
                    <a:pt x="1270" y="1578"/>
                    <a:pt x="1267" y="1542"/>
                    <a:pt x="1259" y="1543"/>
                  </a:cubicBezTo>
                  <a:close/>
                  <a:moveTo>
                    <a:pt x="1280" y="454"/>
                  </a:moveTo>
                  <a:cubicBezTo>
                    <a:pt x="1280" y="445"/>
                    <a:pt x="1304" y="436"/>
                    <a:pt x="1304" y="436"/>
                  </a:cubicBezTo>
                  <a:cubicBezTo>
                    <a:pt x="1302" y="417"/>
                    <a:pt x="1302" y="417"/>
                    <a:pt x="1302" y="417"/>
                  </a:cubicBezTo>
                  <a:cubicBezTo>
                    <a:pt x="1302" y="417"/>
                    <a:pt x="1287" y="413"/>
                    <a:pt x="1280" y="413"/>
                  </a:cubicBezTo>
                  <a:cubicBezTo>
                    <a:pt x="1273" y="413"/>
                    <a:pt x="1258" y="413"/>
                    <a:pt x="1250" y="411"/>
                  </a:cubicBezTo>
                  <a:cubicBezTo>
                    <a:pt x="1242" y="409"/>
                    <a:pt x="1262" y="400"/>
                    <a:pt x="1262" y="400"/>
                  </a:cubicBezTo>
                  <a:cubicBezTo>
                    <a:pt x="1251" y="380"/>
                    <a:pt x="1251" y="380"/>
                    <a:pt x="1251" y="380"/>
                  </a:cubicBezTo>
                  <a:cubicBezTo>
                    <a:pt x="1251" y="380"/>
                    <a:pt x="1240" y="381"/>
                    <a:pt x="1231" y="379"/>
                  </a:cubicBezTo>
                  <a:cubicBezTo>
                    <a:pt x="1222" y="377"/>
                    <a:pt x="1238" y="369"/>
                    <a:pt x="1238" y="369"/>
                  </a:cubicBezTo>
                  <a:cubicBezTo>
                    <a:pt x="1238" y="369"/>
                    <a:pt x="1237" y="364"/>
                    <a:pt x="1219" y="355"/>
                  </a:cubicBezTo>
                  <a:cubicBezTo>
                    <a:pt x="1201" y="346"/>
                    <a:pt x="1209" y="377"/>
                    <a:pt x="1198" y="377"/>
                  </a:cubicBezTo>
                  <a:cubicBezTo>
                    <a:pt x="1187" y="377"/>
                    <a:pt x="1173" y="363"/>
                    <a:pt x="1165" y="363"/>
                  </a:cubicBezTo>
                  <a:cubicBezTo>
                    <a:pt x="1157" y="363"/>
                    <a:pt x="1140" y="382"/>
                    <a:pt x="1133" y="390"/>
                  </a:cubicBezTo>
                  <a:cubicBezTo>
                    <a:pt x="1126" y="398"/>
                    <a:pt x="1102" y="394"/>
                    <a:pt x="1102" y="394"/>
                  </a:cubicBezTo>
                  <a:cubicBezTo>
                    <a:pt x="1102" y="394"/>
                    <a:pt x="1109" y="410"/>
                    <a:pt x="1107" y="415"/>
                  </a:cubicBezTo>
                  <a:cubicBezTo>
                    <a:pt x="1105" y="420"/>
                    <a:pt x="1084" y="422"/>
                    <a:pt x="1084" y="422"/>
                  </a:cubicBezTo>
                  <a:cubicBezTo>
                    <a:pt x="1084" y="422"/>
                    <a:pt x="1092" y="438"/>
                    <a:pt x="1084" y="445"/>
                  </a:cubicBezTo>
                  <a:cubicBezTo>
                    <a:pt x="1076" y="452"/>
                    <a:pt x="1045" y="450"/>
                    <a:pt x="1045" y="450"/>
                  </a:cubicBezTo>
                  <a:cubicBezTo>
                    <a:pt x="1045" y="450"/>
                    <a:pt x="1039" y="452"/>
                    <a:pt x="1043" y="459"/>
                  </a:cubicBezTo>
                  <a:cubicBezTo>
                    <a:pt x="1047" y="466"/>
                    <a:pt x="1064" y="465"/>
                    <a:pt x="1064" y="465"/>
                  </a:cubicBezTo>
                  <a:cubicBezTo>
                    <a:pt x="1064" y="479"/>
                    <a:pt x="1064" y="479"/>
                    <a:pt x="1064" y="479"/>
                  </a:cubicBezTo>
                  <a:cubicBezTo>
                    <a:pt x="1064" y="479"/>
                    <a:pt x="1079" y="490"/>
                    <a:pt x="1065" y="497"/>
                  </a:cubicBezTo>
                  <a:cubicBezTo>
                    <a:pt x="1051" y="504"/>
                    <a:pt x="1042" y="497"/>
                    <a:pt x="1042" y="497"/>
                  </a:cubicBezTo>
                  <a:cubicBezTo>
                    <a:pt x="1042" y="497"/>
                    <a:pt x="1034" y="501"/>
                    <a:pt x="1016" y="501"/>
                  </a:cubicBezTo>
                  <a:cubicBezTo>
                    <a:pt x="998" y="501"/>
                    <a:pt x="1000" y="495"/>
                    <a:pt x="991" y="495"/>
                  </a:cubicBezTo>
                  <a:cubicBezTo>
                    <a:pt x="982" y="495"/>
                    <a:pt x="988" y="503"/>
                    <a:pt x="969" y="503"/>
                  </a:cubicBezTo>
                  <a:cubicBezTo>
                    <a:pt x="950" y="503"/>
                    <a:pt x="953" y="492"/>
                    <a:pt x="953" y="492"/>
                  </a:cubicBezTo>
                  <a:cubicBezTo>
                    <a:pt x="953" y="492"/>
                    <a:pt x="949" y="503"/>
                    <a:pt x="926" y="487"/>
                  </a:cubicBezTo>
                  <a:cubicBezTo>
                    <a:pt x="903" y="471"/>
                    <a:pt x="921" y="467"/>
                    <a:pt x="921" y="467"/>
                  </a:cubicBezTo>
                  <a:cubicBezTo>
                    <a:pt x="921" y="467"/>
                    <a:pt x="916" y="468"/>
                    <a:pt x="911" y="466"/>
                  </a:cubicBezTo>
                  <a:cubicBezTo>
                    <a:pt x="906" y="464"/>
                    <a:pt x="917" y="436"/>
                    <a:pt x="906" y="427"/>
                  </a:cubicBezTo>
                  <a:cubicBezTo>
                    <a:pt x="899" y="422"/>
                    <a:pt x="888" y="428"/>
                    <a:pt x="876" y="435"/>
                  </a:cubicBezTo>
                  <a:cubicBezTo>
                    <a:pt x="882" y="450"/>
                    <a:pt x="882" y="450"/>
                    <a:pt x="882" y="450"/>
                  </a:cubicBezTo>
                  <a:cubicBezTo>
                    <a:pt x="882" y="482"/>
                    <a:pt x="882" y="482"/>
                    <a:pt x="882" y="482"/>
                  </a:cubicBezTo>
                  <a:cubicBezTo>
                    <a:pt x="892" y="497"/>
                    <a:pt x="892" y="497"/>
                    <a:pt x="892" y="497"/>
                  </a:cubicBezTo>
                  <a:cubicBezTo>
                    <a:pt x="892" y="497"/>
                    <a:pt x="892" y="506"/>
                    <a:pt x="891" y="515"/>
                  </a:cubicBezTo>
                  <a:cubicBezTo>
                    <a:pt x="890" y="524"/>
                    <a:pt x="869" y="521"/>
                    <a:pt x="869" y="521"/>
                  </a:cubicBezTo>
                  <a:cubicBezTo>
                    <a:pt x="869" y="521"/>
                    <a:pt x="862" y="520"/>
                    <a:pt x="853" y="520"/>
                  </a:cubicBezTo>
                  <a:cubicBezTo>
                    <a:pt x="844" y="520"/>
                    <a:pt x="849" y="510"/>
                    <a:pt x="843" y="510"/>
                  </a:cubicBezTo>
                  <a:cubicBezTo>
                    <a:pt x="837" y="510"/>
                    <a:pt x="829" y="521"/>
                    <a:pt x="829" y="521"/>
                  </a:cubicBezTo>
                  <a:cubicBezTo>
                    <a:pt x="829" y="521"/>
                    <a:pt x="818" y="508"/>
                    <a:pt x="805" y="504"/>
                  </a:cubicBezTo>
                  <a:cubicBezTo>
                    <a:pt x="792" y="500"/>
                    <a:pt x="788" y="509"/>
                    <a:pt x="788" y="509"/>
                  </a:cubicBezTo>
                  <a:cubicBezTo>
                    <a:pt x="766" y="495"/>
                    <a:pt x="766" y="495"/>
                    <a:pt x="766" y="495"/>
                  </a:cubicBezTo>
                  <a:cubicBezTo>
                    <a:pt x="754" y="504"/>
                    <a:pt x="754" y="504"/>
                    <a:pt x="754" y="504"/>
                  </a:cubicBezTo>
                  <a:cubicBezTo>
                    <a:pt x="754" y="504"/>
                    <a:pt x="745" y="493"/>
                    <a:pt x="736" y="485"/>
                  </a:cubicBezTo>
                  <a:cubicBezTo>
                    <a:pt x="727" y="477"/>
                    <a:pt x="719" y="467"/>
                    <a:pt x="719" y="467"/>
                  </a:cubicBezTo>
                  <a:cubicBezTo>
                    <a:pt x="705" y="470"/>
                    <a:pt x="705" y="470"/>
                    <a:pt x="705" y="470"/>
                  </a:cubicBezTo>
                  <a:cubicBezTo>
                    <a:pt x="705" y="470"/>
                    <a:pt x="704" y="462"/>
                    <a:pt x="695" y="457"/>
                  </a:cubicBezTo>
                  <a:cubicBezTo>
                    <a:pt x="686" y="452"/>
                    <a:pt x="687" y="471"/>
                    <a:pt x="687" y="471"/>
                  </a:cubicBezTo>
                  <a:cubicBezTo>
                    <a:pt x="687" y="471"/>
                    <a:pt x="686" y="464"/>
                    <a:pt x="677" y="464"/>
                  </a:cubicBezTo>
                  <a:cubicBezTo>
                    <a:pt x="668" y="464"/>
                    <a:pt x="663" y="472"/>
                    <a:pt x="663" y="472"/>
                  </a:cubicBezTo>
                  <a:cubicBezTo>
                    <a:pt x="660" y="465"/>
                    <a:pt x="660" y="465"/>
                    <a:pt x="660" y="465"/>
                  </a:cubicBezTo>
                  <a:cubicBezTo>
                    <a:pt x="660" y="465"/>
                    <a:pt x="653" y="461"/>
                    <a:pt x="640" y="459"/>
                  </a:cubicBezTo>
                  <a:cubicBezTo>
                    <a:pt x="627" y="457"/>
                    <a:pt x="639" y="452"/>
                    <a:pt x="634" y="450"/>
                  </a:cubicBezTo>
                  <a:cubicBezTo>
                    <a:pt x="629" y="448"/>
                    <a:pt x="624" y="451"/>
                    <a:pt x="616" y="451"/>
                  </a:cubicBezTo>
                  <a:cubicBezTo>
                    <a:pt x="608" y="451"/>
                    <a:pt x="601" y="437"/>
                    <a:pt x="601" y="437"/>
                  </a:cubicBezTo>
                  <a:cubicBezTo>
                    <a:pt x="592" y="438"/>
                    <a:pt x="592" y="438"/>
                    <a:pt x="592" y="438"/>
                  </a:cubicBezTo>
                  <a:cubicBezTo>
                    <a:pt x="564" y="423"/>
                    <a:pt x="564" y="423"/>
                    <a:pt x="564" y="423"/>
                  </a:cubicBezTo>
                  <a:cubicBezTo>
                    <a:pt x="557" y="413"/>
                    <a:pt x="557" y="413"/>
                    <a:pt x="557" y="413"/>
                  </a:cubicBezTo>
                  <a:cubicBezTo>
                    <a:pt x="539" y="413"/>
                    <a:pt x="539" y="413"/>
                    <a:pt x="539" y="413"/>
                  </a:cubicBezTo>
                  <a:cubicBezTo>
                    <a:pt x="528" y="395"/>
                    <a:pt x="528" y="395"/>
                    <a:pt x="528" y="395"/>
                  </a:cubicBezTo>
                  <a:cubicBezTo>
                    <a:pt x="518" y="401"/>
                    <a:pt x="518" y="401"/>
                    <a:pt x="518" y="401"/>
                  </a:cubicBezTo>
                  <a:cubicBezTo>
                    <a:pt x="518" y="401"/>
                    <a:pt x="506" y="390"/>
                    <a:pt x="499" y="382"/>
                  </a:cubicBezTo>
                  <a:cubicBezTo>
                    <a:pt x="492" y="374"/>
                    <a:pt x="511" y="364"/>
                    <a:pt x="511" y="364"/>
                  </a:cubicBezTo>
                  <a:cubicBezTo>
                    <a:pt x="511" y="364"/>
                    <a:pt x="506" y="364"/>
                    <a:pt x="502" y="358"/>
                  </a:cubicBezTo>
                  <a:cubicBezTo>
                    <a:pt x="498" y="352"/>
                    <a:pt x="509" y="350"/>
                    <a:pt x="509" y="350"/>
                  </a:cubicBezTo>
                  <a:cubicBezTo>
                    <a:pt x="503" y="341"/>
                    <a:pt x="503" y="341"/>
                    <a:pt x="503" y="341"/>
                  </a:cubicBezTo>
                  <a:cubicBezTo>
                    <a:pt x="518" y="323"/>
                    <a:pt x="518" y="323"/>
                    <a:pt x="518" y="323"/>
                  </a:cubicBezTo>
                  <a:cubicBezTo>
                    <a:pt x="524" y="310"/>
                    <a:pt x="524" y="310"/>
                    <a:pt x="524" y="310"/>
                  </a:cubicBezTo>
                  <a:cubicBezTo>
                    <a:pt x="509" y="296"/>
                    <a:pt x="509" y="296"/>
                    <a:pt x="509" y="296"/>
                  </a:cubicBezTo>
                  <a:cubicBezTo>
                    <a:pt x="509" y="296"/>
                    <a:pt x="498" y="296"/>
                    <a:pt x="492" y="293"/>
                  </a:cubicBezTo>
                  <a:cubicBezTo>
                    <a:pt x="486" y="290"/>
                    <a:pt x="492" y="282"/>
                    <a:pt x="492" y="282"/>
                  </a:cubicBezTo>
                  <a:cubicBezTo>
                    <a:pt x="481" y="283"/>
                    <a:pt x="481" y="283"/>
                    <a:pt x="481" y="283"/>
                  </a:cubicBezTo>
                  <a:cubicBezTo>
                    <a:pt x="466" y="272"/>
                    <a:pt x="466" y="272"/>
                    <a:pt x="466" y="272"/>
                  </a:cubicBezTo>
                  <a:cubicBezTo>
                    <a:pt x="466" y="272"/>
                    <a:pt x="456" y="270"/>
                    <a:pt x="445" y="266"/>
                  </a:cubicBezTo>
                  <a:cubicBezTo>
                    <a:pt x="434" y="262"/>
                    <a:pt x="430" y="247"/>
                    <a:pt x="430" y="247"/>
                  </a:cubicBezTo>
                  <a:cubicBezTo>
                    <a:pt x="430" y="247"/>
                    <a:pt x="419" y="252"/>
                    <a:pt x="412" y="249"/>
                  </a:cubicBezTo>
                  <a:cubicBezTo>
                    <a:pt x="405" y="246"/>
                    <a:pt x="412" y="221"/>
                    <a:pt x="412" y="221"/>
                  </a:cubicBezTo>
                  <a:cubicBezTo>
                    <a:pt x="412" y="221"/>
                    <a:pt x="392" y="210"/>
                    <a:pt x="390" y="200"/>
                  </a:cubicBezTo>
                  <a:cubicBezTo>
                    <a:pt x="388" y="190"/>
                    <a:pt x="401" y="185"/>
                    <a:pt x="405" y="185"/>
                  </a:cubicBezTo>
                  <a:cubicBezTo>
                    <a:pt x="409" y="185"/>
                    <a:pt x="407" y="195"/>
                    <a:pt x="407" y="195"/>
                  </a:cubicBezTo>
                  <a:cubicBezTo>
                    <a:pt x="417" y="203"/>
                    <a:pt x="417" y="203"/>
                    <a:pt x="417" y="203"/>
                  </a:cubicBezTo>
                  <a:cubicBezTo>
                    <a:pt x="423" y="194"/>
                    <a:pt x="423" y="194"/>
                    <a:pt x="423" y="194"/>
                  </a:cubicBezTo>
                  <a:cubicBezTo>
                    <a:pt x="423" y="194"/>
                    <a:pt x="432" y="191"/>
                    <a:pt x="440" y="186"/>
                  </a:cubicBezTo>
                  <a:cubicBezTo>
                    <a:pt x="448" y="181"/>
                    <a:pt x="429" y="166"/>
                    <a:pt x="429" y="166"/>
                  </a:cubicBezTo>
                  <a:cubicBezTo>
                    <a:pt x="424" y="157"/>
                    <a:pt x="424" y="157"/>
                    <a:pt x="424" y="157"/>
                  </a:cubicBezTo>
                  <a:cubicBezTo>
                    <a:pt x="424" y="157"/>
                    <a:pt x="419" y="154"/>
                    <a:pt x="404" y="147"/>
                  </a:cubicBezTo>
                  <a:cubicBezTo>
                    <a:pt x="389" y="140"/>
                    <a:pt x="395" y="129"/>
                    <a:pt x="395" y="129"/>
                  </a:cubicBezTo>
                  <a:cubicBezTo>
                    <a:pt x="406" y="123"/>
                    <a:pt x="406" y="123"/>
                    <a:pt x="406" y="123"/>
                  </a:cubicBezTo>
                  <a:cubicBezTo>
                    <a:pt x="394" y="107"/>
                    <a:pt x="394" y="107"/>
                    <a:pt x="394" y="107"/>
                  </a:cubicBezTo>
                  <a:cubicBezTo>
                    <a:pt x="394" y="107"/>
                    <a:pt x="413" y="108"/>
                    <a:pt x="422" y="103"/>
                  </a:cubicBezTo>
                  <a:cubicBezTo>
                    <a:pt x="431" y="98"/>
                    <a:pt x="425" y="74"/>
                    <a:pt x="425" y="74"/>
                  </a:cubicBezTo>
                  <a:cubicBezTo>
                    <a:pt x="425" y="74"/>
                    <a:pt x="434" y="74"/>
                    <a:pt x="438" y="69"/>
                  </a:cubicBezTo>
                  <a:cubicBezTo>
                    <a:pt x="442" y="64"/>
                    <a:pt x="438" y="28"/>
                    <a:pt x="438" y="28"/>
                  </a:cubicBezTo>
                  <a:cubicBezTo>
                    <a:pt x="438" y="28"/>
                    <a:pt x="424" y="30"/>
                    <a:pt x="413" y="28"/>
                  </a:cubicBezTo>
                  <a:cubicBezTo>
                    <a:pt x="402" y="26"/>
                    <a:pt x="400" y="12"/>
                    <a:pt x="383" y="6"/>
                  </a:cubicBezTo>
                  <a:cubicBezTo>
                    <a:pt x="366" y="0"/>
                    <a:pt x="335" y="29"/>
                    <a:pt x="335" y="29"/>
                  </a:cubicBezTo>
                  <a:cubicBezTo>
                    <a:pt x="335" y="29"/>
                    <a:pt x="328" y="29"/>
                    <a:pt x="319" y="29"/>
                  </a:cubicBezTo>
                  <a:cubicBezTo>
                    <a:pt x="304" y="51"/>
                    <a:pt x="304" y="51"/>
                    <a:pt x="304" y="51"/>
                  </a:cubicBezTo>
                  <a:cubicBezTo>
                    <a:pt x="289" y="57"/>
                    <a:pt x="289" y="57"/>
                    <a:pt x="289" y="57"/>
                  </a:cubicBezTo>
                  <a:cubicBezTo>
                    <a:pt x="289" y="57"/>
                    <a:pt x="289" y="68"/>
                    <a:pt x="286" y="69"/>
                  </a:cubicBezTo>
                  <a:cubicBezTo>
                    <a:pt x="283" y="70"/>
                    <a:pt x="272" y="69"/>
                    <a:pt x="272" y="69"/>
                  </a:cubicBezTo>
                  <a:cubicBezTo>
                    <a:pt x="266" y="74"/>
                    <a:pt x="266" y="74"/>
                    <a:pt x="266" y="74"/>
                  </a:cubicBezTo>
                  <a:cubicBezTo>
                    <a:pt x="262" y="70"/>
                    <a:pt x="262" y="70"/>
                    <a:pt x="262" y="70"/>
                  </a:cubicBezTo>
                  <a:cubicBezTo>
                    <a:pt x="262" y="70"/>
                    <a:pt x="244" y="83"/>
                    <a:pt x="237" y="84"/>
                  </a:cubicBezTo>
                  <a:cubicBezTo>
                    <a:pt x="230" y="85"/>
                    <a:pt x="227" y="73"/>
                    <a:pt x="227" y="73"/>
                  </a:cubicBezTo>
                  <a:cubicBezTo>
                    <a:pt x="227" y="73"/>
                    <a:pt x="198" y="67"/>
                    <a:pt x="176" y="70"/>
                  </a:cubicBezTo>
                  <a:cubicBezTo>
                    <a:pt x="154" y="73"/>
                    <a:pt x="156" y="89"/>
                    <a:pt x="156" y="89"/>
                  </a:cubicBezTo>
                  <a:cubicBezTo>
                    <a:pt x="171" y="99"/>
                    <a:pt x="171" y="99"/>
                    <a:pt x="171" y="99"/>
                  </a:cubicBezTo>
                  <a:cubicBezTo>
                    <a:pt x="167" y="108"/>
                    <a:pt x="167" y="108"/>
                    <a:pt x="167" y="108"/>
                  </a:cubicBezTo>
                  <a:cubicBezTo>
                    <a:pt x="187" y="112"/>
                    <a:pt x="187" y="112"/>
                    <a:pt x="187" y="112"/>
                  </a:cubicBezTo>
                  <a:cubicBezTo>
                    <a:pt x="187" y="112"/>
                    <a:pt x="178" y="120"/>
                    <a:pt x="175" y="130"/>
                  </a:cubicBezTo>
                  <a:cubicBezTo>
                    <a:pt x="172" y="140"/>
                    <a:pt x="186" y="141"/>
                    <a:pt x="186" y="141"/>
                  </a:cubicBezTo>
                  <a:cubicBezTo>
                    <a:pt x="186" y="141"/>
                    <a:pt x="185" y="149"/>
                    <a:pt x="184" y="157"/>
                  </a:cubicBezTo>
                  <a:cubicBezTo>
                    <a:pt x="183" y="165"/>
                    <a:pt x="194" y="162"/>
                    <a:pt x="194" y="162"/>
                  </a:cubicBezTo>
                  <a:cubicBezTo>
                    <a:pt x="202" y="172"/>
                    <a:pt x="202" y="172"/>
                    <a:pt x="202" y="172"/>
                  </a:cubicBezTo>
                  <a:cubicBezTo>
                    <a:pt x="216" y="173"/>
                    <a:pt x="216" y="173"/>
                    <a:pt x="216" y="173"/>
                  </a:cubicBezTo>
                  <a:cubicBezTo>
                    <a:pt x="219" y="196"/>
                    <a:pt x="219" y="196"/>
                    <a:pt x="219" y="196"/>
                  </a:cubicBezTo>
                  <a:cubicBezTo>
                    <a:pt x="243" y="195"/>
                    <a:pt x="243" y="195"/>
                    <a:pt x="243" y="195"/>
                  </a:cubicBezTo>
                  <a:cubicBezTo>
                    <a:pt x="243" y="195"/>
                    <a:pt x="255" y="200"/>
                    <a:pt x="256" y="209"/>
                  </a:cubicBezTo>
                  <a:cubicBezTo>
                    <a:pt x="257" y="218"/>
                    <a:pt x="228" y="222"/>
                    <a:pt x="224" y="224"/>
                  </a:cubicBezTo>
                  <a:cubicBezTo>
                    <a:pt x="220" y="226"/>
                    <a:pt x="223" y="240"/>
                    <a:pt x="223" y="244"/>
                  </a:cubicBezTo>
                  <a:cubicBezTo>
                    <a:pt x="223" y="248"/>
                    <a:pt x="235" y="268"/>
                    <a:pt x="235" y="268"/>
                  </a:cubicBezTo>
                  <a:cubicBezTo>
                    <a:pt x="217" y="281"/>
                    <a:pt x="217" y="281"/>
                    <a:pt x="217" y="281"/>
                  </a:cubicBezTo>
                  <a:cubicBezTo>
                    <a:pt x="200" y="305"/>
                    <a:pt x="200" y="305"/>
                    <a:pt x="200" y="305"/>
                  </a:cubicBezTo>
                  <a:cubicBezTo>
                    <a:pt x="211" y="322"/>
                    <a:pt x="211" y="322"/>
                    <a:pt x="211" y="322"/>
                  </a:cubicBezTo>
                  <a:cubicBezTo>
                    <a:pt x="211" y="322"/>
                    <a:pt x="192" y="323"/>
                    <a:pt x="188" y="332"/>
                  </a:cubicBezTo>
                  <a:cubicBezTo>
                    <a:pt x="184" y="341"/>
                    <a:pt x="187" y="359"/>
                    <a:pt x="179" y="372"/>
                  </a:cubicBezTo>
                  <a:cubicBezTo>
                    <a:pt x="171" y="385"/>
                    <a:pt x="155" y="388"/>
                    <a:pt x="151" y="391"/>
                  </a:cubicBezTo>
                  <a:cubicBezTo>
                    <a:pt x="147" y="394"/>
                    <a:pt x="146" y="414"/>
                    <a:pt x="146" y="414"/>
                  </a:cubicBezTo>
                  <a:cubicBezTo>
                    <a:pt x="137" y="419"/>
                    <a:pt x="137" y="419"/>
                    <a:pt x="137" y="419"/>
                  </a:cubicBezTo>
                  <a:cubicBezTo>
                    <a:pt x="137" y="419"/>
                    <a:pt x="136" y="429"/>
                    <a:pt x="129" y="437"/>
                  </a:cubicBezTo>
                  <a:cubicBezTo>
                    <a:pt x="122" y="445"/>
                    <a:pt x="107" y="437"/>
                    <a:pt x="107" y="437"/>
                  </a:cubicBezTo>
                  <a:cubicBezTo>
                    <a:pt x="107" y="437"/>
                    <a:pt x="102" y="445"/>
                    <a:pt x="89" y="447"/>
                  </a:cubicBezTo>
                  <a:cubicBezTo>
                    <a:pt x="76" y="449"/>
                    <a:pt x="84" y="432"/>
                    <a:pt x="70" y="434"/>
                  </a:cubicBezTo>
                  <a:cubicBezTo>
                    <a:pt x="56" y="436"/>
                    <a:pt x="57" y="450"/>
                    <a:pt x="57" y="450"/>
                  </a:cubicBezTo>
                  <a:cubicBezTo>
                    <a:pt x="57" y="450"/>
                    <a:pt x="50" y="462"/>
                    <a:pt x="42" y="469"/>
                  </a:cubicBezTo>
                  <a:cubicBezTo>
                    <a:pt x="34" y="476"/>
                    <a:pt x="33" y="476"/>
                    <a:pt x="33" y="493"/>
                  </a:cubicBezTo>
                  <a:cubicBezTo>
                    <a:pt x="33" y="510"/>
                    <a:pt x="48" y="508"/>
                    <a:pt x="48" y="508"/>
                  </a:cubicBezTo>
                  <a:cubicBezTo>
                    <a:pt x="66" y="506"/>
                    <a:pt x="66" y="506"/>
                    <a:pt x="66" y="506"/>
                  </a:cubicBezTo>
                  <a:cubicBezTo>
                    <a:pt x="67" y="516"/>
                    <a:pt x="67" y="516"/>
                    <a:pt x="67" y="516"/>
                  </a:cubicBezTo>
                  <a:cubicBezTo>
                    <a:pt x="65" y="536"/>
                    <a:pt x="65" y="536"/>
                    <a:pt x="65" y="536"/>
                  </a:cubicBezTo>
                  <a:cubicBezTo>
                    <a:pt x="65" y="536"/>
                    <a:pt x="67" y="544"/>
                    <a:pt x="74" y="551"/>
                  </a:cubicBezTo>
                  <a:cubicBezTo>
                    <a:pt x="81" y="558"/>
                    <a:pt x="97" y="558"/>
                    <a:pt x="97" y="558"/>
                  </a:cubicBezTo>
                  <a:cubicBezTo>
                    <a:pt x="97" y="573"/>
                    <a:pt x="97" y="573"/>
                    <a:pt x="97" y="573"/>
                  </a:cubicBezTo>
                  <a:cubicBezTo>
                    <a:pt x="111" y="601"/>
                    <a:pt x="111" y="601"/>
                    <a:pt x="111" y="601"/>
                  </a:cubicBezTo>
                  <a:cubicBezTo>
                    <a:pt x="111" y="601"/>
                    <a:pt x="122" y="616"/>
                    <a:pt x="120" y="625"/>
                  </a:cubicBezTo>
                  <a:cubicBezTo>
                    <a:pt x="118" y="634"/>
                    <a:pt x="109" y="635"/>
                    <a:pt x="98" y="635"/>
                  </a:cubicBezTo>
                  <a:cubicBezTo>
                    <a:pt x="87" y="635"/>
                    <a:pt x="97" y="624"/>
                    <a:pt x="86" y="626"/>
                  </a:cubicBezTo>
                  <a:cubicBezTo>
                    <a:pt x="75" y="628"/>
                    <a:pt x="77" y="638"/>
                    <a:pt x="63" y="638"/>
                  </a:cubicBezTo>
                  <a:cubicBezTo>
                    <a:pt x="49" y="638"/>
                    <a:pt x="52" y="630"/>
                    <a:pt x="52" y="630"/>
                  </a:cubicBezTo>
                  <a:cubicBezTo>
                    <a:pt x="35" y="636"/>
                    <a:pt x="35" y="636"/>
                    <a:pt x="35" y="636"/>
                  </a:cubicBezTo>
                  <a:cubicBezTo>
                    <a:pt x="35" y="636"/>
                    <a:pt x="26" y="629"/>
                    <a:pt x="15" y="630"/>
                  </a:cubicBezTo>
                  <a:cubicBezTo>
                    <a:pt x="4" y="631"/>
                    <a:pt x="13" y="647"/>
                    <a:pt x="13" y="647"/>
                  </a:cubicBezTo>
                  <a:cubicBezTo>
                    <a:pt x="0" y="652"/>
                    <a:pt x="0" y="652"/>
                    <a:pt x="0" y="652"/>
                  </a:cubicBezTo>
                  <a:cubicBezTo>
                    <a:pt x="11" y="653"/>
                    <a:pt x="23" y="653"/>
                    <a:pt x="23" y="653"/>
                  </a:cubicBezTo>
                  <a:cubicBezTo>
                    <a:pt x="23" y="653"/>
                    <a:pt x="13" y="677"/>
                    <a:pt x="26" y="686"/>
                  </a:cubicBezTo>
                  <a:cubicBezTo>
                    <a:pt x="38" y="696"/>
                    <a:pt x="71" y="699"/>
                    <a:pt x="78" y="697"/>
                  </a:cubicBezTo>
                  <a:cubicBezTo>
                    <a:pt x="84" y="695"/>
                    <a:pt x="108" y="678"/>
                    <a:pt x="108" y="678"/>
                  </a:cubicBezTo>
                  <a:cubicBezTo>
                    <a:pt x="108" y="678"/>
                    <a:pt x="118" y="690"/>
                    <a:pt x="106" y="701"/>
                  </a:cubicBezTo>
                  <a:cubicBezTo>
                    <a:pt x="94" y="712"/>
                    <a:pt x="70" y="719"/>
                    <a:pt x="70" y="719"/>
                  </a:cubicBezTo>
                  <a:cubicBezTo>
                    <a:pt x="70" y="719"/>
                    <a:pt x="32" y="724"/>
                    <a:pt x="30" y="735"/>
                  </a:cubicBezTo>
                  <a:cubicBezTo>
                    <a:pt x="28" y="746"/>
                    <a:pt x="58" y="770"/>
                    <a:pt x="70" y="779"/>
                  </a:cubicBezTo>
                  <a:cubicBezTo>
                    <a:pt x="83" y="788"/>
                    <a:pt x="106" y="816"/>
                    <a:pt x="136" y="818"/>
                  </a:cubicBezTo>
                  <a:cubicBezTo>
                    <a:pt x="167" y="821"/>
                    <a:pt x="205" y="794"/>
                    <a:pt x="201" y="775"/>
                  </a:cubicBezTo>
                  <a:cubicBezTo>
                    <a:pt x="197" y="757"/>
                    <a:pt x="207" y="742"/>
                    <a:pt x="217" y="733"/>
                  </a:cubicBezTo>
                  <a:cubicBezTo>
                    <a:pt x="226" y="723"/>
                    <a:pt x="248" y="718"/>
                    <a:pt x="238" y="735"/>
                  </a:cubicBezTo>
                  <a:cubicBezTo>
                    <a:pt x="229" y="752"/>
                    <a:pt x="206" y="767"/>
                    <a:pt x="213" y="781"/>
                  </a:cubicBezTo>
                  <a:cubicBezTo>
                    <a:pt x="220" y="795"/>
                    <a:pt x="238" y="793"/>
                    <a:pt x="238" y="808"/>
                  </a:cubicBezTo>
                  <a:cubicBezTo>
                    <a:pt x="237" y="822"/>
                    <a:pt x="233" y="838"/>
                    <a:pt x="227" y="861"/>
                  </a:cubicBezTo>
                  <a:cubicBezTo>
                    <a:pt x="220" y="885"/>
                    <a:pt x="220" y="907"/>
                    <a:pt x="227" y="936"/>
                  </a:cubicBezTo>
                  <a:cubicBezTo>
                    <a:pt x="235" y="964"/>
                    <a:pt x="247" y="1014"/>
                    <a:pt x="258" y="1029"/>
                  </a:cubicBezTo>
                  <a:cubicBezTo>
                    <a:pt x="269" y="1045"/>
                    <a:pt x="272" y="1039"/>
                    <a:pt x="267" y="1062"/>
                  </a:cubicBezTo>
                  <a:cubicBezTo>
                    <a:pt x="262" y="1085"/>
                    <a:pt x="299" y="1092"/>
                    <a:pt x="299" y="1092"/>
                  </a:cubicBezTo>
                  <a:cubicBezTo>
                    <a:pt x="299" y="1092"/>
                    <a:pt x="304" y="1124"/>
                    <a:pt x="312" y="1135"/>
                  </a:cubicBezTo>
                  <a:cubicBezTo>
                    <a:pt x="321" y="1147"/>
                    <a:pt x="339" y="1156"/>
                    <a:pt x="339" y="1156"/>
                  </a:cubicBezTo>
                  <a:cubicBezTo>
                    <a:pt x="339" y="1156"/>
                    <a:pt x="344" y="1222"/>
                    <a:pt x="354" y="1252"/>
                  </a:cubicBezTo>
                  <a:cubicBezTo>
                    <a:pt x="365" y="1282"/>
                    <a:pt x="402" y="1323"/>
                    <a:pt x="407" y="1335"/>
                  </a:cubicBezTo>
                  <a:cubicBezTo>
                    <a:pt x="412" y="1348"/>
                    <a:pt x="414" y="1374"/>
                    <a:pt x="413" y="1386"/>
                  </a:cubicBezTo>
                  <a:cubicBezTo>
                    <a:pt x="411" y="1398"/>
                    <a:pt x="479" y="1502"/>
                    <a:pt x="479" y="1502"/>
                  </a:cubicBezTo>
                  <a:cubicBezTo>
                    <a:pt x="479" y="1502"/>
                    <a:pt x="512" y="1493"/>
                    <a:pt x="518" y="1484"/>
                  </a:cubicBezTo>
                  <a:cubicBezTo>
                    <a:pt x="523" y="1474"/>
                    <a:pt x="515" y="1452"/>
                    <a:pt x="526" y="1445"/>
                  </a:cubicBezTo>
                  <a:cubicBezTo>
                    <a:pt x="536" y="1438"/>
                    <a:pt x="540" y="1446"/>
                    <a:pt x="550" y="1443"/>
                  </a:cubicBezTo>
                  <a:cubicBezTo>
                    <a:pt x="561" y="1440"/>
                    <a:pt x="578" y="1427"/>
                    <a:pt x="578" y="1427"/>
                  </a:cubicBezTo>
                  <a:cubicBezTo>
                    <a:pt x="578" y="1427"/>
                    <a:pt x="563" y="1431"/>
                    <a:pt x="566" y="1414"/>
                  </a:cubicBezTo>
                  <a:cubicBezTo>
                    <a:pt x="568" y="1397"/>
                    <a:pt x="575" y="1394"/>
                    <a:pt x="587" y="1388"/>
                  </a:cubicBezTo>
                  <a:cubicBezTo>
                    <a:pt x="599" y="1382"/>
                    <a:pt x="613" y="1379"/>
                    <a:pt x="613" y="1371"/>
                  </a:cubicBezTo>
                  <a:cubicBezTo>
                    <a:pt x="614" y="1362"/>
                    <a:pt x="601" y="1330"/>
                    <a:pt x="601" y="1311"/>
                  </a:cubicBezTo>
                  <a:cubicBezTo>
                    <a:pt x="600" y="1293"/>
                    <a:pt x="599" y="1264"/>
                    <a:pt x="605" y="1261"/>
                  </a:cubicBezTo>
                  <a:cubicBezTo>
                    <a:pt x="612" y="1257"/>
                    <a:pt x="609" y="1249"/>
                    <a:pt x="610" y="1217"/>
                  </a:cubicBezTo>
                  <a:cubicBezTo>
                    <a:pt x="612" y="1185"/>
                    <a:pt x="592" y="1185"/>
                    <a:pt x="590" y="1172"/>
                  </a:cubicBezTo>
                  <a:cubicBezTo>
                    <a:pt x="588" y="1160"/>
                    <a:pt x="598" y="1154"/>
                    <a:pt x="599" y="1142"/>
                  </a:cubicBezTo>
                  <a:cubicBezTo>
                    <a:pt x="601" y="1130"/>
                    <a:pt x="594" y="1123"/>
                    <a:pt x="594" y="1107"/>
                  </a:cubicBezTo>
                  <a:cubicBezTo>
                    <a:pt x="595" y="1091"/>
                    <a:pt x="631" y="1089"/>
                    <a:pt x="631" y="1082"/>
                  </a:cubicBezTo>
                  <a:cubicBezTo>
                    <a:pt x="631" y="1075"/>
                    <a:pt x="631" y="1059"/>
                    <a:pt x="638" y="1054"/>
                  </a:cubicBezTo>
                  <a:cubicBezTo>
                    <a:pt x="646" y="1049"/>
                    <a:pt x="660" y="1050"/>
                    <a:pt x="660" y="1050"/>
                  </a:cubicBezTo>
                  <a:cubicBezTo>
                    <a:pt x="663" y="1044"/>
                    <a:pt x="663" y="1044"/>
                    <a:pt x="663" y="1044"/>
                  </a:cubicBezTo>
                  <a:cubicBezTo>
                    <a:pt x="663" y="1044"/>
                    <a:pt x="686" y="1055"/>
                    <a:pt x="688" y="1044"/>
                  </a:cubicBezTo>
                  <a:cubicBezTo>
                    <a:pt x="690" y="1033"/>
                    <a:pt x="709" y="998"/>
                    <a:pt x="715" y="988"/>
                  </a:cubicBezTo>
                  <a:cubicBezTo>
                    <a:pt x="722" y="979"/>
                    <a:pt x="744" y="980"/>
                    <a:pt x="751" y="966"/>
                  </a:cubicBezTo>
                  <a:cubicBezTo>
                    <a:pt x="758" y="953"/>
                    <a:pt x="769" y="925"/>
                    <a:pt x="779" y="916"/>
                  </a:cubicBezTo>
                  <a:cubicBezTo>
                    <a:pt x="788" y="906"/>
                    <a:pt x="827" y="886"/>
                    <a:pt x="827" y="886"/>
                  </a:cubicBezTo>
                  <a:cubicBezTo>
                    <a:pt x="820" y="866"/>
                    <a:pt x="820" y="866"/>
                    <a:pt x="820" y="866"/>
                  </a:cubicBezTo>
                  <a:cubicBezTo>
                    <a:pt x="826" y="861"/>
                    <a:pt x="826" y="861"/>
                    <a:pt x="826" y="861"/>
                  </a:cubicBezTo>
                  <a:cubicBezTo>
                    <a:pt x="839" y="880"/>
                    <a:pt x="839" y="880"/>
                    <a:pt x="839" y="880"/>
                  </a:cubicBezTo>
                  <a:cubicBezTo>
                    <a:pt x="880" y="841"/>
                    <a:pt x="880" y="841"/>
                    <a:pt x="880" y="841"/>
                  </a:cubicBezTo>
                  <a:cubicBezTo>
                    <a:pt x="887" y="823"/>
                    <a:pt x="887" y="823"/>
                    <a:pt x="887" y="823"/>
                  </a:cubicBezTo>
                  <a:cubicBezTo>
                    <a:pt x="887" y="823"/>
                    <a:pt x="873" y="806"/>
                    <a:pt x="873" y="795"/>
                  </a:cubicBezTo>
                  <a:cubicBezTo>
                    <a:pt x="874" y="784"/>
                    <a:pt x="897" y="788"/>
                    <a:pt x="909" y="773"/>
                  </a:cubicBezTo>
                  <a:cubicBezTo>
                    <a:pt x="921" y="757"/>
                    <a:pt x="917" y="744"/>
                    <a:pt x="917" y="744"/>
                  </a:cubicBezTo>
                  <a:cubicBezTo>
                    <a:pt x="928" y="749"/>
                    <a:pt x="928" y="749"/>
                    <a:pt x="928" y="749"/>
                  </a:cubicBezTo>
                  <a:cubicBezTo>
                    <a:pt x="934" y="767"/>
                    <a:pt x="934" y="767"/>
                    <a:pt x="934" y="767"/>
                  </a:cubicBezTo>
                  <a:cubicBezTo>
                    <a:pt x="942" y="744"/>
                    <a:pt x="942" y="744"/>
                    <a:pt x="942" y="744"/>
                  </a:cubicBezTo>
                  <a:cubicBezTo>
                    <a:pt x="942" y="744"/>
                    <a:pt x="950" y="786"/>
                    <a:pt x="957" y="789"/>
                  </a:cubicBezTo>
                  <a:cubicBezTo>
                    <a:pt x="965" y="791"/>
                    <a:pt x="968" y="763"/>
                    <a:pt x="968" y="763"/>
                  </a:cubicBezTo>
                  <a:cubicBezTo>
                    <a:pt x="970" y="745"/>
                    <a:pt x="970" y="745"/>
                    <a:pt x="970" y="745"/>
                  </a:cubicBezTo>
                  <a:cubicBezTo>
                    <a:pt x="958" y="717"/>
                    <a:pt x="958" y="717"/>
                    <a:pt x="958" y="717"/>
                  </a:cubicBezTo>
                  <a:cubicBezTo>
                    <a:pt x="959" y="697"/>
                    <a:pt x="959" y="697"/>
                    <a:pt x="959" y="697"/>
                  </a:cubicBezTo>
                  <a:cubicBezTo>
                    <a:pt x="939" y="681"/>
                    <a:pt x="939" y="681"/>
                    <a:pt x="939" y="681"/>
                  </a:cubicBezTo>
                  <a:cubicBezTo>
                    <a:pt x="930" y="661"/>
                    <a:pt x="930" y="661"/>
                    <a:pt x="930" y="661"/>
                  </a:cubicBezTo>
                  <a:cubicBezTo>
                    <a:pt x="930" y="661"/>
                    <a:pt x="939" y="653"/>
                    <a:pt x="942" y="637"/>
                  </a:cubicBezTo>
                  <a:cubicBezTo>
                    <a:pt x="945" y="621"/>
                    <a:pt x="918" y="627"/>
                    <a:pt x="908" y="617"/>
                  </a:cubicBezTo>
                  <a:cubicBezTo>
                    <a:pt x="898" y="607"/>
                    <a:pt x="917" y="604"/>
                    <a:pt x="917" y="604"/>
                  </a:cubicBezTo>
                  <a:cubicBezTo>
                    <a:pt x="917" y="585"/>
                    <a:pt x="917" y="585"/>
                    <a:pt x="917" y="585"/>
                  </a:cubicBezTo>
                  <a:cubicBezTo>
                    <a:pt x="939" y="584"/>
                    <a:pt x="939" y="584"/>
                    <a:pt x="939" y="584"/>
                  </a:cubicBezTo>
                  <a:cubicBezTo>
                    <a:pt x="938" y="576"/>
                    <a:pt x="938" y="576"/>
                    <a:pt x="938" y="576"/>
                  </a:cubicBezTo>
                  <a:cubicBezTo>
                    <a:pt x="921" y="565"/>
                    <a:pt x="921" y="565"/>
                    <a:pt x="921" y="565"/>
                  </a:cubicBezTo>
                  <a:cubicBezTo>
                    <a:pt x="921" y="565"/>
                    <a:pt x="899" y="557"/>
                    <a:pt x="897" y="546"/>
                  </a:cubicBezTo>
                  <a:cubicBezTo>
                    <a:pt x="895" y="535"/>
                    <a:pt x="906" y="523"/>
                    <a:pt x="906" y="523"/>
                  </a:cubicBezTo>
                  <a:cubicBezTo>
                    <a:pt x="901" y="511"/>
                    <a:pt x="901" y="511"/>
                    <a:pt x="901" y="511"/>
                  </a:cubicBezTo>
                  <a:cubicBezTo>
                    <a:pt x="912" y="514"/>
                    <a:pt x="912" y="514"/>
                    <a:pt x="912" y="514"/>
                  </a:cubicBezTo>
                  <a:cubicBezTo>
                    <a:pt x="928" y="522"/>
                    <a:pt x="928" y="522"/>
                    <a:pt x="928" y="522"/>
                  </a:cubicBezTo>
                  <a:cubicBezTo>
                    <a:pt x="925" y="515"/>
                    <a:pt x="925" y="515"/>
                    <a:pt x="925" y="515"/>
                  </a:cubicBezTo>
                  <a:cubicBezTo>
                    <a:pt x="936" y="514"/>
                    <a:pt x="936" y="514"/>
                    <a:pt x="936" y="514"/>
                  </a:cubicBezTo>
                  <a:cubicBezTo>
                    <a:pt x="936" y="514"/>
                    <a:pt x="939" y="526"/>
                    <a:pt x="945" y="532"/>
                  </a:cubicBezTo>
                  <a:cubicBezTo>
                    <a:pt x="951" y="538"/>
                    <a:pt x="961" y="540"/>
                    <a:pt x="961" y="540"/>
                  </a:cubicBezTo>
                  <a:cubicBezTo>
                    <a:pt x="962" y="528"/>
                    <a:pt x="962" y="528"/>
                    <a:pt x="962" y="528"/>
                  </a:cubicBezTo>
                  <a:cubicBezTo>
                    <a:pt x="962" y="528"/>
                    <a:pt x="968" y="531"/>
                    <a:pt x="972" y="534"/>
                  </a:cubicBezTo>
                  <a:cubicBezTo>
                    <a:pt x="976" y="537"/>
                    <a:pt x="976" y="555"/>
                    <a:pt x="976" y="555"/>
                  </a:cubicBezTo>
                  <a:cubicBezTo>
                    <a:pt x="980" y="557"/>
                    <a:pt x="980" y="557"/>
                    <a:pt x="980" y="557"/>
                  </a:cubicBezTo>
                  <a:cubicBezTo>
                    <a:pt x="980" y="557"/>
                    <a:pt x="981" y="577"/>
                    <a:pt x="981" y="580"/>
                  </a:cubicBezTo>
                  <a:cubicBezTo>
                    <a:pt x="981" y="583"/>
                    <a:pt x="998" y="586"/>
                    <a:pt x="1008" y="586"/>
                  </a:cubicBezTo>
                  <a:cubicBezTo>
                    <a:pt x="1018" y="586"/>
                    <a:pt x="1049" y="590"/>
                    <a:pt x="1049" y="590"/>
                  </a:cubicBezTo>
                  <a:cubicBezTo>
                    <a:pt x="1079" y="579"/>
                    <a:pt x="1079" y="579"/>
                    <a:pt x="1079" y="579"/>
                  </a:cubicBezTo>
                  <a:cubicBezTo>
                    <a:pt x="1079" y="579"/>
                    <a:pt x="1101" y="587"/>
                    <a:pt x="1101" y="597"/>
                  </a:cubicBezTo>
                  <a:cubicBezTo>
                    <a:pt x="1101" y="607"/>
                    <a:pt x="1091" y="603"/>
                    <a:pt x="1091" y="603"/>
                  </a:cubicBezTo>
                  <a:cubicBezTo>
                    <a:pt x="1091" y="603"/>
                    <a:pt x="1091" y="612"/>
                    <a:pt x="1088" y="626"/>
                  </a:cubicBezTo>
                  <a:cubicBezTo>
                    <a:pt x="1085" y="640"/>
                    <a:pt x="1071" y="638"/>
                    <a:pt x="1063" y="641"/>
                  </a:cubicBezTo>
                  <a:cubicBezTo>
                    <a:pt x="1055" y="644"/>
                    <a:pt x="1053" y="654"/>
                    <a:pt x="1053" y="670"/>
                  </a:cubicBezTo>
                  <a:cubicBezTo>
                    <a:pt x="1053" y="686"/>
                    <a:pt x="1073" y="689"/>
                    <a:pt x="1073" y="689"/>
                  </a:cubicBezTo>
                  <a:cubicBezTo>
                    <a:pt x="1082" y="704"/>
                    <a:pt x="1082" y="704"/>
                    <a:pt x="1082" y="704"/>
                  </a:cubicBezTo>
                  <a:cubicBezTo>
                    <a:pt x="1089" y="681"/>
                    <a:pt x="1089" y="681"/>
                    <a:pt x="1089" y="681"/>
                  </a:cubicBezTo>
                  <a:cubicBezTo>
                    <a:pt x="1089" y="681"/>
                    <a:pt x="1081" y="660"/>
                    <a:pt x="1099" y="664"/>
                  </a:cubicBezTo>
                  <a:cubicBezTo>
                    <a:pt x="1117" y="668"/>
                    <a:pt x="1111" y="687"/>
                    <a:pt x="1115" y="698"/>
                  </a:cubicBezTo>
                  <a:cubicBezTo>
                    <a:pt x="1119" y="709"/>
                    <a:pt x="1135" y="748"/>
                    <a:pt x="1135" y="748"/>
                  </a:cubicBezTo>
                  <a:cubicBezTo>
                    <a:pt x="1149" y="760"/>
                    <a:pt x="1149" y="760"/>
                    <a:pt x="1149" y="760"/>
                  </a:cubicBezTo>
                  <a:cubicBezTo>
                    <a:pt x="1149" y="760"/>
                    <a:pt x="1148" y="752"/>
                    <a:pt x="1148" y="746"/>
                  </a:cubicBezTo>
                  <a:cubicBezTo>
                    <a:pt x="1148" y="740"/>
                    <a:pt x="1152" y="752"/>
                    <a:pt x="1161" y="750"/>
                  </a:cubicBezTo>
                  <a:cubicBezTo>
                    <a:pt x="1170" y="748"/>
                    <a:pt x="1160" y="736"/>
                    <a:pt x="1156" y="732"/>
                  </a:cubicBezTo>
                  <a:cubicBezTo>
                    <a:pt x="1152" y="728"/>
                    <a:pt x="1152" y="714"/>
                    <a:pt x="1149" y="705"/>
                  </a:cubicBezTo>
                  <a:cubicBezTo>
                    <a:pt x="1146" y="696"/>
                    <a:pt x="1163" y="694"/>
                    <a:pt x="1163" y="694"/>
                  </a:cubicBezTo>
                  <a:cubicBezTo>
                    <a:pt x="1161" y="661"/>
                    <a:pt x="1161" y="661"/>
                    <a:pt x="1161" y="661"/>
                  </a:cubicBezTo>
                  <a:cubicBezTo>
                    <a:pt x="1161" y="661"/>
                    <a:pt x="1147" y="650"/>
                    <a:pt x="1143" y="648"/>
                  </a:cubicBezTo>
                  <a:cubicBezTo>
                    <a:pt x="1139" y="646"/>
                    <a:pt x="1164" y="647"/>
                    <a:pt x="1168" y="648"/>
                  </a:cubicBezTo>
                  <a:cubicBezTo>
                    <a:pt x="1172" y="649"/>
                    <a:pt x="1197" y="653"/>
                    <a:pt x="1197" y="653"/>
                  </a:cubicBezTo>
                  <a:cubicBezTo>
                    <a:pt x="1197" y="629"/>
                    <a:pt x="1197" y="629"/>
                    <a:pt x="1197" y="629"/>
                  </a:cubicBezTo>
                  <a:cubicBezTo>
                    <a:pt x="1209" y="594"/>
                    <a:pt x="1209" y="594"/>
                    <a:pt x="1209" y="594"/>
                  </a:cubicBezTo>
                  <a:cubicBezTo>
                    <a:pt x="1209" y="594"/>
                    <a:pt x="1199" y="586"/>
                    <a:pt x="1199" y="576"/>
                  </a:cubicBezTo>
                  <a:cubicBezTo>
                    <a:pt x="1199" y="566"/>
                    <a:pt x="1213" y="562"/>
                    <a:pt x="1213" y="562"/>
                  </a:cubicBezTo>
                  <a:cubicBezTo>
                    <a:pt x="1225" y="541"/>
                    <a:pt x="1225" y="541"/>
                    <a:pt x="1225" y="541"/>
                  </a:cubicBezTo>
                  <a:cubicBezTo>
                    <a:pt x="1225" y="541"/>
                    <a:pt x="1219" y="530"/>
                    <a:pt x="1218" y="525"/>
                  </a:cubicBezTo>
                  <a:cubicBezTo>
                    <a:pt x="1217" y="520"/>
                    <a:pt x="1215" y="506"/>
                    <a:pt x="1215" y="506"/>
                  </a:cubicBezTo>
                  <a:cubicBezTo>
                    <a:pt x="1215" y="506"/>
                    <a:pt x="1226" y="501"/>
                    <a:pt x="1238" y="497"/>
                  </a:cubicBezTo>
                  <a:cubicBezTo>
                    <a:pt x="1250" y="493"/>
                    <a:pt x="1245" y="478"/>
                    <a:pt x="1253" y="476"/>
                  </a:cubicBezTo>
                  <a:cubicBezTo>
                    <a:pt x="1261" y="474"/>
                    <a:pt x="1276" y="473"/>
                    <a:pt x="1276" y="473"/>
                  </a:cubicBezTo>
                  <a:cubicBezTo>
                    <a:pt x="1276" y="473"/>
                    <a:pt x="1299" y="481"/>
                    <a:pt x="1301" y="477"/>
                  </a:cubicBezTo>
                  <a:cubicBezTo>
                    <a:pt x="1303" y="473"/>
                    <a:pt x="1280" y="463"/>
                    <a:pt x="1280" y="454"/>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77" name="Freeform 38"/>
            <p:cNvSpPr>
              <a:spLocks/>
            </p:cNvSpPr>
            <p:nvPr/>
          </p:nvSpPr>
          <p:spPr bwMode="gray">
            <a:xfrm>
              <a:off x="6645275" y="3117850"/>
              <a:ext cx="238125" cy="560388"/>
            </a:xfrm>
            <a:custGeom>
              <a:avLst/>
              <a:gdLst>
                <a:gd name="T0" fmla="*/ 9 w 426"/>
                <a:gd name="T1" fmla="*/ 422 h 1001"/>
                <a:gd name="T2" fmla="*/ 81 w 426"/>
                <a:gd name="T3" fmla="*/ 465 h 1001"/>
                <a:gd name="T4" fmla="*/ 132 w 426"/>
                <a:gd name="T5" fmla="*/ 562 h 1001"/>
                <a:gd name="T6" fmla="*/ 145 w 426"/>
                <a:gd name="T7" fmla="*/ 654 h 1001"/>
                <a:gd name="T8" fmla="*/ 168 w 426"/>
                <a:gd name="T9" fmla="*/ 671 h 1001"/>
                <a:gd name="T10" fmla="*/ 240 w 426"/>
                <a:gd name="T11" fmla="*/ 641 h 1001"/>
                <a:gd name="T12" fmla="*/ 267 w 426"/>
                <a:gd name="T13" fmla="*/ 638 h 1001"/>
                <a:gd name="T14" fmla="*/ 303 w 426"/>
                <a:gd name="T15" fmla="*/ 745 h 1001"/>
                <a:gd name="T16" fmla="*/ 350 w 426"/>
                <a:gd name="T17" fmla="*/ 849 h 1001"/>
                <a:gd name="T18" fmla="*/ 337 w 426"/>
                <a:gd name="T19" fmla="*/ 918 h 1001"/>
                <a:gd name="T20" fmla="*/ 355 w 426"/>
                <a:gd name="T21" fmla="*/ 970 h 1001"/>
                <a:gd name="T22" fmla="*/ 375 w 426"/>
                <a:gd name="T23" fmla="*/ 956 h 1001"/>
                <a:gd name="T24" fmla="*/ 396 w 426"/>
                <a:gd name="T25" fmla="*/ 861 h 1001"/>
                <a:gd name="T26" fmla="*/ 344 w 426"/>
                <a:gd name="T27" fmla="*/ 760 h 1001"/>
                <a:gd name="T28" fmla="*/ 341 w 426"/>
                <a:gd name="T29" fmla="*/ 687 h 1001"/>
                <a:gd name="T30" fmla="*/ 344 w 426"/>
                <a:gd name="T31" fmla="*/ 653 h 1001"/>
                <a:gd name="T32" fmla="*/ 295 w 426"/>
                <a:gd name="T33" fmla="*/ 592 h 1001"/>
                <a:gd name="T34" fmla="*/ 273 w 426"/>
                <a:gd name="T35" fmla="*/ 554 h 1001"/>
                <a:gd name="T36" fmla="*/ 272 w 426"/>
                <a:gd name="T37" fmla="*/ 512 h 1001"/>
                <a:gd name="T38" fmla="*/ 318 w 426"/>
                <a:gd name="T39" fmla="*/ 477 h 1001"/>
                <a:gd name="T40" fmla="*/ 352 w 426"/>
                <a:gd name="T41" fmla="*/ 440 h 1001"/>
                <a:gd name="T42" fmla="*/ 399 w 426"/>
                <a:gd name="T43" fmla="*/ 414 h 1001"/>
                <a:gd name="T44" fmla="*/ 399 w 426"/>
                <a:gd name="T45" fmla="*/ 392 h 1001"/>
                <a:gd name="T46" fmla="*/ 397 w 426"/>
                <a:gd name="T47" fmla="*/ 380 h 1001"/>
                <a:gd name="T48" fmla="*/ 361 w 426"/>
                <a:gd name="T49" fmla="*/ 370 h 1001"/>
                <a:gd name="T50" fmla="*/ 326 w 426"/>
                <a:gd name="T51" fmla="*/ 329 h 1001"/>
                <a:gd name="T52" fmla="*/ 301 w 426"/>
                <a:gd name="T53" fmla="*/ 292 h 1001"/>
                <a:gd name="T54" fmla="*/ 297 w 426"/>
                <a:gd name="T55" fmla="*/ 237 h 1001"/>
                <a:gd name="T56" fmla="*/ 242 w 426"/>
                <a:gd name="T57" fmla="*/ 235 h 1001"/>
                <a:gd name="T58" fmla="*/ 233 w 426"/>
                <a:gd name="T59" fmla="*/ 203 h 1001"/>
                <a:gd name="T60" fmla="*/ 243 w 426"/>
                <a:gd name="T61" fmla="*/ 156 h 1001"/>
                <a:gd name="T62" fmla="*/ 253 w 426"/>
                <a:gd name="T63" fmla="*/ 133 h 1001"/>
                <a:gd name="T64" fmla="*/ 255 w 426"/>
                <a:gd name="T65" fmla="*/ 74 h 1001"/>
                <a:gd name="T66" fmla="*/ 211 w 426"/>
                <a:gd name="T67" fmla="*/ 15 h 1001"/>
                <a:gd name="T68" fmla="*/ 187 w 426"/>
                <a:gd name="T69" fmla="*/ 32 h 1001"/>
                <a:gd name="T70" fmla="*/ 159 w 426"/>
                <a:gd name="T71" fmla="*/ 69 h 1001"/>
                <a:gd name="T72" fmla="*/ 98 w 426"/>
                <a:gd name="T73" fmla="*/ 102 h 1001"/>
                <a:gd name="T74" fmla="*/ 96 w 426"/>
                <a:gd name="T75" fmla="*/ 158 h 1001"/>
                <a:gd name="T76" fmla="*/ 80 w 426"/>
                <a:gd name="T77" fmla="*/ 225 h 1001"/>
                <a:gd name="T78" fmla="*/ 26 w 426"/>
                <a:gd name="T79" fmla="*/ 244 h 1001"/>
                <a:gd name="T80" fmla="*/ 32 w 426"/>
                <a:gd name="T81" fmla="*/ 301 h 1001"/>
                <a:gd name="T82" fmla="*/ 31 w 426"/>
                <a:gd name="T83" fmla="*/ 342 h 1001"/>
                <a:gd name="T84" fmla="*/ 25 w 426"/>
                <a:gd name="T85" fmla="*/ 383 h 1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6" h="1001">
                  <a:moveTo>
                    <a:pt x="0" y="391"/>
                  </a:moveTo>
                  <a:cubicBezTo>
                    <a:pt x="5" y="391"/>
                    <a:pt x="9" y="391"/>
                    <a:pt x="9" y="391"/>
                  </a:cubicBezTo>
                  <a:cubicBezTo>
                    <a:pt x="9" y="422"/>
                    <a:pt x="9" y="422"/>
                    <a:pt x="9" y="422"/>
                  </a:cubicBezTo>
                  <a:cubicBezTo>
                    <a:pt x="9" y="422"/>
                    <a:pt x="32" y="428"/>
                    <a:pt x="41" y="438"/>
                  </a:cubicBezTo>
                  <a:cubicBezTo>
                    <a:pt x="51" y="448"/>
                    <a:pt x="59" y="470"/>
                    <a:pt x="59" y="470"/>
                  </a:cubicBezTo>
                  <a:cubicBezTo>
                    <a:pt x="81" y="465"/>
                    <a:pt x="81" y="465"/>
                    <a:pt x="81" y="465"/>
                  </a:cubicBezTo>
                  <a:cubicBezTo>
                    <a:pt x="67" y="494"/>
                    <a:pt x="67" y="494"/>
                    <a:pt x="67" y="494"/>
                  </a:cubicBezTo>
                  <a:cubicBezTo>
                    <a:pt x="67" y="494"/>
                    <a:pt x="98" y="501"/>
                    <a:pt x="110" y="510"/>
                  </a:cubicBezTo>
                  <a:cubicBezTo>
                    <a:pt x="122" y="519"/>
                    <a:pt x="130" y="555"/>
                    <a:pt x="132" y="562"/>
                  </a:cubicBezTo>
                  <a:cubicBezTo>
                    <a:pt x="134" y="568"/>
                    <a:pt x="148" y="581"/>
                    <a:pt x="148" y="581"/>
                  </a:cubicBezTo>
                  <a:cubicBezTo>
                    <a:pt x="137" y="593"/>
                    <a:pt x="137" y="593"/>
                    <a:pt x="137" y="593"/>
                  </a:cubicBezTo>
                  <a:cubicBezTo>
                    <a:pt x="145" y="654"/>
                    <a:pt x="145" y="654"/>
                    <a:pt x="145" y="654"/>
                  </a:cubicBezTo>
                  <a:cubicBezTo>
                    <a:pt x="134" y="662"/>
                    <a:pt x="134" y="662"/>
                    <a:pt x="134" y="662"/>
                  </a:cubicBezTo>
                  <a:cubicBezTo>
                    <a:pt x="134" y="662"/>
                    <a:pt x="140" y="681"/>
                    <a:pt x="149" y="680"/>
                  </a:cubicBezTo>
                  <a:cubicBezTo>
                    <a:pt x="158" y="679"/>
                    <a:pt x="168" y="671"/>
                    <a:pt x="168" y="671"/>
                  </a:cubicBezTo>
                  <a:cubicBezTo>
                    <a:pt x="168" y="671"/>
                    <a:pt x="172" y="686"/>
                    <a:pt x="183" y="681"/>
                  </a:cubicBezTo>
                  <a:cubicBezTo>
                    <a:pt x="195" y="677"/>
                    <a:pt x="206" y="654"/>
                    <a:pt x="206" y="654"/>
                  </a:cubicBezTo>
                  <a:cubicBezTo>
                    <a:pt x="206" y="654"/>
                    <a:pt x="228" y="650"/>
                    <a:pt x="240" y="641"/>
                  </a:cubicBezTo>
                  <a:cubicBezTo>
                    <a:pt x="252" y="631"/>
                    <a:pt x="238" y="602"/>
                    <a:pt x="245" y="596"/>
                  </a:cubicBezTo>
                  <a:cubicBezTo>
                    <a:pt x="253" y="590"/>
                    <a:pt x="268" y="617"/>
                    <a:pt x="268" y="617"/>
                  </a:cubicBezTo>
                  <a:cubicBezTo>
                    <a:pt x="267" y="638"/>
                    <a:pt x="267" y="638"/>
                    <a:pt x="267" y="638"/>
                  </a:cubicBezTo>
                  <a:cubicBezTo>
                    <a:pt x="267" y="638"/>
                    <a:pt x="288" y="639"/>
                    <a:pt x="289" y="656"/>
                  </a:cubicBezTo>
                  <a:cubicBezTo>
                    <a:pt x="289" y="673"/>
                    <a:pt x="296" y="685"/>
                    <a:pt x="298" y="698"/>
                  </a:cubicBezTo>
                  <a:cubicBezTo>
                    <a:pt x="300" y="712"/>
                    <a:pt x="303" y="745"/>
                    <a:pt x="303" y="745"/>
                  </a:cubicBezTo>
                  <a:cubicBezTo>
                    <a:pt x="303" y="745"/>
                    <a:pt x="304" y="757"/>
                    <a:pt x="311" y="766"/>
                  </a:cubicBezTo>
                  <a:cubicBezTo>
                    <a:pt x="319" y="775"/>
                    <a:pt x="322" y="788"/>
                    <a:pt x="322" y="788"/>
                  </a:cubicBezTo>
                  <a:cubicBezTo>
                    <a:pt x="350" y="849"/>
                    <a:pt x="350" y="849"/>
                    <a:pt x="350" y="849"/>
                  </a:cubicBezTo>
                  <a:cubicBezTo>
                    <a:pt x="360" y="879"/>
                    <a:pt x="360" y="879"/>
                    <a:pt x="360" y="879"/>
                  </a:cubicBezTo>
                  <a:cubicBezTo>
                    <a:pt x="360" y="879"/>
                    <a:pt x="346" y="876"/>
                    <a:pt x="345" y="884"/>
                  </a:cubicBezTo>
                  <a:cubicBezTo>
                    <a:pt x="343" y="893"/>
                    <a:pt x="337" y="918"/>
                    <a:pt x="337" y="918"/>
                  </a:cubicBezTo>
                  <a:cubicBezTo>
                    <a:pt x="366" y="908"/>
                    <a:pt x="366" y="908"/>
                    <a:pt x="366" y="908"/>
                  </a:cubicBezTo>
                  <a:cubicBezTo>
                    <a:pt x="358" y="945"/>
                    <a:pt x="358" y="945"/>
                    <a:pt x="358" y="945"/>
                  </a:cubicBezTo>
                  <a:cubicBezTo>
                    <a:pt x="358" y="945"/>
                    <a:pt x="354" y="957"/>
                    <a:pt x="355" y="970"/>
                  </a:cubicBezTo>
                  <a:cubicBezTo>
                    <a:pt x="356" y="982"/>
                    <a:pt x="363" y="1001"/>
                    <a:pt x="363" y="1001"/>
                  </a:cubicBezTo>
                  <a:cubicBezTo>
                    <a:pt x="363" y="1001"/>
                    <a:pt x="372" y="988"/>
                    <a:pt x="373" y="979"/>
                  </a:cubicBezTo>
                  <a:cubicBezTo>
                    <a:pt x="374" y="970"/>
                    <a:pt x="366" y="963"/>
                    <a:pt x="375" y="956"/>
                  </a:cubicBezTo>
                  <a:cubicBezTo>
                    <a:pt x="384" y="949"/>
                    <a:pt x="389" y="942"/>
                    <a:pt x="392" y="932"/>
                  </a:cubicBezTo>
                  <a:cubicBezTo>
                    <a:pt x="395" y="922"/>
                    <a:pt x="402" y="897"/>
                    <a:pt x="398" y="884"/>
                  </a:cubicBezTo>
                  <a:cubicBezTo>
                    <a:pt x="394" y="871"/>
                    <a:pt x="396" y="861"/>
                    <a:pt x="396" y="861"/>
                  </a:cubicBezTo>
                  <a:cubicBezTo>
                    <a:pt x="396" y="861"/>
                    <a:pt x="381" y="849"/>
                    <a:pt x="377" y="843"/>
                  </a:cubicBezTo>
                  <a:cubicBezTo>
                    <a:pt x="373" y="837"/>
                    <a:pt x="378" y="813"/>
                    <a:pt x="374" y="798"/>
                  </a:cubicBezTo>
                  <a:cubicBezTo>
                    <a:pt x="370" y="783"/>
                    <a:pt x="348" y="770"/>
                    <a:pt x="344" y="760"/>
                  </a:cubicBezTo>
                  <a:cubicBezTo>
                    <a:pt x="340" y="750"/>
                    <a:pt x="328" y="736"/>
                    <a:pt x="328" y="736"/>
                  </a:cubicBezTo>
                  <a:cubicBezTo>
                    <a:pt x="328" y="736"/>
                    <a:pt x="320" y="723"/>
                    <a:pt x="330" y="713"/>
                  </a:cubicBezTo>
                  <a:cubicBezTo>
                    <a:pt x="340" y="703"/>
                    <a:pt x="341" y="693"/>
                    <a:pt x="341" y="687"/>
                  </a:cubicBezTo>
                  <a:cubicBezTo>
                    <a:pt x="341" y="681"/>
                    <a:pt x="338" y="670"/>
                    <a:pt x="338" y="670"/>
                  </a:cubicBezTo>
                  <a:cubicBezTo>
                    <a:pt x="338" y="670"/>
                    <a:pt x="350" y="671"/>
                    <a:pt x="350" y="658"/>
                  </a:cubicBezTo>
                  <a:cubicBezTo>
                    <a:pt x="350" y="645"/>
                    <a:pt x="344" y="653"/>
                    <a:pt x="344" y="653"/>
                  </a:cubicBezTo>
                  <a:cubicBezTo>
                    <a:pt x="344" y="653"/>
                    <a:pt x="336" y="652"/>
                    <a:pt x="331" y="640"/>
                  </a:cubicBezTo>
                  <a:cubicBezTo>
                    <a:pt x="326" y="628"/>
                    <a:pt x="340" y="633"/>
                    <a:pt x="332" y="622"/>
                  </a:cubicBezTo>
                  <a:cubicBezTo>
                    <a:pt x="324" y="611"/>
                    <a:pt x="298" y="602"/>
                    <a:pt x="295" y="592"/>
                  </a:cubicBezTo>
                  <a:cubicBezTo>
                    <a:pt x="292" y="582"/>
                    <a:pt x="287" y="579"/>
                    <a:pt x="287" y="579"/>
                  </a:cubicBezTo>
                  <a:cubicBezTo>
                    <a:pt x="291" y="564"/>
                    <a:pt x="291" y="564"/>
                    <a:pt x="291" y="564"/>
                  </a:cubicBezTo>
                  <a:cubicBezTo>
                    <a:pt x="291" y="564"/>
                    <a:pt x="278" y="558"/>
                    <a:pt x="273" y="554"/>
                  </a:cubicBezTo>
                  <a:cubicBezTo>
                    <a:pt x="268" y="550"/>
                    <a:pt x="265" y="545"/>
                    <a:pt x="268" y="542"/>
                  </a:cubicBezTo>
                  <a:cubicBezTo>
                    <a:pt x="271" y="539"/>
                    <a:pt x="282" y="545"/>
                    <a:pt x="282" y="536"/>
                  </a:cubicBezTo>
                  <a:cubicBezTo>
                    <a:pt x="282" y="527"/>
                    <a:pt x="271" y="516"/>
                    <a:pt x="272" y="512"/>
                  </a:cubicBezTo>
                  <a:cubicBezTo>
                    <a:pt x="273" y="508"/>
                    <a:pt x="283" y="507"/>
                    <a:pt x="284" y="498"/>
                  </a:cubicBezTo>
                  <a:cubicBezTo>
                    <a:pt x="285" y="489"/>
                    <a:pt x="277" y="473"/>
                    <a:pt x="288" y="471"/>
                  </a:cubicBezTo>
                  <a:cubicBezTo>
                    <a:pt x="299" y="469"/>
                    <a:pt x="308" y="480"/>
                    <a:pt x="318" y="477"/>
                  </a:cubicBezTo>
                  <a:cubicBezTo>
                    <a:pt x="328" y="474"/>
                    <a:pt x="330" y="456"/>
                    <a:pt x="330" y="456"/>
                  </a:cubicBezTo>
                  <a:cubicBezTo>
                    <a:pt x="347" y="455"/>
                    <a:pt x="347" y="455"/>
                    <a:pt x="347" y="455"/>
                  </a:cubicBezTo>
                  <a:cubicBezTo>
                    <a:pt x="352" y="440"/>
                    <a:pt x="352" y="440"/>
                    <a:pt x="352" y="440"/>
                  </a:cubicBezTo>
                  <a:cubicBezTo>
                    <a:pt x="352" y="440"/>
                    <a:pt x="371" y="434"/>
                    <a:pt x="375" y="435"/>
                  </a:cubicBezTo>
                  <a:cubicBezTo>
                    <a:pt x="375" y="435"/>
                    <a:pt x="373" y="423"/>
                    <a:pt x="382" y="420"/>
                  </a:cubicBezTo>
                  <a:cubicBezTo>
                    <a:pt x="391" y="417"/>
                    <a:pt x="399" y="414"/>
                    <a:pt x="399" y="414"/>
                  </a:cubicBezTo>
                  <a:cubicBezTo>
                    <a:pt x="394" y="407"/>
                    <a:pt x="394" y="407"/>
                    <a:pt x="394" y="407"/>
                  </a:cubicBezTo>
                  <a:cubicBezTo>
                    <a:pt x="399" y="399"/>
                    <a:pt x="399" y="399"/>
                    <a:pt x="399" y="399"/>
                  </a:cubicBezTo>
                  <a:cubicBezTo>
                    <a:pt x="399" y="392"/>
                    <a:pt x="399" y="392"/>
                    <a:pt x="399" y="392"/>
                  </a:cubicBezTo>
                  <a:cubicBezTo>
                    <a:pt x="421" y="382"/>
                    <a:pt x="421" y="382"/>
                    <a:pt x="421" y="382"/>
                  </a:cubicBezTo>
                  <a:cubicBezTo>
                    <a:pt x="421" y="382"/>
                    <a:pt x="426" y="364"/>
                    <a:pt x="416" y="363"/>
                  </a:cubicBezTo>
                  <a:cubicBezTo>
                    <a:pt x="406" y="362"/>
                    <a:pt x="397" y="380"/>
                    <a:pt x="397" y="380"/>
                  </a:cubicBezTo>
                  <a:cubicBezTo>
                    <a:pt x="397" y="380"/>
                    <a:pt x="378" y="381"/>
                    <a:pt x="375" y="381"/>
                  </a:cubicBezTo>
                  <a:cubicBezTo>
                    <a:pt x="372" y="381"/>
                    <a:pt x="372" y="369"/>
                    <a:pt x="372" y="369"/>
                  </a:cubicBezTo>
                  <a:cubicBezTo>
                    <a:pt x="361" y="370"/>
                    <a:pt x="361" y="370"/>
                    <a:pt x="361" y="370"/>
                  </a:cubicBezTo>
                  <a:cubicBezTo>
                    <a:pt x="356" y="350"/>
                    <a:pt x="356" y="350"/>
                    <a:pt x="356" y="350"/>
                  </a:cubicBezTo>
                  <a:cubicBezTo>
                    <a:pt x="317" y="346"/>
                    <a:pt x="317" y="346"/>
                    <a:pt x="317" y="346"/>
                  </a:cubicBezTo>
                  <a:cubicBezTo>
                    <a:pt x="317" y="346"/>
                    <a:pt x="323" y="332"/>
                    <a:pt x="326" y="329"/>
                  </a:cubicBezTo>
                  <a:cubicBezTo>
                    <a:pt x="329" y="326"/>
                    <a:pt x="320" y="314"/>
                    <a:pt x="320" y="314"/>
                  </a:cubicBezTo>
                  <a:cubicBezTo>
                    <a:pt x="320" y="314"/>
                    <a:pt x="343" y="305"/>
                    <a:pt x="336" y="299"/>
                  </a:cubicBezTo>
                  <a:cubicBezTo>
                    <a:pt x="329" y="293"/>
                    <a:pt x="301" y="292"/>
                    <a:pt x="301" y="292"/>
                  </a:cubicBezTo>
                  <a:cubicBezTo>
                    <a:pt x="296" y="265"/>
                    <a:pt x="296" y="265"/>
                    <a:pt x="296" y="265"/>
                  </a:cubicBezTo>
                  <a:cubicBezTo>
                    <a:pt x="280" y="252"/>
                    <a:pt x="280" y="252"/>
                    <a:pt x="280" y="252"/>
                  </a:cubicBezTo>
                  <a:cubicBezTo>
                    <a:pt x="297" y="237"/>
                    <a:pt x="297" y="237"/>
                    <a:pt x="297" y="237"/>
                  </a:cubicBezTo>
                  <a:cubicBezTo>
                    <a:pt x="297" y="237"/>
                    <a:pt x="268" y="237"/>
                    <a:pt x="260" y="238"/>
                  </a:cubicBezTo>
                  <a:cubicBezTo>
                    <a:pt x="252" y="239"/>
                    <a:pt x="236" y="249"/>
                    <a:pt x="236" y="249"/>
                  </a:cubicBezTo>
                  <a:cubicBezTo>
                    <a:pt x="242" y="235"/>
                    <a:pt x="242" y="235"/>
                    <a:pt x="242" y="235"/>
                  </a:cubicBezTo>
                  <a:cubicBezTo>
                    <a:pt x="242" y="235"/>
                    <a:pt x="237" y="225"/>
                    <a:pt x="232" y="220"/>
                  </a:cubicBezTo>
                  <a:cubicBezTo>
                    <a:pt x="227" y="215"/>
                    <a:pt x="226" y="206"/>
                    <a:pt x="226" y="206"/>
                  </a:cubicBezTo>
                  <a:cubicBezTo>
                    <a:pt x="233" y="203"/>
                    <a:pt x="233" y="203"/>
                    <a:pt x="233" y="203"/>
                  </a:cubicBezTo>
                  <a:cubicBezTo>
                    <a:pt x="231" y="183"/>
                    <a:pt x="231" y="183"/>
                    <a:pt x="231" y="183"/>
                  </a:cubicBezTo>
                  <a:cubicBezTo>
                    <a:pt x="231" y="183"/>
                    <a:pt x="242" y="187"/>
                    <a:pt x="243" y="176"/>
                  </a:cubicBezTo>
                  <a:cubicBezTo>
                    <a:pt x="244" y="165"/>
                    <a:pt x="243" y="156"/>
                    <a:pt x="243" y="156"/>
                  </a:cubicBezTo>
                  <a:cubicBezTo>
                    <a:pt x="243" y="156"/>
                    <a:pt x="255" y="164"/>
                    <a:pt x="258" y="157"/>
                  </a:cubicBezTo>
                  <a:cubicBezTo>
                    <a:pt x="261" y="150"/>
                    <a:pt x="262" y="144"/>
                    <a:pt x="262" y="144"/>
                  </a:cubicBezTo>
                  <a:cubicBezTo>
                    <a:pt x="262" y="144"/>
                    <a:pt x="246" y="133"/>
                    <a:pt x="253" y="133"/>
                  </a:cubicBezTo>
                  <a:cubicBezTo>
                    <a:pt x="260" y="133"/>
                    <a:pt x="270" y="127"/>
                    <a:pt x="270" y="127"/>
                  </a:cubicBezTo>
                  <a:cubicBezTo>
                    <a:pt x="263" y="90"/>
                    <a:pt x="263" y="90"/>
                    <a:pt x="263" y="90"/>
                  </a:cubicBezTo>
                  <a:cubicBezTo>
                    <a:pt x="255" y="74"/>
                    <a:pt x="255" y="74"/>
                    <a:pt x="255" y="74"/>
                  </a:cubicBezTo>
                  <a:cubicBezTo>
                    <a:pt x="255" y="74"/>
                    <a:pt x="257" y="52"/>
                    <a:pt x="250" y="50"/>
                  </a:cubicBezTo>
                  <a:cubicBezTo>
                    <a:pt x="243" y="48"/>
                    <a:pt x="228" y="50"/>
                    <a:pt x="228" y="50"/>
                  </a:cubicBezTo>
                  <a:cubicBezTo>
                    <a:pt x="228" y="50"/>
                    <a:pt x="219" y="23"/>
                    <a:pt x="211" y="15"/>
                  </a:cubicBezTo>
                  <a:cubicBezTo>
                    <a:pt x="203" y="7"/>
                    <a:pt x="189" y="0"/>
                    <a:pt x="189" y="0"/>
                  </a:cubicBezTo>
                  <a:cubicBezTo>
                    <a:pt x="185" y="13"/>
                    <a:pt x="185" y="13"/>
                    <a:pt x="185" y="13"/>
                  </a:cubicBezTo>
                  <a:cubicBezTo>
                    <a:pt x="187" y="32"/>
                    <a:pt x="187" y="32"/>
                    <a:pt x="187" y="32"/>
                  </a:cubicBezTo>
                  <a:cubicBezTo>
                    <a:pt x="187" y="32"/>
                    <a:pt x="163" y="41"/>
                    <a:pt x="163" y="50"/>
                  </a:cubicBezTo>
                  <a:cubicBezTo>
                    <a:pt x="163" y="59"/>
                    <a:pt x="186" y="69"/>
                    <a:pt x="184" y="73"/>
                  </a:cubicBezTo>
                  <a:cubicBezTo>
                    <a:pt x="182" y="77"/>
                    <a:pt x="159" y="69"/>
                    <a:pt x="159" y="69"/>
                  </a:cubicBezTo>
                  <a:cubicBezTo>
                    <a:pt x="159" y="69"/>
                    <a:pt x="144" y="70"/>
                    <a:pt x="136" y="72"/>
                  </a:cubicBezTo>
                  <a:cubicBezTo>
                    <a:pt x="128" y="74"/>
                    <a:pt x="133" y="89"/>
                    <a:pt x="121" y="93"/>
                  </a:cubicBezTo>
                  <a:cubicBezTo>
                    <a:pt x="109" y="97"/>
                    <a:pt x="98" y="102"/>
                    <a:pt x="98" y="102"/>
                  </a:cubicBezTo>
                  <a:cubicBezTo>
                    <a:pt x="98" y="102"/>
                    <a:pt x="100" y="116"/>
                    <a:pt x="101" y="121"/>
                  </a:cubicBezTo>
                  <a:cubicBezTo>
                    <a:pt x="102" y="126"/>
                    <a:pt x="108" y="137"/>
                    <a:pt x="108" y="137"/>
                  </a:cubicBezTo>
                  <a:cubicBezTo>
                    <a:pt x="96" y="158"/>
                    <a:pt x="96" y="158"/>
                    <a:pt x="96" y="158"/>
                  </a:cubicBezTo>
                  <a:cubicBezTo>
                    <a:pt x="96" y="158"/>
                    <a:pt x="82" y="162"/>
                    <a:pt x="82" y="172"/>
                  </a:cubicBezTo>
                  <a:cubicBezTo>
                    <a:pt x="82" y="182"/>
                    <a:pt x="92" y="190"/>
                    <a:pt x="92" y="190"/>
                  </a:cubicBezTo>
                  <a:cubicBezTo>
                    <a:pt x="80" y="225"/>
                    <a:pt x="80" y="225"/>
                    <a:pt x="80" y="225"/>
                  </a:cubicBezTo>
                  <a:cubicBezTo>
                    <a:pt x="80" y="249"/>
                    <a:pt x="80" y="249"/>
                    <a:pt x="80" y="249"/>
                  </a:cubicBezTo>
                  <a:cubicBezTo>
                    <a:pt x="80" y="249"/>
                    <a:pt x="55" y="245"/>
                    <a:pt x="51" y="244"/>
                  </a:cubicBezTo>
                  <a:cubicBezTo>
                    <a:pt x="47" y="243"/>
                    <a:pt x="22" y="242"/>
                    <a:pt x="26" y="244"/>
                  </a:cubicBezTo>
                  <a:cubicBezTo>
                    <a:pt x="30" y="246"/>
                    <a:pt x="44" y="257"/>
                    <a:pt x="44" y="257"/>
                  </a:cubicBezTo>
                  <a:cubicBezTo>
                    <a:pt x="46" y="290"/>
                    <a:pt x="46" y="290"/>
                    <a:pt x="46" y="290"/>
                  </a:cubicBezTo>
                  <a:cubicBezTo>
                    <a:pt x="46" y="290"/>
                    <a:pt x="29" y="292"/>
                    <a:pt x="32" y="301"/>
                  </a:cubicBezTo>
                  <a:cubicBezTo>
                    <a:pt x="35" y="310"/>
                    <a:pt x="35" y="324"/>
                    <a:pt x="39" y="328"/>
                  </a:cubicBezTo>
                  <a:cubicBezTo>
                    <a:pt x="43" y="332"/>
                    <a:pt x="53" y="344"/>
                    <a:pt x="44" y="346"/>
                  </a:cubicBezTo>
                  <a:cubicBezTo>
                    <a:pt x="35" y="348"/>
                    <a:pt x="31" y="336"/>
                    <a:pt x="31" y="342"/>
                  </a:cubicBezTo>
                  <a:cubicBezTo>
                    <a:pt x="31" y="348"/>
                    <a:pt x="32" y="356"/>
                    <a:pt x="32" y="356"/>
                  </a:cubicBezTo>
                  <a:cubicBezTo>
                    <a:pt x="18" y="344"/>
                    <a:pt x="18" y="344"/>
                    <a:pt x="18" y="344"/>
                  </a:cubicBezTo>
                  <a:cubicBezTo>
                    <a:pt x="25" y="383"/>
                    <a:pt x="25" y="383"/>
                    <a:pt x="25" y="383"/>
                  </a:cubicBezTo>
                  <a:cubicBezTo>
                    <a:pt x="4" y="380"/>
                    <a:pt x="4" y="380"/>
                    <a:pt x="4" y="380"/>
                  </a:cubicBezTo>
                  <a:cubicBezTo>
                    <a:pt x="4" y="380"/>
                    <a:pt x="2" y="384"/>
                    <a:pt x="0" y="391"/>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78" name="Freeform 39"/>
            <p:cNvSpPr>
              <a:spLocks/>
            </p:cNvSpPr>
            <p:nvPr/>
          </p:nvSpPr>
          <p:spPr bwMode="gray">
            <a:xfrm>
              <a:off x="7304088" y="2684463"/>
              <a:ext cx="122237" cy="157163"/>
            </a:xfrm>
            <a:custGeom>
              <a:avLst/>
              <a:gdLst>
                <a:gd name="T0" fmla="*/ 182 w 220"/>
                <a:gd name="T1" fmla="*/ 0 h 280"/>
                <a:gd name="T2" fmla="*/ 160 w 220"/>
                <a:gd name="T3" fmla="*/ 0 h 280"/>
                <a:gd name="T4" fmla="*/ 171 w 220"/>
                <a:gd name="T5" fmla="*/ 27 h 280"/>
                <a:gd name="T6" fmla="*/ 153 w 220"/>
                <a:gd name="T7" fmla="*/ 28 h 280"/>
                <a:gd name="T8" fmla="*/ 153 w 220"/>
                <a:gd name="T9" fmla="*/ 49 h 280"/>
                <a:gd name="T10" fmla="*/ 113 w 220"/>
                <a:gd name="T11" fmla="*/ 50 h 280"/>
                <a:gd name="T12" fmla="*/ 135 w 220"/>
                <a:gd name="T13" fmla="*/ 71 h 280"/>
                <a:gd name="T14" fmla="*/ 134 w 220"/>
                <a:gd name="T15" fmla="*/ 81 h 280"/>
                <a:gd name="T16" fmla="*/ 87 w 220"/>
                <a:gd name="T17" fmla="*/ 77 h 280"/>
                <a:gd name="T18" fmla="*/ 61 w 220"/>
                <a:gd name="T19" fmla="*/ 63 h 280"/>
                <a:gd name="T20" fmla="*/ 47 w 220"/>
                <a:gd name="T21" fmla="*/ 115 h 280"/>
                <a:gd name="T22" fmla="*/ 13 w 220"/>
                <a:gd name="T23" fmla="*/ 138 h 280"/>
                <a:gd name="T24" fmla="*/ 7 w 220"/>
                <a:gd name="T25" fmla="*/ 154 h 280"/>
                <a:gd name="T26" fmla="*/ 0 w 220"/>
                <a:gd name="T27" fmla="*/ 165 h 280"/>
                <a:gd name="T28" fmla="*/ 8 w 220"/>
                <a:gd name="T29" fmla="*/ 152 h 280"/>
                <a:gd name="T30" fmla="*/ 14 w 220"/>
                <a:gd name="T31" fmla="*/ 166 h 280"/>
                <a:gd name="T32" fmla="*/ 26 w 220"/>
                <a:gd name="T33" fmla="*/ 180 h 280"/>
                <a:gd name="T34" fmla="*/ 33 w 220"/>
                <a:gd name="T35" fmla="*/ 168 h 280"/>
                <a:gd name="T36" fmla="*/ 47 w 220"/>
                <a:gd name="T37" fmla="*/ 181 h 280"/>
                <a:gd name="T38" fmla="*/ 64 w 220"/>
                <a:gd name="T39" fmla="*/ 182 h 280"/>
                <a:gd name="T40" fmla="*/ 68 w 220"/>
                <a:gd name="T41" fmla="*/ 223 h 280"/>
                <a:gd name="T42" fmla="*/ 93 w 220"/>
                <a:gd name="T43" fmla="*/ 223 h 280"/>
                <a:gd name="T44" fmla="*/ 96 w 220"/>
                <a:gd name="T45" fmla="*/ 233 h 280"/>
                <a:gd name="T46" fmla="*/ 69 w 220"/>
                <a:gd name="T47" fmla="*/ 234 h 280"/>
                <a:gd name="T48" fmla="*/ 80 w 220"/>
                <a:gd name="T49" fmla="*/ 263 h 280"/>
                <a:gd name="T50" fmla="*/ 87 w 220"/>
                <a:gd name="T51" fmla="*/ 274 h 280"/>
                <a:gd name="T52" fmla="*/ 106 w 220"/>
                <a:gd name="T53" fmla="*/ 266 h 280"/>
                <a:gd name="T54" fmla="*/ 135 w 220"/>
                <a:gd name="T55" fmla="*/ 279 h 280"/>
                <a:gd name="T56" fmla="*/ 153 w 220"/>
                <a:gd name="T57" fmla="*/ 275 h 280"/>
                <a:gd name="T58" fmla="*/ 166 w 220"/>
                <a:gd name="T59" fmla="*/ 265 h 280"/>
                <a:gd name="T60" fmla="*/ 169 w 220"/>
                <a:gd name="T61" fmla="*/ 252 h 280"/>
                <a:gd name="T62" fmla="*/ 207 w 220"/>
                <a:gd name="T63" fmla="*/ 246 h 280"/>
                <a:gd name="T64" fmla="*/ 217 w 220"/>
                <a:gd name="T65" fmla="*/ 236 h 280"/>
                <a:gd name="T66" fmla="*/ 208 w 220"/>
                <a:gd name="T67" fmla="*/ 224 h 280"/>
                <a:gd name="T68" fmla="*/ 177 w 220"/>
                <a:gd name="T69" fmla="*/ 207 h 280"/>
                <a:gd name="T70" fmla="*/ 162 w 220"/>
                <a:gd name="T71" fmla="*/ 202 h 280"/>
                <a:gd name="T72" fmla="*/ 169 w 220"/>
                <a:gd name="T73" fmla="*/ 189 h 280"/>
                <a:gd name="T74" fmla="*/ 154 w 220"/>
                <a:gd name="T75" fmla="*/ 167 h 280"/>
                <a:gd name="T76" fmla="*/ 190 w 220"/>
                <a:gd name="T77" fmla="*/ 146 h 280"/>
                <a:gd name="T78" fmla="*/ 200 w 220"/>
                <a:gd name="T79" fmla="*/ 117 h 280"/>
                <a:gd name="T80" fmla="*/ 216 w 220"/>
                <a:gd name="T81" fmla="*/ 109 h 280"/>
                <a:gd name="T82" fmla="*/ 211 w 220"/>
                <a:gd name="T83" fmla="*/ 88 h 280"/>
                <a:gd name="T84" fmla="*/ 196 w 220"/>
                <a:gd name="T85" fmla="*/ 60 h 280"/>
                <a:gd name="T86" fmla="*/ 220 w 220"/>
                <a:gd name="T87" fmla="*/ 38 h 280"/>
                <a:gd name="T88" fmla="*/ 211 w 220"/>
                <a:gd name="T89" fmla="*/ 23 h 280"/>
                <a:gd name="T90" fmla="*/ 192 w 220"/>
                <a:gd name="T91" fmla="*/ 17 h 280"/>
                <a:gd name="T92" fmla="*/ 182 w 220"/>
                <a:gd name="T93"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0" h="280">
                  <a:moveTo>
                    <a:pt x="182" y="0"/>
                  </a:moveTo>
                  <a:cubicBezTo>
                    <a:pt x="160" y="0"/>
                    <a:pt x="160" y="0"/>
                    <a:pt x="160" y="0"/>
                  </a:cubicBezTo>
                  <a:cubicBezTo>
                    <a:pt x="160" y="0"/>
                    <a:pt x="173" y="22"/>
                    <a:pt x="171" y="27"/>
                  </a:cubicBezTo>
                  <a:cubicBezTo>
                    <a:pt x="169" y="32"/>
                    <a:pt x="153" y="28"/>
                    <a:pt x="153" y="28"/>
                  </a:cubicBezTo>
                  <a:cubicBezTo>
                    <a:pt x="153" y="28"/>
                    <a:pt x="163" y="40"/>
                    <a:pt x="153" y="49"/>
                  </a:cubicBezTo>
                  <a:cubicBezTo>
                    <a:pt x="143" y="58"/>
                    <a:pt x="119" y="42"/>
                    <a:pt x="113" y="50"/>
                  </a:cubicBezTo>
                  <a:cubicBezTo>
                    <a:pt x="107" y="58"/>
                    <a:pt x="135" y="71"/>
                    <a:pt x="135" y="71"/>
                  </a:cubicBezTo>
                  <a:cubicBezTo>
                    <a:pt x="134" y="81"/>
                    <a:pt x="134" y="81"/>
                    <a:pt x="134" y="81"/>
                  </a:cubicBezTo>
                  <a:cubicBezTo>
                    <a:pt x="134" y="81"/>
                    <a:pt x="94" y="82"/>
                    <a:pt x="87" y="77"/>
                  </a:cubicBezTo>
                  <a:cubicBezTo>
                    <a:pt x="80" y="72"/>
                    <a:pt x="65" y="61"/>
                    <a:pt x="61" y="63"/>
                  </a:cubicBezTo>
                  <a:cubicBezTo>
                    <a:pt x="57" y="65"/>
                    <a:pt x="62" y="103"/>
                    <a:pt x="47" y="115"/>
                  </a:cubicBezTo>
                  <a:cubicBezTo>
                    <a:pt x="32" y="127"/>
                    <a:pt x="25" y="128"/>
                    <a:pt x="13" y="138"/>
                  </a:cubicBezTo>
                  <a:cubicBezTo>
                    <a:pt x="3" y="146"/>
                    <a:pt x="5" y="152"/>
                    <a:pt x="7" y="154"/>
                  </a:cubicBezTo>
                  <a:cubicBezTo>
                    <a:pt x="0" y="165"/>
                    <a:pt x="0" y="165"/>
                    <a:pt x="0" y="165"/>
                  </a:cubicBezTo>
                  <a:cubicBezTo>
                    <a:pt x="8" y="152"/>
                    <a:pt x="8" y="152"/>
                    <a:pt x="8" y="152"/>
                  </a:cubicBezTo>
                  <a:cubicBezTo>
                    <a:pt x="14" y="166"/>
                    <a:pt x="14" y="166"/>
                    <a:pt x="14" y="166"/>
                  </a:cubicBezTo>
                  <a:cubicBezTo>
                    <a:pt x="26" y="180"/>
                    <a:pt x="26" y="180"/>
                    <a:pt x="26" y="180"/>
                  </a:cubicBezTo>
                  <a:cubicBezTo>
                    <a:pt x="33" y="168"/>
                    <a:pt x="33" y="168"/>
                    <a:pt x="33" y="168"/>
                  </a:cubicBezTo>
                  <a:cubicBezTo>
                    <a:pt x="33" y="168"/>
                    <a:pt x="42" y="181"/>
                    <a:pt x="47" y="181"/>
                  </a:cubicBezTo>
                  <a:cubicBezTo>
                    <a:pt x="52" y="181"/>
                    <a:pt x="60" y="175"/>
                    <a:pt x="64" y="182"/>
                  </a:cubicBezTo>
                  <a:cubicBezTo>
                    <a:pt x="68" y="189"/>
                    <a:pt x="68" y="223"/>
                    <a:pt x="68" y="223"/>
                  </a:cubicBezTo>
                  <a:cubicBezTo>
                    <a:pt x="93" y="223"/>
                    <a:pt x="93" y="223"/>
                    <a:pt x="93" y="223"/>
                  </a:cubicBezTo>
                  <a:cubicBezTo>
                    <a:pt x="96" y="233"/>
                    <a:pt x="96" y="233"/>
                    <a:pt x="96" y="233"/>
                  </a:cubicBezTo>
                  <a:cubicBezTo>
                    <a:pt x="96" y="233"/>
                    <a:pt x="73" y="221"/>
                    <a:pt x="69" y="234"/>
                  </a:cubicBezTo>
                  <a:cubicBezTo>
                    <a:pt x="65" y="247"/>
                    <a:pt x="80" y="263"/>
                    <a:pt x="80" y="263"/>
                  </a:cubicBezTo>
                  <a:cubicBezTo>
                    <a:pt x="87" y="274"/>
                    <a:pt x="87" y="274"/>
                    <a:pt x="87" y="274"/>
                  </a:cubicBezTo>
                  <a:cubicBezTo>
                    <a:pt x="106" y="266"/>
                    <a:pt x="106" y="266"/>
                    <a:pt x="106" y="266"/>
                  </a:cubicBezTo>
                  <a:cubicBezTo>
                    <a:pt x="106" y="266"/>
                    <a:pt x="126" y="280"/>
                    <a:pt x="135" y="279"/>
                  </a:cubicBezTo>
                  <a:cubicBezTo>
                    <a:pt x="144" y="278"/>
                    <a:pt x="153" y="275"/>
                    <a:pt x="153" y="275"/>
                  </a:cubicBezTo>
                  <a:cubicBezTo>
                    <a:pt x="153" y="275"/>
                    <a:pt x="165" y="268"/>
                    <a:pt x="166" y="265"/>
                  </a:cubicBezTo>
                  <a:cubicBezTo>
                    <a:pt x="167" y="262"/>
                    <a:pt x="155" y="260"/>
                    <a:pt x="169" y="252"/>
                  </a:cubicBezTo>
                  <a:cubicBezTo>
                    <a:pt x="183" y="245"/>
                    <a:pt x="207" y="246"/>
                    <a:pt x="207" y="246"/>
                  </a:cubicBezTo>
                  <a:cubicBezTo>
                    <a:pt x="217" y="236"/>
                    <a:pt x="217" y="236"/>
                    <a:pt x="217" y="236"/>
                  </a:cubicBezTo>
                  <a:cubicBezTo>
                    <a:pt x="212" y="229"/>
                    <a:pt x="208" y="224"/>
                    <a:pt x="208" y="224"/>
                  </a:cubicBezTo>
                  <a:cubicBezTo>
                    <a:pt x="177" y="207"/>
                    <a:pt x="177" y="207"/>
                    <a:pt x="177" y="207"/>
                  </a:cubicBezTo>
                  <a:cubicBezTo>
                    <a:pt x="177" y="207"/>
                    <a:pt x="155" y="215"/>
                    <a:pt x="162" y="202"/>
                  </a:cubicBezTo>
                  <a:cubicBezTo>
                    <a:pt x="169" y="189"/>
                    <a:pt x="169" y="189"/>
                    <a:pt x="169" y="189"/>
                  </a:cubicBezTo>
                  <a:cubicBezTo>
                    <a:pt x="169" y="189"/>
                    <a:pt x="144" y="178"/>
                    <a:pt x="154" y="167"/>
                  </a:cubicBezTo>
                  <a:cubicBezTo>
                    <a:pt x="164" y="156"/>
                    <a:pt x="185" y="160"/>
                    <a:pt x="190" y="146"/>
                  </a:cubicBezTo>
                  <a:cubicBezTo>
                    <a:pt x="195" y="132"/>
                    <a:pt x="200" y="117"/>
                    <a:pt x="200" y="117"/>
                  </a:cubicBezTo>
                  <a:cubicBezTo>
                    <a:pt x="216" y="109"/>
                    <a:pt x="216" y="109"/>
                    <a:pt x="216" y="109"/>
                  </a:cubicBezTo>
                  <a:cubicBezTo>
                    <a:pt x="211" y="88"/>
                    <a:pt x="211" y="88"/>
                    <a:pt x="211" y="88"/>
                  </a:cubicBezTo>
                  <a:cubicBezTo>
                    <a:pt x="211" y="88"/>
                    <a:pt x="195" y="77"/>
                    <a:pt x="196" y="60"/>
                  </a:cubicBezTo>
                  <a:cubicBezTo>
                    <a:pt x="197" y="43"/>
                    <a:pt x="220" y="38"/>
                    <a:pt x="220" y="38"/>
                  </a:cubicBezTo>
                  <a:cubicBezTo>
                    <a:pt x="211" y="23"/>
                    <a:pt x="211" y="23"/>
                    <a:pt x="211" y="23"/>
                  </a:cubicBezTo>
                  <a:cubicBezTo>
                    <a:pt x="192" y="17"/>
                    <a:pt x="192" y="17"/>
                    <a:pt x="192" y="17"/>
                  </a:cubicBezTo>
                  <a:lnTo>
                    <a:pt x="182" y="0"/>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79" name="Freeform 40"/>
            <p:cNvSpPr>
              <a:spLocks noEditPoints="1"/>
            </p:cNvSpPr>
            <p:nvPr/>
          </p:nvSpPr>
          <p:spPr bwMode="gray">
            <a:xfrm>
              <a:off x="6069013" y="2371725"/>
              <a:ext cx="1366837" cy="1054100"/>
            </a:xfrm>
            <a:custGeom>
              <a:avLst/>
              <a:gdLst>
                <a:gd name="T0" fmla="*/ 1905 w 2441"/>
                <a:gd name="T1" fmla="*/ 1857 h 1882"/>
                <a:gd name="T2" fmla="*/ 2423 w 2441"/>
                <a:gd name="T3" fmla="*/ 352 h 1882"/>
                <a:gd name="T4" fmla="*/ 2365 w 2441"/>
                <a:gd name="T5" fmla="*/ 288 h 1882"/>
                <a:gd name="T6" fmla="*/ 2248 w 2441"/>
                <a:gd name="T7" fmla="*/ 288 h 1882"/>
                <a:gd name="T8" fmla="*/ 2077 w 2441"/>
                <a:gd name="T9" fmla="*/ 209 h 1882"/>
                <a:gd name="T10" fmla="*/ 1934 w 2441"/>
                <a:gd name="T11" fmla="*/ 76 h 1882"/>
                <a:gd name="T12" fmla="*/ 1769 w 2441"/>
                <a:gd name="T13" fmla="*/ 0 h 1882"/>
                <a:gd name="T14" fmla="*/ 1704 w 2441"/>
                <a:gd name="T15" fmla="*/ 80 h 1882"/>
                <a:gd name="T16" fmla="*/ 1653 w 2441"/>
                <a:gd name="T17" fmla="*/ 209 h 1882"/>
                <a:gd name="T18" fmla="*/ 1639 w 2441"/>
                <a:gd name="T19" fmla="*/ 310 h 1882"/>
                <a:gd name="T20" fmla="*/ 1786 w 2441"/>
                <a:gd name="T21" fmla="*/ 322 h 1882"/>
                <a:gd name="T22" fmla="*/ 1753 w 2441"/>
                <a:gd name="T23" fmla="*/ 371 h 1882"/>
                <a:gd name="T24" fmla="*/ 1627 w 2441"/>
                <a:gd name="T25" fmla="*/ 462 h 1882"/>
                <a:gd name="T26" fmla="*/ 1536 w 2441"/>
                <a:gd name="T27" fmla="*/ 569 h 1882"/>
                <a:gd name="T28" fmla="*/ 1228 w 2441"/>
                <a:gd name="T29" fmla="*/ 608 h 1882"/>
                <a:gd name="T30" fmla="*/ 973 w 2441"/>
                <a:gd name="T31" fmla="*/ 571 h 1882"/>
                <a:gd name="T32" fmla="*/ 775 w 2441"/>
                <a:gd name="T33" fmla="*/ 459 h 1882"/>
                <a:gd name="T34" fmla="*/ 612 w 2441"/>
                <a:gd name="T35" fmla="*/ 353 h 1882"/>
                <a:gd name="T36" fmla="*/ 452 w 2441"/>
                <a:gd name="T37" fmla="*/ 264 h 1882"/>
                <a:gd name="T38" fmla="*/ 373 w 2441"/>
                <a:gd name="T39" fmla="*/ 309 h 1882"/>
                <a:gd name="T40" fmla="*/ 273 w 2441"/>
                <a:gd name="T41" fmla="*/ 425 h 1882"/>
                <a:gd name="T42" fmla="*/ 216 w 2441"/>
                <a:gd name="T43" fmla="*/ 499 h 1882"/>
                <a:gd name="T44" fmla="*/ 199 w 2441"/>
                <a:gd name="T45" fmla="*/ 625 h 1882"/>
                <a:gd name="T46" fmla="*/ 63 w 2441"/>
                <a:gd name="T47" fmla="*/ 683 h 1882"/>
                <a:gd name="T48" fmla="*/ 15 w 2441"/>
                <a:gd name="T49" fmla="*/ 765 h 1882"/>
                <a:gd name="T50" fmla="*/ 111 w 2441"/>
                <a:gd name="T51" fmla="*/ 880 h 1882"/>
                <a:gd name="T52" fmla="*/ 294 w 2441"/>
                <a:gd name="T53" fmla="*/ 934 h 1882"/>
                <a:gd name="T54" fmla="*/ 306 w 2441"/>
                <a:gd name="T55" fmla="*/ 1057 h 1882"/>
                <a:gd name="T56" fmla="*/ 316 w 2441"/>
                <a:gd name="T57" fmla="*/ 1113 h 1882"/>
                <a:gd name="T58" fmla="*/ 403 w 2441"/>
                <a:gd name="T59" fmla="*/ 1210 h 1882"/>
                <a:gd name="T60" fmla="*/ 571 w 2441"/>
                <a:gd name="T61" fmla="*/ 1302 h 1882"/>
                <a:gd name="T62" fmla="*/ 698 w 2441"/>
                <a:gd name="T63" fmla="*/ 1349 h 1882"/>
                <a:gd name="T64" fmla="*/ 894 w 2441"/>
                <a:gd name="T65" fmla="*/ 1350 h 1882"/>
                <a:gd name="T66" fmla="*/ 1044 w 2441"/>
                <a:gd name="T67" fmla="*/ 1318 h 1882"/>
                <a:gd name="T68" fmla="*/ 1161 w 2441"/>
                <a:gd name="T69" fmla="*/ 1339 h 1882"/>
                <a:gd name="T70" fmla="*/ 1291 w 2441"/>
                <a:gd name="T71" fmla="*/ 1422 h 1882"/>
                <a:gd name="T72" fmla="*/ 1261 w 2441"/>
                <a:gd name="T73" fmla="*/ 1535 h 1882"/>
                <a:gd name="T74" fmla="*/ 1324 w 2441"/>
                <a:gd name="T75" fmla="*/ 1597 h 1882"/>
                <a:gd name="T76" fmla="*/ 1400 w 2441"/>
                <a:gd name="T77" fmla="*/ 1701 h 1882"/>
                <a:gd name="T78" fmla="*/ 1461 w 2441"/>
                <a:gd name="T79" fmla="*/ 1679 h 1882"/>
                <a:gd name="T80" fmla="*/ 1554 w 2441"/>
                <a:gd name="T81" fmla="*/ 1639 h 1882"/>
                <a:gd name="T82" fmla="*/ 1625 w 2441"/>
                <a:gd name="T83" fmla="*/ 1610 h 1882"/>
                <a:gd name="T84" fmla="*/ 1698 w 2441"/>
                <a:gd name="T85" fmla="*/ 1684 h 1882"/>
                <a:gd name="T86" fmla="*/ 1846 w 2441"/>
                <a:gd name="T87" fmla="*/ 1750 h 1882"/>
                <a:gd name="T88" fmla="*/ 2036 w 2441"/>
                <a:gd name="T89" fmla="*/ 1660 h 1882"/>
                <a:gd name="T90" fmla="*/ 2205 w 2441"/>
                <a:gd name="T91" fmla="*/ 1544 h 1882"/>
                <a:gd name="T92" fmla="*/ 2274 w 2441"/>
                <a:gd name="T93" fmla="*/ 1405 h 1882"/>
                <a:gd name="T94" fmla="*/ 2335 w 2441"/>
                <a:gd name="T95" fmla="*/ 1231 h 1882"/>
                <a:gd name="T96" fmla="*/ 2240 w 2441"/>
                <a:gd name="T97" fmla="*/ 1164 h 1882"/>
                <a:gd name="T98" fmla="*/ 2236 w 2441"/>
                <a:gd name="T99" fmla="*/ 1155 h 1882"/>
                <a:gd name="T100" fmla="*/ 2157 w 2441"/>
                <a:gd name="T101" fmla="*/ 1022 h 1882"/>
                <a:gd name="T102" fmla="*/ 2131 w 2441"/>
                <a:gd name="T103" fmla="*/ 897 h 1882"/>
                <a:gd name="T104" fmla="*/ 2161 w 2441"/>
                <a:gd name="T105" fmla="*/ 854 h 1882"/>
                <a:gd name="T106" fmla="*/ 2004 w 2441"/>
                <a:gd name="T107" fmla="*/ 828 h 1882"/>
                <a:gd name="T108" fmla="*/ 1997 w 2441"/>
                <a:gd name="T109" fmla="*/ 758 h 1882"/>
                <a:gd name="T110" fmla="*/ 2079 w 2441"/>
                <a:gd name="T111" fmla="*/ 665 h 1882"/>
                <a:gd name="T112" fmla="*/ 2131 w 2441"/>
                <a:gd name="T113" fmla="*/ 770 h 1882"/>
                <a:gd name="T114" fmla="*/ 2292 w 2441"/>
                <a:gd name="T115" fmla="*/ 637 h 1882"/>
                <a:gd name="T116" fmla="*/ 2387 w 2441"/>
                <a:gd name="T117" fmla="*/ 560 h 1882"/>
                <a:gd name="T118" fmla="*/ 2379 w 2441"/>
                <a:gd name="T119" fmla="*/ 455 h 1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441" h="1882">
                  <a:moveTo>
                    <a:pt x="1912" y="1793"/>
                  </a:moveTo>
                  <a:cubicBezTo>
                    <a:pt x="1898" y="1783"/>
                    <a:pt x="1850" y="1789"/>
                    <a:pt x="1850" y="1789"/>
                  </a:cubicBezTo>
                  <a:cubicBezTo>
                    <a:pt x="1846" y="1801"/>
                    <a:pt x="1846" y="1801"/>
                    <a:pt x="1846" y="1801"/>
                  </a:cubicBezTo>
                  <a:cubicBezTo>
                    <a:pt x="1835" y="1795"/>
                    <a:pt x="1835" y="1795"/>
                    <a:pt x="1835" y="1795"/>
                  </a:cubicBezTo>
                  <a:cubicBezTo>
                    <a:pt x="1829" y="1812"/>
                    <a:pt x="1829" y="1812"/>
                    <a:pt x="1829" y="1812"/>
                  </a:cubicBezTo>
                  <a:cubicBezTo>
                    <a:pt x="1829" y="1812"/>
                    <a:pt x="1799" y="1835"/>
                    <a:pt x="1818" y="1859"/>
                  </a:cubicBezTo>
                  <a:cubicBezTo>
                    <a:pt x="1838" y="1882"/>
                    <a:pt x="1851" y="1882"/>
                    <a:pt x="1851" y="1882"/>
                  </a:cubicBezTo>
                  <a:cubicBezTo>
                    <a:pt x="1907" y="1881"/>
                    <a:pt x="1903" y="1864"/>
                    <a:pt x="1905" y="1857"/>
                  </a:cubicBezTo>
                  <a:cubicBezTo>
                    <a:pt x="1906" y="1851"/>
                    <a:pt x="1902" y="1836"/>
                    <a:pt x="1902" y="1836"/>
                  </a:cubicBezTo>
                  <a:cubicBezTo>
                    <a:pt x="1902" y="1836"/>
                    <a:pt x="1927" y="1804"/>
                    <a:pt x="1912" y="1793"/>
                  </a:cubicBezTo>
                  <a:close/>
                  <a:moveTo>
                    <a:pt x="2441" y="416"/>
                  </a:moveTo>
                  <a:cubicBezTo>
                    <a:pt x="2438" y="399"/>
                    <a:pt x="2438" y="399"/>
                    <a:pt x="2438" y="399"/>
                  </a:cubicBezTo>
                  <a:cubicBezTo>
                    <a:pt x="2441" y="382"/>
                    <a:pt x="2441" y="382"/>
                    <a:pt x="2441" y="382"/>
                  </a:cubicBezTo>
                  <a:cubicBezTo>
                    <a:pt x="2430" y="375"/>
                    <a:pt x="2430" y="375"/>
                    <a:pt x="2430" y="375"/>
                  </a:cubicBezTo>
                  <a:cubicBezTo>
                    <a:pt x="2430" y="362"/>
                    <a:pt x="2430" y="362"/>
                    <a:pt x="2430" y="362"/>
                  </a:cubicBezTo>
                  <a:cubicBezTo>
                    <a:pt x="2423" y="352"/>
                    <a:pt x="2423" y="352"/>
                    <a:pt x="2423" y="352"/>
                  </a:cubicBezTo>
                  <a:cubicBezTo>
                    <a:pt x="2423" y="340"/>
                    <a:pt x="2423" y="340"/>
                    <a:pt x="2423" y="340"/>
                  </a:cubicBezTo>
                  <a:cubicBezTo>
                    <a:pt x="2415" y="330"/>
                    <a:pt x="2415" y="330"/>
                    <a:pt x="2415" y="330"/>
                  </a:cubicBezTo>
                  <a:cubicBezTo>
                    <a:pt x="2427" y="325"/>
                    <a:pt x="2427" y="325"/>
                    <a:pt x="2427" y="325"/>
                  </a:cubicBezTo>
                  <a:cubicBezTo>
                    <a:pt x="2427" y="305"/>
                    <a:pt x="2427" y="305"/>
                    <a:pt x="2427" y="305"/>
                  </a:cubicBezTo>
                  <a:cubicBezTo>
                    <a:pt x="2409" y="297"/>
                    <a:pt x="2409" y="297"/>
                    <a:pt x="2409" y="297"/>
                  </a:cubicBezTo>
                  <a:cubicBezTo>
                    <a:pt x="2409" y="297"/>
                    <a:pt x="2415" y="284"/>
                    <a:pt x="2405" y="276"/>
                  </a:cubicBezTo>
                  <a:cubicBezTo>
                    <a:pt x="2395" y="268"/>
                    <a:pt x="2370" y="274"/>
                    <a:pt x="2370" y="274"/>
                  </a:cubicBezTo>
                  <a:cubicBezTo>
                    <a:pt x="2365" y="288"/>
                    <a:pt x="2365" y="288"/>
                    <a:pt x="2365" y="288"/>
                  </a:cubicBezTo>
                  <a:cubicBezTo>
                    <a:pt x="2365" y="288"/>
                    <a:pt x="2337" y="287"/>
                    <a:pt x="2334" y="292"/>
                  </a:cubicBezTo>
                  <a:cubicBezTo>
                    <a:pt x="2331" y="297"/>
                    <a:pt x="2330" y="308"/>
                    <a:pt x="2330" y="308"/>
                  </a:cubicBezTo>
                  <a:cubicBezTo>
                    <a:pt x="2311" y="306"/>
                    <a:pt x="2311" y="306"/>
                    <a:pt x="2311" y="306"/>
                  </a:cubicBezTo>
                  <a:cubicBezTo>
                    <a:pt x="2311" y="313"/>
                    <a:pt x="2311" y="313"/>
                    <a:pt x="2311" y="313"/>
                  </a:cubicBezTo>
                  <a:cubicBezTo>
                    <a:pt x="2298" y="314"/>
                    <a:pt x="2298" y="314"/>
                    <a:pt x="2298" y="314"/>
                  </a:cubicBezTo>
                  <a:cubicBezTo>
                    <a:pt x="2290" y="304"/>
                    <a:pt x="2290" y="304"/>
                    <a:pt x="2290" y="304"/>
                  </a:cubicBezTo>
                  <a:cubicBezTo>
                    <a:pt x="2273" y="308"/>
                    <a:pt x="2273" y="308"/>
                    <a:pt x="2273" y="308"/>
                  </a:cubicBezTo>
                  <a:cubicBezTo>
                    <a:pt x="2248" y="288"/>
                    <a:pt x="2248" y="288"/>
                    <a:pt x="2248" y="288"/>
                  </a:cubicBezTo>
                  <a:cubicBezTo>
                    <a:pt x="2248" y="288"/>
                    <a:pt x="2247" y="280"/>
                    <a:pt x="2244" y="273"/>
                  </a:cubicBezTo>
                  <a:cubicBezTo>
                    <a:pt x="2241" y="266"/>
                    <a:pt x="2225" y="265"/>
                    <a:pt x="2225" y="265"/>
                  </a:cubicBezTo>
                  <a:cubicBezTo>
                    <a:pt x="2216" y="246"/>
                    <a:pt x="2216" y="246"/>
                    <a:pt x="2216" y="246"/>
                  </a:cubicBezTo>
                  <a:cubicBezTo>
                    <a:pt x="2192" y="246"/>
                    <a:pt x="2192" y="246"/>
                    <a:pt x="2192" y="246"/>
                  </a:cubicBezTo>
                  <a:cubicBezTo>
                    <a:pt x="2192" y="246"/>
                    <a:pt x="2154" y="218"/>
                    <a:pt x="2150" y="218"/>
                  </a:cubicBezTo>
                  <a:cubicBezTo>
                    <a:pt x="2146" y="218"/>
                    <a:pt x="2138" y="225"/>
                    <a:pt x="2138" y="225"/>
                  </a:cubicBezTo>
                  <a:cubicBezTo>
                    <a:pt x="2138" y="225"/>
                    <a:pt x="2122" y="209"/>
                    <a:pt x="2112" y="211"/>
                  </a:cubicBezTo>
                  <a:cubicBezTo>
                    <a:pt x="2102" y="213"/>
                    <a:pt x="2085" y="214"/>
                    <a:pt x="2077" y="209"/>
                  </a:cubicBezTo>
                  <a:cubicBezTo>
                    <a:pt x="2069" y="204"/>
                    <a:pt x="2050" y="194"/>
                    <a:pt x="2050" y="194"/>
                  </a:cubicBezTo>
                  <a:cubicBezTo>
                    <a:pt x="2046" y="178"/>
                    <a:pt x="2046" y="178"/>
                    <a:pt x="2046" y="178"/>
                  </a:cubicBezTo>
                  <a:cubicBezTo>
                    <a:pt x="2039" y="178"/>
                    <a:pt x="2039" y="178"/>
                    <a:pt x="2039" y="178"/>
                  </a:cubicBezTo>
                  <a:cubicBezTo>
                    <a:pt x="2039" y="178"/>
                    <a:pt x="2021" y="154"/>
                    <a:pt x="2011" y="145"/>
                  </a:cubicBezTo>
                  <a:cubicBezTo>
                    <a:pt x="2001" y="136"/>
                    <a:pt x="1980" y="134"/>
                    <a:pt x="1980" y="134"/>
                  </a:cubicBezTo>
                  <a:cubicBezTo>
                    <a:pt x="1969" y="112"/>
                    <a:pt x="1969" y="112"/>
                    <a:pt x="1969" y="112"/>
                  </a:cubicBezTo>
                  <a:cubicBezTo>
                    <a:pt x="1937" y="95"/>
                    <a:pt x="1937" y="95"/>
                    <a:pt x="1937" y="95"/>
                  </a:cubicBezTo>
                  <a:cubicBezTo>
                    <a:pt x="1934" y="76"/>
                    <a:pt x="1934" y="76"/>
                    <a:pt x="1934" y="76"/>
                  </a:cubicBezTo>
                  <a:cubicBezTo>
                    <a:pt x="1934" y="76"/>
                    <a:pt x="1919" y="71"/>
                    <a:pt x="1914" y="67"/>
                  </a:cubicBezTo>
                  <a:cubicBezTo>
                    <a:pt x="1909" y="63"/>
                    <a:pt x="1891" y="53"/>
                    <a:pt x="1891" y="53"/>
                  </a:cubicBezTo>
                  <a:cubicBezTo>
                    <a:pt x="1889" y="44"/>
                    <a:pt x="1889" y="44"/>
                    <a:pt x="1889" y="44"/>
                  </a:cubicBezTo>
                  <a:cubicBezTo>
                    <a:pt x="1889" y="44"/>
                    <a:pt x="1868" y="30"/>
                    <a:pt x="1861" y="29"/>
                  </a:cubicBezTo>
                  <a:cubicBezTo>
                    <a:pt x="1854" y="28"/>
                    <a:pt x="1835" y="27"/>
                    <a:pt x="1835" y="27"/>
                  </a:cubicBezTo>
                  <a:cubicBezTo>
                    <a:pt x="1820" y="30"/>
                    <a:pt x="1820" y="30"/>
                    <a:pt x="1820" y="30"/>
                  </a:cubicBezTo>
                  <a:cubicBezTo>
                    <a:pt x="1794" y="13"/>
                    <a:pt x="1794" y="13"/>
                    <a:pt x="1794" y="13"/>
                  </a:cubicBezTo>
                  <a:cubicBezTo>
                    <a:pt x="1769" y="0"/>
                    <a:pt x="1769" y="0"/>
                    <a:pt x="1769" y="0"/>
                  </a:cubicBezTo>
                  <a:cubicBezTo>
                    <a:pt x="1734" y="7"/>
                    <a:pt x="1734" y="7"/>
                    <a:pt x="1734" y="7"/>
                  </a:cubicBezTo>
                  <a:cubicBezTo>
                    <a:pt x="1706" y="5"/>
                    <a:pt x="1706" y="5"/>
                    <a:pt x="1706" y="5"/>
                  </a:cubicBezTo>
                  <a:cubicBezTo>
                    <a:pt x="1702" y="13"/>
                    <a:pt x="1702" y="13"/>
                    <a:pt x="1702" y="13"/>
                  </a:cubicBezTo>
                  <a:cubicBezTo>
                    <a:pt x="1678" y="16"/>
                    <a:pt x="1678" y="16"/>
                    <a:pt x="1678" y="16"/>
                  </a:cubicBezTo>
                  <a:cubicBezTo>
                    <a:pt x="1658" y="36"/>
                    <a:pt x="1658" y="36"/>
                    <a:pt x="1658" y="36"/>
                  </a:cubicBezTo>
                  <a:cubicBezTo>
                    <a:pt x="1658" y="36"/>
                    <a:pt x="1636" y="51"/>
                    <a:pt x="1651" y="54"/>
                  </a:cubicBezTo>
                  <a:cubicBezTo>
                    <a:pt x="1666" y="57"/>
                    <a:pt x="1678" y="59"/>
                    <a:pt x="1678" y="59"/>
                  </a:cubicBezTo>
                  <a:cubicBezTo>
                    <a:pt x="1678" y="59"/>
                    <a:pt x="1705" y="74"/>
                    <a:pt x="1704" y="80"/>
                  </a:cubicBezTo>
                  <a:cubicBezTo>
                    <a:pt x="1703" y="86"/>
                    <a:pt x="1691" y="91"/>
                    <a:pt x="1689" y="100"/>
                  </a:cubicBezTo>
                  <a:cubicBezTo>
                    <a:pt x="1687" y="109"/>
                    <a:pt x="1692" y="127"/>
                    <a:pt x="1692" y="127"/>
                  </a:cubicBezTo>
                  <a:cubicBezTo>
                    <a:pt x="1692" y="146"/>
                    <a:pt x="1692" y="146"/>
                    <a:pt x="1692" y="146"/>
                  </a:cubicBezTo>
                  <a:cubicBezTo>
                    <a:pt x="1693" y="171"/>
                    <a:pt x="1693" y="171"/>
                    <a:pt x="1693" y="171"/>
                  </a:cubicBezTo>
                  <a:cubicBezTo>
                    <a:pt x="1693" y="171"/>
                    <a:pt x="1717" y="181"/>
                    <a:pt x="1704" y="189"/>
                  </a:cubicBezTo>
                  <a:cubicBezTo>
                    <a:pt x="1691" y="197"/>
                    <a:pt x="1680" y="192"/>
                    <a:pt x="1680" y="192"/>
                  </a:cubicBezTo>
                  <a:cubicBezTo>
                    <a:pt x="1680" y="192"/>
                    <a:pt x="1676" y="214"/>
                    <a:pt x="1666" y="214"/>
                  </a:cubicBezTo>
                  <a:cubicBezTo>
                    <a:pt x="1656" y="214"/>
                    <a:pt x="1653" y="209"/>
                    <a:pt x="1653" y="209"/>
                  </a:cubicBezTo>
                  <a:cubicBezTo>
                    <a:pt x="1629" y="208"/>
                    <a:pt x="1629" y="208"/>
                    <a:pt x="1629" y="208"/>
                  </a:cubicBezTo>
                  <a:cubicBezTo>
                    <a:pt x="1606" y="194"/>
                    <a:pt x="1606" y="194"/>
                    <a:pt x="1606" y="194"/>
                  </a:cubicBezTo>
                  <a:cubicBezTo>
                    <a:pt x="1607" y="249"/>
                    <a:pt x="1607" y="249"/>
                    <a:pt x="1607" y="249"/>
                  </a:cubicBezTo>
                  <a:cubicBezTo>
                    <a:pt x="1612" y="255"/>
                    <a:pt x="1612" y="255"/>
                    <a:pt x="1612" y="255"/>
                  </a:cubicBezTo>
                  <a:cubicBezTo>
                    <a:pt x="1613" y="273"/>
                    <a:pt x="1613" y="273"/>
                    <a:pt x="1613" y="273"/>
                  </a:cubicBezTo>
                  <a:cubicBezTo>
                    <a:pt x="1617" y="279"/>
                    <a:pt x="1617" y="279"/>
                    <a:pt x="1617" y="279"/>
                  </a:cubicBezTo>
                  <a:cubicBezTo>
                    <a:pt x="1617" y="279"/>
                    <a:pt x="1612" y="282"/>
                    <a:pt x="1615" y="292"/>
                  </a:cubicBezTo>
                  <a:cubicBezTo>
                    <a:pt x="1618" y="302"/>
                    <a:pt x="1630" y="313"/>
                    <a:pt x="1639" y="310"/>
                  </a:cubicBezTo>
                  <a:cubicBezTo>
                    <a:pt x="1648" y="307"/>
                    <a:pt x="1632" y="300"/>
                    <a:pt x="1651" y="299"/>
                  </a:cubicBezTo>
                  <a:cubicBezTo>
                    <a:pt x="1670" y="298"/>
                    <a:pt x="1680" y="302"/>
                    <a:pt x="1680" y="302"/>
                  </a:cubicBezTo>
                  <a:cubicBezTo>
                    <a:pt x="1680" y="302"/>
                    <a:pt x="1691" y="313"/>
                    <a:pt x="1697" y="311"/>
                  </a:cubicBezTo>
                  <a:cubicBezTo>
                    <a:pt x="1703" y="309"/>
                    <a:pt x="1704" y="291"/>
                    <a:pt x="1704" y="291"/>
                  </a:cubicBezTo>
                  <a:cubicBezTo>
                    <a:pt x="1745" y="291"/>
                    <a:pt x="1745" y="291"/>
                    <a:pt x="1745" y="291"/>
                  </a:cubicBezTo>
                  <a:cubicBezTo>
                    <a:pt x="1745" y="291"/>
                    <a:pt x="1748" y="306"/>
                    <a:pt x="1757" y="307"/>
                  </a:cubicBezTo>
                  <a:cubicBezTo>
                    <a:pt x="1766" y="308"/>
                    <a:pt x="1769" y="308"/>
                    <a:pt x="1769" y="308"/>
                  </a:cubicBezTo>
                  <a:cubicBezTo>
                    <a:pt x="1769" y="308"/>
                    <a:pt x="1777" y="315"/>
                    <a:pt x="1786" y="322"/>
                  </a:cubicBezTo>
                  <a:cubicBezTo>
                    <a:pt x="1795" y="329"/>
                    <a:pt x="1813" y="333"/>
                    <a:pt x="1813" y="333"/>
                  </a:cubicBezTo>
                  <a:cubicBezTo>
                    <a:pt x="1813" y="333"/>
                    <a:pt x="1818" y="344"/>
                    <a:pt x="1827" y="350"/>
                  </a:cubicBezTo>
                  <a:cubicBezTo>
                    <a:pt x="1836" y="356"/>
                    <a:pt x="1839" y="362"/>
                    <a:pt x="1831" y="363"/>
                  </a:cubicBezTo>
                  <a:cubicBezTo>
                    <a:pt x="1823" y="364"/>
                    <a:pt x="1805" y="365"/>
                    <a:pt x="1805" y="365"/>
                  </a:cubicBezTo>
                  <a:cubicBezTo>
                    <a:pt x="1805" y="365"/>
                    <a:pt x="1797" y="356"/>
                    <a:pt x="1788" y="356"/>
                  </a:cubicBezTo>
                  <a:cubicBezTo>
                    <a:pt x="1779" y="356"/>
                    <a:pt x="1768" y="359"/>
                    <a:pt x="1768" y="359"/>
                  </a:cubicBezTo>
                  <a:cubicBezTo>
                    <a:pt x="1759" y="368"/>
                    <a:pt x="1759" y="368"/>
                    <a:pt x="1759" y="368"/>
                  </a:cubicBezTo>
                  <a:cubicBezTo>
                    <a:pt x="1753" y="371"/>
                    <a:pt x="1753" y="371"/>
                    <a:pt x="1753" y="371"/>
                  </a:cubicBezTo>
                  <a:cubicBezTo>
                    <a:pt x="1735" y="368"/>
                    <a:pt x="1735" y="368"/>
                    <a:pt x="1735" y="368"/>
                  </a:cubicBezTo>
                  <a:cubicBezTo>
                    <a:pt x="1735" y="379"/>
                    <a:pt x="1735" y="379"/>
                    <a:pt x="1735" y="379"/>
                  </a:cubicBezTo>
                  <a:cubicBezTo>
                    <a:pt x="1735" y="379"/>
                    <a:pt x="1710" y="380"/>
                    <a:pt x="1703" y="391"/>
                  </a:cubicBezTo>
                  <a:cubicBezTo>
                    <a:pt x="1696" y="402"/>
                    <a:pt x="1711" y="413"/>
                    <a:pt x="1711" y="413"/>
                  </a:cubicBezTo>
                  <a:cubicBezTo>
                    <a:pt x="1695" y="427"/>
                    <a:pt x="1695" y="427"/>
                    <a:pt x="1695" y="427"/>
                  </a:cubicBezTo>
                  <a:cubicBezTo>
                    <a:pt x="1695" y="427"/>
                    <a:pt x="1649" y="424"/>
                    <a:pt x="1646" y="427"/>
                  </a:cubicBezTo>
                  <a:cubicBezTo>
                    <a:pt x="1643" y="430"/>
                    <a:pt x="1645" y="446"/>
                    <a:pt x="1645" y="446"/>
                  </a:cubicBezTo>
                  <a:cubicBezTo>
                    <a:pt x="1645" y="446"/>
                    <a:pt x="1634" y="460"/>
                    <a:pt x="1627" y="462"/>
                  </a:cubicBezTo>
                  <a:cubicBezTo>
                    <a:pt x="1620" y="464"/>
                    <a:pt x="1593" y="465"/>
                    <a:pt x="1593" y="465"/>
                  </a:cubicBezTo>
                  <a:cubicBezTo>
                    <a:pt x="1593" y="465"/>
                    <a:pt x="1571" y="448"/>
                    <a:pt x="1567" y="447"/>
                  </a:cubicBezTo>
                  <a:cubicBezTo>
                    <a:pt x="1563" y="446"/>
                    <a:pt x="1545" y="440"/>
                    <a:pt x="1539" y="450"/>
                  </a:cubicBezTo>
                  <a:cubicBezTo>
                    <a:pt x="1533" y="460"/>
                    <a:pt x="1535" y="480"/>
                    <a:pt x="1541" y="484"/>
                  </a:cubicBezTo>
                  <a:cubicBezTo>
                    <a:pt x="1547" y="488"/>
                    <a:pt x="1578" y="511"/>
                    <a:pt x="1577" y="516"/>
                  </a:cubicBezTo>
                  <a:cubicBezTo>
                    <a:pt x="1576" y="521"/>
                    <a:pt x="1566" y="536"/>
                    <a:pt x="1562" y="536"/>
                  </a:cubicBezTo>
                  <a:cubicBezTo>
                    <a:pt x="1558" y="536"/>
                    <a:pt x="1548" y="533"/>
                    <a:pt x="1545" y="540"/>
                  </a:cubicBezTo>
                  <a:cubicBezTo>
                    <a:pt x="1542" y="547"/>
                    <a:pt x="1544" y="562"/>
                    <a:pt x="1536" y="569"/>
                  </a:cubicBezTo>
                  <a:cubicBezTo>
                    <a:pt x="1528" y="576"/>
                    <a:pt x="1511" y="574"/>
                    <a:pt x="1511" y="574"/>
                  </a:cubicBezTo>
                  <a:cubicBezTo>
                    <a:pt x="1499" y="587"/>
                    <a:pt x="1499" y="587"/>
                    <a:pt x="1499" y="587"/>
                  </a:cubicBezTo>
                  <a:cubicBezTo>
                    <a:pt x="1499" y="587"/>
                    <a:pt x="1409" y="584"/>
                    <a:pt x="1395" y="590"/>
                  </a:cubicBezTo>
                  <a:cubicBezTo>
                    <a:pt x="1381" y="596"/>
                    <a:pt x="1338" y="625"/>
                    <a:pt x="1332" y="630"/>
                  </a:cubicBezTo>
                  <a:cubicBezTo>
                    <a:pt x="1326" y="635"/>
                    <a:pt x="1306" y="627"/>
                    <a:pt x="1306" y="627"/>
                  </a:cubicBezTo>
                  <a:cubicBezTo>
                    <a:pt x="1306" y="627"/>
                    <a:pt x="1303" y="615"/>
                    <a:pt x="1297" y="615"/>
                  </a:cubicBezTo>
                  <a:cubicBezTo>
                    <a:pt x="1291" y="615"/>
                    <a:pt x="1270" y="624"/>
                    <a:pt x="1270" y="624"/>
                  </a:cubicBezTo>
                  <a:cubicBezTo>
                    <a:pt x="1270" y="624"/>
                    <a:pt x="1242" y="609"/>
                    <a:pt x="1228" y="608"/>
                  </a:cubicBezTo>
                  <a:cubicBezTo>
                    <a:pt x="1214" y="607"/>
                    <a:pt x="1203" y="609"/>
                    <a:pt x="1188" y="604"/>
                  </a:cubicBezTo>
                  <a:cubicBezTo>
                    <a:pt x="1173" y="599"/>
                    <a:pt x="1171" y="584"/>
                    <a:pt x="1161" y="581"/>
                  </a:cubicBezTo>
                  <a:cubicBezTo>
                    <a:pt x="1151" y="578"/>
                    <a:pt x="1112" y="578"/>
                    <a:pt x="1112" y="578"/>
                  </a:cubicBezTo>
                  <a:cubicBezTo>
                    <a:pt x="1112" y="578"/>
                    <a:pt x="1092" y="570"/>
                    <a:pt x="1087" y="570"/>
                  </a:cubicBezTo>
                  <a:cubicBezTo>
                    <a:pt x="1082" y="570"/>
                    <a:pt x="1068" y="581"/>
                    <a:pt x="1068" y="581"/>
                  </a:cubicBezTo>
                  <a:cubicBezTo>
                    <a:pt x="1043" y="576"/>
                    <a:pt x="1043" y="576"/>
                    <a:pt x="1043" y="576"/>
                  </a:cubicBezTo>
                  <a:cubicBezTo>
                    <a:pt x="1012" y="576"/>
                    <a:pt x="1012" y="576"/>
                    <a:pt x="1012" y="576"/>
                  </a:cubicBezTo>
                  <a:cubicBezTo>
                    <a:pt x="973" y="571"/>
                    <a:pt x="973" y="571"/>
                    <a:pt x="973" y="571"/>
                  </a:cubicBezTo>
                  <a:cubicBezTo>
                    <a:pt x="935" y="575"/>
                    <a:pt x="935" y="575"/>
                    <a:pt x="935" y="575"/>
                  </a:cubicBezTo>
                  <a:cubicBezTo>
                    <a:pt x="935" y="575"/>
                    <a:pt x="902" y="550"/>
                    <a:pt x="898" y="544"/>
                  </a:cubicBezTo>
                  <a:cubicBezTo>
                    <a:pt x="894" y="538"/>
                    <a:pt x="880" y="519"/>
                    <a:pt x="876" y="515"/>
                  </a:cubicBezTo>
                  <a:cubicBezTo>
                    <a:pt x="872" y="511"/>
                    <a:pt x="863" y="506"/>
                    <a:pt x="863" y="506"/>
                  </a:cubicBezTo>
                  <a:cubicBezTo>
                    <a:pt x="856" y="490"/>
                    <a:pt x="856" y="490"/>
                    <a:pt x="856" y="490"/>
                  </a:cubicBezTo>
                  <a:cubicBezTo>
                    <a:pt x="834" y="487"/>
                    <a:pt x="834" y="487"/>
                    <a:pt x="834" y="487"/>
                  </a:cubicBezTo>
                  <a:cubicBezTo>
                    <a:pt x="834" y="487"/>
                    <a:pt x="797" y="475"/>
                    <a:pt x="794" y="474"/>
                  </a:cubicBezTo>
                  <a:cubicBezTo>
                    <a:pt x="791" y="473"/>
                    <a:pt x="784" y="461"/>
                    <a:pt x="775" y="459"/>
                  </a:cubicBezTo>
                  <a:cubicBezTo>
                    <a:pt x="766" y="457"/>
                    <a:pt x="755" y="452"/>
                    <a:pt x="755" y="452"/>
                  </a:cubicBezTo>
                  <a:cubicBezTo>
                    <a:pt x="755" y="452"/>
                    <a:pt x="721" y="450"/>
                    <a:pt x="707" y="451"/>
                  </a:cubicBezTo>
                  <a:cubicBezTo>
                    <a:pt x="693" y="452"/>
                    <a:pt x="679" y="449"/>
                    <a:pt x="668" y="445"/>
                  </a:cubicBezTo>
                  <a:cubicBezTo>
                    <a:pt x="657" y="441"/>
                    <a:pt x="636" y="439"/>
                    <a:pt x="631" y="426"/>
                  </a:cubicBezTo>
                  <a:cubicBezTo>
                    <a:pt x="626" y="413"/>
                    <a:pt x="625" y="403"/>
                    <a:pt x="625" y="403"/>
                  </a:cubicBezTo>
                  <a:cubicBezTo>
                    <a:pt x="625" y="403"/>
                    <a:pt x="635" y="399"/>
                    <a:pt x="633" y="392"/>
                  </a:cubicBezTo>
                  <a:cubicBezTo>
                    <a:pt x="631" y="385"/>
                    <a:pt x="621" y="377"/>
                    <a:pt x="621" y="377"/>
                  </a:cubicBezTo>
                  <a:cubicBezTo>
                    <a:pt x="621" y="377"/>
                    <a:pt x="624" y="361"/>
                    <a:pt x="612" y="353"/>
                  </a:cubicBezTo>
                  <a:cubicBezTo>
                    <a:pt x="600" y="345"/>
                    <a:pt x="591" y="336"/>
                    <a:pt x="586" y="329"/>
                  </a:cubicBezTo>
                  <a:cubicBezTo>
                    <a:pt x="581" y="322"/>
                    <a:pt x="574" y="308"/>
                    <a:pt x="560" y="304"/>
                  </a:cubicBezTo>
                  <a:cubicBezTo>
                    <a:pt x="546" y="300"/>
                    <a:pt x="540" y="298"/>
                    <a:pt x="540" y="298"/>
                  </a:cubicBezTo>
                  <a:cubicBezTo>
                    <a:pt x="525" y="290"/>
                    <a:pt x="525" y="290"/>
                    <a:pt x="525" y="290"/>
                  </a:cubicBezTo>
                  <a:cubicBezTo>
                    <a:pt x="504" y="296"/>
                    <a:pt x="504" y="296"/>
                    <a:pt x="504" y="296"/>
                  </a:cubicBezTo>
                  <a:cubicBezTo>
                    <a:pt x="487" y="280"/>
                    <a:pt x="487" y="280"/>
                    <a:pt x="487" y="280"/>
                  </a:cubicBezTo>
                  <a:cubicBezTo>
                    <a:pt x="481" y="272"/>
                    <a:pt x="481" y="272"/>
                    <a:pt x="481" y="272"/>
                  </a:cubicBezTo>
                  <a:cubicBezTo>
                    <a:pt x="481" y="272"/>
                    <a:pt x="457" y="269"/>
                    <a:pt x="452" y="264"/>
                  </a:cubicBezTo>
                  <a:cubicBezTo>
                    <a:pt x="447" y="259"/>
                    <a:pt x="451" y="251"/>
                    <a:pt x="451" y="251"/>
                  </a:cubicBezTo>
                  <a:cubicBezTo>
                    <a:pt x="433" y="251"/>
                    <a:pt x="433" y="251"/>
                    <a:pt x="433" y="251"/>
                  </a:cubicBezTo>
                  <a:cubicBezTo>
                    <a:pt x="433" y="251"/>
                    <a:pt x="443" y="239"/>
                    <a:pt x="435" y="235"/>
                  </a:cubicBezTo>
                  <a:cubicBezTo>
                    <a:pt x="427" y="231"/>
                    <a:pt x="414" y="238"/>
                    <a:pt x="414" y="238"/>
                  </a:cubicBezTo>
                  <a:cubicBezTo>
                    <a:pt x="414" y="238"/>
                    <a:pt x="388" y="230"/>
                    <a:pt x="387" y="239"/>
                  </a:cubicBezTo>
                  <a:cubicBezTo>
                    <a:pt x="386" y="248"/>
                    <a:pt x="405" y="251"/>
                    <a:pt x="399" y="260"/>
                  </a:cubicBezTo>
                  <a:cubicBezTo>
                    <a:pt x="393" y="269"/>
                    <a:pt x="364" y="259"/>
                    <a:pt x="359" y="273"/>
                  </a:cubicBezTo>
                  <a:cubicBezTo>
                    <a:pt x="354" y="287"/>
                    <a:pt x="364" y="296"/>
                    <a:pt x="373" y="309"/>
                  </a:cubicBezTo>
                  <a:cubicBezTo>
                    <a:pt x="382" y="322"/>
                    <a:pt x="388" y="333"/>
                    <a:pt x="381" y="338"/>
                  </a:cubicBezTo>
                  <a:cubicBezTo>
                    <a:pt x="374" y="343"/>
                    <a:pt x="366" y="342"/>
                    <a:pt x="366" y="342"/>
                  </a:cubicBezTo>
                  <a:cubicBezTo>
                    <a:pt x="355" y="354"/>
                    <a:pt x="355" y="354"/>
                    <a:pt x="355" y="354"/>
                  </a:cubicBezTo>
                  <a:cubicBezTo>
                    <a:pt x="346" y="346"/>
                    <a:pt x="346" y="346"/>
                    <a:pt x="346" y="346"/>
                  </a:cubicBezTo>
                  <a:cubicBezTo>
                    <a:pt x="346" y="346"/>
                    <a:pt x="325" y="348"/>
                    <a:pt x="317" y="346"/>
                  </a:cubicBezTo>
                  <a:cubicBezTo>
                    <a:pt x="309" y="344"/>
                    <a:pt x="284" y="332"/>
                    <a:pt x="278" y="332"/>
                  </a:cubicBezTo>
                  <a:cubicBezTo>
                    <a:pt x="272" y="332"/>
                    <a:pt x="273" y="347"/>
                    <a:pt x="273" y="359"/>
                  </a:cubicBezTo>
                  <a:cubicBezTo>
                    <a:pt x="273" y="371"/>
                    <a:pt x="269" y="423"/>
                    <a:pt x="273" y="425"/>
                  </a:cubicBezTo>
                  <a:cubicBezTo>
                    <a:pt x="277" y="427"/>
                    <a:pt x="300" y="429"/>
                    <a:pt x="291" y="440"/>
                  </a:cubicBezTo>
                  <a:cubicBezTo>
                    <a:pt x="282" y="451"/>
                    <a:pt x="275" y="437"/>
                    <a:pt x="275" y="437"/>
                  </a:cubicBezTo>
                  <a:cubicBezTo>
                    <a:pt x="262" y="444"/>
                    <a:pt x="262" y="444"/>
                    <a:pt x="262" y="444"/>
                  </a:cubicBezTo>
                  <a:cubicBezTo>
                    <a:pt x="262" y="444"/>
                    <a:pt x="253" y="430"/>
                    <a:pt x="248" y="430"/>
                  </a:cubicBezTo>
                  <a:cubicBezTo>
                    <a:pt x="243" y="430"/>
                    <a:pt x="219" y="440"/>
                    <a:pt x="213" y="441"/>
                  </a:cubicBezTo>
                  <a:cubicBezTo>
                    <a:pt x="207" y="442"/>
                    <a:pt x="176" y="449"/>
                    <a:pt x="183" y="458"/>
                  </a:cubicBezTo>
                  <a:cubicBezTo>
                    <a:pt x="190" y="467"/>
                    <a:pt x="208" y="464"/>
                    <a:pt x="208" y="464"/>
                  </a:cubicBezTo>
                  <a:cubicBezTo>
                    <a:pt x="208" y="464"/>
                    <a:pt x="208" y="490"/>
                    <a:pt x="216" y="499"/>
                  </a:cubicBezTo>
                  <a:cubicBezTo>
                    <a:pt x="224" y="508"/>
                    <a:pt x="254" y="539"/>
                    <a:pt x="254" y="546"/>
                  </a:cubicBezTo>
                  <a:cubicBezTo>
                    <a:pt x="254" y="553"/>
                    <a:pt x="238" y="550"/>
                    <a:pt x="238" y="553"/>
                  </a:cubicBezTo>
                  <a:cubicBezTo>
                    <a:pt x="238" y="556"/>
                    <a:pt x="249" y="568"/>
                    <a:pt x="249" y="568"/>
                  </a:cubicBezTo>
                  <a:cubicBezTo>
                    <a:pt x="249" y="568"/>
                    <a:pt x="235" y="566"/>
                    <a:pt x="235" y="571"/>
                  </a:cubicBezTo>
                  <a:cubicBezTo>
                    <a:pt x="235" y="576"/>
                    <a:pt x="239" y="587"/>
                    <a:pt x="244" y="592"/>
                  </a:cubicBezTo>
                  <a:cubicBezTo>
                    <a:pt x="249" y="597"/>
                    <a:pt x="251" y="610"/>
                    <a:pt x="248" y="611"/>
                  </a:cubicBezTo>
                  <a:cubicBezTo>
                    <a:pt x="245" y="612"/>
                    <a:pt x="231" y="612"/>
                    <a:pt x="231" y="612"/>
                  </a:cubicBezTo>
                  <a:cubicBezTo>
                    <a:pt x="199" y="625"/>
                    <a:pt x="199" y="625"/>
                    <a:pt x="199" y="625"/>
                  </a:cubicBezTo>
                  <a:cubicBezTo>
                    <a:pt x="199" y="625"/>
                    <a:pt x="180" y="642"/>
                    <a:pt x="180" y="645"/>
                  </a:cubicBezTo>
                  <a:cubicBezTo>
                    <a:pt x="180" y="648"/>
                    <a:pt x="180" y="666"/>
                    <a:pt x="168" y="666"/>
                  </a:cubicBezTo>
                  <a:cubicBezTo>
                    <a:pt x="156" y="666"/>
                    <a:pt x="137" y="658"/>
                    <a:pt x="129" y="659"/>
                  </a:cubicBezTo>
                  <a:cubicBezTo>
                    <a:pt x="121" y="660"/>
                    <a:pt x="113" y="673"/>
                    <a:pt x="112" y="682"/>
                  </a:cubicBezTo>
                  <a:cubicBezTo>
                    <a:pt x="111" y="691"/>
                    <a:pt x="106" y="700"/>
                    <a:pt x="106" y="700"/>
                  </a:cubicBezTo>
                  <a:cubicBezTo>
                    <a:pt x="87" y="695"/>
                    <a:pt x="87" y="695"/>
                    <a:pt x="87" y="695"/>
                  </a:cubicBezTo>
                  <a:cubicBezTo>
                    <a:pt x="80" y="702"/>
                    <a:pt x="80" y="702"/>
                    <a:pt x="80" y="702"/>
                  </a:cubicBezTo>
                  <a:cubicBezTo>
                    <a:pt x="80" y="702"/>
                    <a:pt x="69" y="683"/>
                    <a:pt x="63" y="683"/>
                  </a:cubicBezTo>
                  <a:cubicBezTo>
                    <a:pt x="57" y="683"/>
                    <a:pt x="52" y="692"/>
                    <a:pt x="52" y="692"/>
                  </a:cubicBezTo>
                  <a:cubicBezTo>
                    <a:pt x="33" y="694"/>
                    <a:pt x="33" y="694"/>
                    <a:pt x="33" y="694"/>
                  </a:cubicBezTo>
                  <a:cubicBezTo>
                    <a:pt x="33" y="704"/>
                    <a:pt x="33" y="704"/>
                    <a:pt x="33" y="704"/>
                  </a:cubicBezTo>
                  <a:cubicBezTo>
                    <a:pt x="33" y="704"/>
                    <a:pt x="0" y="719"/>
                    <a:pt x="1" y="722"/>
                  </a:cubicBezTo>
                  <a:cubicBezTo>
                    <a:pt x="2" y="725"/>
                    <a:pt x="13" y="738"/>
                    <a:pt x="13" y="742"/>
                  </a:cubicBezTo>
                  <a:cubicBezTo>
                    <a:pt x="13" y="746"/>
                    <a:pt x="1" y="744"/>
                    <a:pt x="1" y="744"/>
                  </a:cubicBezTo>
                  <a:cubicBezTo>
                    <a:pt x="1" y="761"/>
                    <a:pt x="1" y="761"/>
                    <a:pt x="1" y="761"/>
                  </a:cubicBezTo>
                  <a:cubicBezTo>
                    <a:pt x="1" y="761"/>
                    <a:pt x="15" y="758"/>
                    <a:pt x="15" y="765"/>
                  </a:cubicBezTo>
                  <a:cubicBezTo>
                    <a:pt x="15" y="772"/>
                    <a:pt x="7" y="790"/>
                    <a:pt x="17" y="794"/>
                  </a:cubicBezTo>
                  <a:cubicBezTo>
                    <a:pt x="27" y="798"/>
                    <a:pt x="31" y="783"/>
                    <a:pt x="45" y="787"/>
                  </a:cubicBezTo>
                  <a:cubicBezTo>
                    <a:pt x="59" y="791"/>
                    <a:pt x="71" y="794"/>
                    <a:pt x="71" y="804"/>
                  </a:cubicBezTo>
                  <a:cubicBezTo>
                    <a:pt x="71" y="814"/>
                    <a:pt x="72" y="836"/>
                    <a:pt x="79" y="843"/>
                  </a:cubicBezTo>
                  <a:cubicBezTo>
                    <a:pt x="86" y="850"/>
                    <a:pt x="98" y="853"/>
                    <a:pt x="90" y="859"/>
                  </a:cubicBezTo>
                  <a:cubicBezTo>
                    <a:pt x="82" y="865"/>
                    <a:pt x="62" y="857"/>
                    <a:pt x="65" y="868"/>
                  </a:cubicBezTo>
                  <a:cubicBezTo>
                    <a:pt x="68" y="879"/>
                    <a:pt x="90" y="880"/>
                    <a:pt x="90" y="880"/>
                  </a:cubicBezTo>
                  <a:cubicBezTo>
                    <a:pt x="111" y="880"/>
                    <a:pt x="111" y="880"/>
                    <a:pt x="111" y="880"/>
                  </a:cubicBezTo>
                  <a:cubicBezTo>
                    <a:pt x="114" y="889"/>
                    <a:pt x="114" y="889"/>
                    <a:pt x="114" y="889"/>
                  </a:cubicBezTo>
                  <a:cubicBezTo>
                    <a:pt x="114" y="889"/>
                    <a:pt x="129" y="890"/>
                    <a:pt x="138" y="900"/>
                  </a:cubicBezTo>
                  <a:cubicBezTo>
                    <a:pt x="147" y="910"/>
                    <a:pt x="148" y="931"/>
                    <a:pt x="148" y="931"/>
                  </a:cubicBezTo>
                  <a:cubicBezTo>
                    <a:pt x="169" y="939"/>
                    <a:pt x="169" y="939"/>
                    <a:pt x="169" y="939"/>
                  </a:cubicBezTo>
                  <a:cubicBezTo>
                    <a:pt x="177" y="935"/>
                    <a:pt x="177" y="935"/>
                    <a:pt x="177" y="935"/>
                  </a:cubicBezTo>
                  <a:cubicBezTo>
                    <a:pt x="177" y="935"/>
                    <a:pt x="182" y="955"/>
                    <a:pt x="201" y="956"/>
                  </a:cubicBezTo>
                  <a:cubicBezTo>
                    <a:pt x="220" y="957"/>
                    <a:pt x="246" y="957"/>
                    <a:pt x="246" y="957"/>
                  </a:cubicBezTo>
                  <a:cubicBezTo>
                    <a:pt x="246" y="957"/>
                    <a:pt x="277" y="928"/>
                    <a:pt x="294" y="934"/>
                  </a:cubicBezTo>
                  <a:cubicBezTo>
                    <a:pt x="311" y="940"/>
                    <a:pt x="313" y="954"/>
                    <a:pt x="324" y="956"/>
                  </a:cubicBezTo>
                  <a:cubicBezTo>
                    <a:pt x="335" y="958"/>
                    <a:pt x="349" y="956"/>
                    <a:pt x="349" y="956"/>
                  </a:cubicBezTo>
                  <a:cubicBezTo>
                    <a:pt x="349" y="956"/>
                    <a:pt x="353" y="992"/>
                    <a:pt x="349" y="997"/>
                  </a:cubicBezTo>
                  <a:cubicBezTo>
                    <a:pt x="345" y="1002"/>
                    <a:pt x="336" y="1002"/>
                    <a:pt x="336" y="1002"/>
                  </a:cubicBezTo>
                  <a:cubicBezTo>
                    <a:pt x="336" y="1002"/>
                    <a:pt x="342" y="1026"/>
                    <a:pt x="333" y="1031"/>
                  </a:cubicBezTo>
                  <a:cubicBezTo>
                    <a:pt x="324" y="1036"/>
                    <a:pt x="305" y="1035"/>
                    <a:pt x="305" y="1035"/>
                  </a:cubicBezTo>
                  <a:cubicBezTo>
                    <a:pt x="317" y="1051"/>
                    <a:pt x="317" y="1051"/>
                    <a:pt x="317" y="1051"/>
                  </a:cubicBezTo>
                  <a:cubicBezTo>
                    <a:pt x="306" y="1057"/>
                    <a:pt x="306" y="1057"/>
                    <a:pt x="306" y="1057"/>
                  </a:cubicBezTo>
                  <a:cubicBezTo>
                    <a:pt x="306" y="1057"/>
                    <a:pt x="300" y="1068"/>
                    <a:pt x="315" y="1075"/>
                  </a:cubicBezTo>
                  <a:cubicBezTo>
                    <a:pt x="330" y="1082"/>
                    <a:pt x="335" y="1085"/>
                    <a:pt x="335" y="1085"/>
                  </a:cubicBezTo>
                  <a:cubicBezTo>
                    <a:pt x="340" y="1094"/>
                    <a:pt x="340" y="1094"/>
                    <a:pt x="340" y="1094"/>
                  </a:cubicBezTo>
                  <a:cubicBezTo>
                    <a:pt x="340" y="1094"/>
                    <a:pt x="359" y="1109"/>
                    <a:pt x="351" y="1114"/>
                  </a:cubicBezTo>
                  <a:cubicBezTo>
                    <a:pt x="343" y="1119"/>
                    <a:pt x="334" y="1122"/>
                    <a:pt x="334" y="1122"/>
                  </a:cubicBezTo>
                  <a:cubicBezTo>
                    <a:pt x="328" y="1131"/>
                    <a:pt x="328" y="1131"/>
                    <a:pt x="328" y="1131"/>
                  </a:cubicBezTo>
                  <a:cubicBezTo>
                    <a:pt x="318" y="1123"/>
                    <a:pt x="318" y="1123"/>
                    <a:pt x="318" y="1123"/>
                  </a:cubicBezTo>
                  <a:cubicBezTo>
                    <a:pt x="318" y="1123"/>
                    <a:pt x="320" y="1113"/>
                    <a:pt x="316" y="1113"/>
                  </a:cubicBezTo>
                  <a:cubicBezTo>
                    <a:pt x="312" y="1113"/>
                    <a:pt x="299" y="1118"/>
                    <a:pt x="301" y="1128"/>
                  </a:cubicBezTo>
                  <a:cubicBezTo>
                    <a:pt x="303" y="1138"/>
                    <a:pt x="323" y="1149"/>
                    <a:pt x="323" y="1149"/>
                  </a:cubicBezTo>
                  <a:cubicBezTo>
                    <a:pt x="323" y="1149"/>
                    <a:pt x="316" y="1174"/>
                    <a:pt x="323" y="1177"/>
                  </a:cubicBezTo>
                  <a:cubicBezTo>
                    <a:pt x="330" y="1180"/>
                    <a:pt x="341" y="1175"/>
                    <a:pt x="341" y="1175"/>
                  </a:cubicBezTo>
                  <a:cubicBezTo>
                    <a:pt x="341" y="1175"/>
                    <a:pt x="345" y="1190"/>
                    <a:pt x="356" y="1194"/>
                  </a:cubicBezTo>
                  <a:cubicBezTo>
                    <a:pt x="367" y="1198"/>
                    <a:pt x="377" y="1200"/>
                    <a:pt x="377" y="1200"/>
                  </a:cubicBezTo>
                  <a:cubicBezTo>
                    <a:pt x="392" y="1211"/>
                    <a:pt x="392" y="1211"/>
                    <a:pt x="392" y="1211"/>
                  </a:cubicBezTo>
                  <a:cubicBezTo>
                    <a:pt x="403" y="1210"/>
                    <a:pt x="403" y="1210"/>
                    <a:pt x="403" y="1210"/>
                  </a:cubicBezTo>
                  <a:cubicBezTo>
                    <a:pt x="403" y="1210"/>
                    <a:pt x="397" y="1218"/>
                    <a:pt x="403" y="1221"/>
                  </a:cubicBezTo>
                  <a:cubicBezTo>
                    <a:pt x="409" y="1224"/>
                    <a:pt x="420" y="1224"/>
                    <a:pt x="420" y="1224"/>
                  </a:cubicBezTo>
                  <a:cubicBezTo>
                    <a:pt x="447" y="1249"/>
                    <a:pt x="447" y="1249"/>
                    <a:pt x="447" y="1249"/>
                  </a:cubicBezTo>
                  <a:cubicBezTo>
                    <a:pt x="462" y="1236"/>
                    <a:pt x="462" y="1236"/>
                    <a:pt x="462" y="1236"/>
                  </a:cubicBezTo>
                  <a:cubicBezTo>
                    <a:pt x="462" y="1236"/>
                    <a:pt x="475" y="1219"/>
                    <a:pt x="489" y="1234"/>
                  </a:cubicBezTo>
                  <a:cubicBezTo>
                    <a:pt x="503" y="1249"/>
                    <a:pt x="521" y="1263"/>
                    <a:pt x="521" y="1263"/>
                  </a:cubicBezTo>
                  <a:cubicBezTo>
                    <a:pt x="552" y="1269"/>
                    <a:pt x="552" y="1269"/>
                    <a:pt x="552" y="1269"/>
                  </a:cubicBezTo>
                  <a:cubicBezTo>
                    <a:pt x="552" y="1269"/>
                    <a:pt x="567" y="1301"/>
                    <a:pt x="571" y="1302"/>
                  </a:cubicBezTo>
                  <a:cubicBezTo>
                    <a:pt x="575" y="1303"/>
                    <a:pt x="579" y="1278"/>
                    <a:pt x="590" y="1285"/>
                  </a:cubicBezTo>
                  <a:cubicBezTo>
                    <a:pt x="601" y="1292"/>
                    <a:pt x="596" y="1308"/>
                    <a:pt x="604" y="1314"/>
                  </a:cubicBezTo>
                  <a:cubicBezTo>
                    <a:pt x="612" y="1320"/>
                    <a:pt x="626" y="1332"/>
                    <a:pt x="626" y="1332"/>
                  </a:cubicBezTo>
                  <a:cubicBezTo>
                    <a:pt x="626" y="1332"/>
                    <a:pt x="641" y="1321"/>
                    <a:pt x="646" y="1328"/>
                  </a:cubicBezTo>
                  <a:cubicBezTo>
                    <a:pt x="651" y="1335"/>
                    <a:pt x="634" y="1338"/>
                    <a:pt x="650" y="1345"/>
                  </a:cubicBezTo>
                  <a:cubicBezTo>
                    <a:pt x="666" y="1352"/>
                    <a:pt x="678" y="1343"/>
                    <a:pt x="678" y="1343"/>
                  </a:cubicBezTo>
                  <a:cubicBezTo>
                    <a:pt x="678" y="1343"/>
                    <a:pt x="678" y="1361"/>
                    <a:pt x="687" y="1362"/>
                  </a:cubicBezTo>
                  <a:cubicBezTo>
                    <a:pt x="696" y="1363"/>
                    <a:pt x="698" y="1349"/>
                    <a:pt x="698" y="1349"/>
                  </a:cubicBezTo>
                  <a:cubicBezTo>
                    <a:pt x="698" y="1349"/>
                    <a:pt x="697" y="1363"/>
                    <a:pt x="707" y="1362"/>
                  </a:cubicBezTo>
                  <a:cubicBezTo>
                    <a:pt x="717" y="1361"/>
                    <a:pt x="719" y="1353"/>
                    <a:pt x="719" y="1353"/>
                  </a:cubicBezTo>
                  <a:cubicBezTo>
                    <a:pt x="719" y="1353"/>
                    <a:pt x="752" y="1373"/>
                    <a:pt x="766" y="1372"/>
                  </a:cubicBezTo>
                  <a:cubicBezTo>
                    <a:pt x="780" y="1371"/>
                    <a:pt x="806" y="1346"/>
                    <a:pt x="817" y="1355"/>
                  </a:cubicBezTo>
                  <a:cubicBezTo>
                    <a:pt x="828" y="1364"/>
                    <a:pt x="817" y="1392"/>
                    <a:pt x="822" y="1394"/>
                  </a:cubicBezTo>
                  <a:cubicBezTo>
                    <a:pt x="827" y="1396"/>
                    <a:pt x="832" y="1395"/>
                    <a:pt x="832" y="1395"/>
                  </a:cubicBezTo>
                  <a:cubicBezTo>
                    <a:pt x="832" y="1395"/>
                    <a:pt x="856" y="1339"/>
                    <a:pt x="870" y="1344"/>
                  </a:cubicBezTo>
                  <a:cubicBezTo>
                    <a:pt x="884" y="1349"/>
                    <a:pt x="894" y="1350"/>
                    <a:pt x="894" y="1350"/>
                  </a:cubicBezTo>
                  <a:cubicBezTo>
                    <a:pt x="894" y="1364"/>
                    <a:pt x="894" y="1364"/>
                    <a:pt x="894" y="1364"/>
                  </a:cubicBezTo>
                  <a:cubicBezTo>
                    <a:pt x="894" y="1364"/>
                    <a:pt x="930" y="1346"/>
                    <a:pt x="943" y="1357"/>
                  </a:cubicBezTo>
                  <a:cubicBezTo>
                    <a:pt x="956" y="1368"/>
                    <a:pt x="956" y="1378"/>
                    <a:pt x="956" y="1378"/>
                  </a:cubicBezTo>
                  <a:cubicBezTo>
                    <a:pt x="956" y="1378"/>
                    <a:pt x="987" y="1380"/>
                    <a:pt x="995" y="1373"/>
                  </a:cubicBezTo>
                  <a:cubicBezTo>
                    <a:pt x="1003" y="1366"/>
                    <a:pt x="995" y="1350"/>
                    <a:pt x="995" y="1350"/>
                  </a:cubicBezTo>
                  <a:cubicBezTo>
                    <a:pt x="995" y="1350"/>
                    <a:pt x="1016" y="1348"/>
                    <a:pt x="1018" y="1343"/>
                  </a:cubicBezTo>
                  <a:cubicBezTo>
                    <a:pt x="1020" y="1338"/>
                    <a:pt x="1013" y="1322"/>
                    <a:pt x="1013" y="1322"/>
                  </a:cubicBezTo>
                  <a:cubicBezTo>
                    <a:pt x="1013" y="1322"/>
                    <a:pt x="1037" y="1326"/>
                    <a:pt x="1044" y="1318"/>
                  </a:cubicBezTo>
                  <a:cubicBezTo>
                    <a:pt x="1051" y="1310"/>
                    <a:pt x="1068" y="1291"/>
                    <a:pt x="1076" y="1291"/>
                  </a:cubicBezTo>
                  <a:cubicBezTo>
                    <a:pt x="1084" y="1291"/>
                    <a:pt x="1098" y="1305"/>
                    <a:pt x="1109" y="1305"/>
                  </a:cubicBezTo>
                  <a:cubicBezTo>
                    <a:pt x="1120" y="1305"/>
                    <a:pt x="1112" y="1274"/>
                    <a:pt x="1130" y="1283"/>
                  </a:cubicBezTo>
                  <a:cubicBezTo>
                    <a:pt x="1148" y="1292"/>
                    <a:pt x="1149" y="1297"/>
                    <a:pt x="1149" y="1297"/>
                  </a:cubicBezTo>
                  <a:cubicBezTo>
                    <a:pt x="1149" y="1297"/>
                    <a:pt x="1133" y="1305"/>
                    <a:pt x="1142" y="1307"/>
                  </a:cubicBezTo>
                  <a:cubicBezTo>
                    <a:pt x="1151" y="1309"/>
                    <a:pt x="1162" y="1308"/>
                    <a:pt x="1162" y="1308"/>
                  </a:cubicBezTo>
                  <a:cubicBezTo>
                    <a:pt x="1173" y="1328"/>
                    <a:pt x="1173" y="1328"/>
                    <a:pt x="1173" y="1328"/>
                  </a:cubicBezTo>
                  <a:cubicBezTo>
                    <a:pt x="1173" y="1328"/>
                    <a:pt x="1153" y="1337"/>
                    <a:pt x="1161" y="1339"/>
                  </a:cubicBezTo>
                  <a:cubicBezTo>
                    <a:pt x="1169" y="1341"/>
                    <a:pt x="1184" y="1341"/>
                    <a:pt x="1191" y="1341"/>
                  </a:cubicBezTo>
                  <a:cubicBezTo>
                    <a:pt x="1198" y="1341"/>
                    <a:pt x="1213" y="1345"/>
                    <a:pt x="1213" y="1345"/>
                  </a:cubicBezTo>
                  <a:cubicBezTo>
                    <a:pt x="1217" y="1332"/>
                    <a:pt x="1217" y="1332"/>
                    <a:pt x="1217" y="1332"/>
                  </a:cubicBezTo>
                  <a:cubicBezTo>
                    <a:pt x="1217" y="1332"/>
                    <a:pt x="1231" y="1339"/>
                    <a:pt x="1239" y="1347"/>
                  </a:cubicBezTo>
                  <a:cubicBezTo>
                    <a:pt x="1247" y="1355"/>
                    <a:pt x="1256" y="1382"/>
                    <a:pt x="1256" y="1382"/>
                  </a:cubicBezTo>
                  <a:cubicBezTo>
                    <a:pt x="1256" y="1382"/>
                    <a:pt x="1271" y="1380"/>
                    <a:pt x="1278" y="1382"/>
                  </a:cubicBezTo>
                  <a:cubicBezTo>
                    <a:pt x="1285" y="1384"/>
                    <a:pt x="1283" y="1406"/>
                    <a:pt x="1283" y="1406"/>
                  </a:cubicBezTo>
                  <a:cubicBezTo>
                    <a:pt x="1291" y="1422"/>
                    <a:pt x="1291" y="1422"/>
                    <a:pt x="1291" y="1422"/>
                  </a:cubicBezTo>
                  <a:cubicBezTo>
                    <a:pt x="1298" y="1459"/>
                    <a:pt x="1298" y="1459"/>
                    <a:pt x="1298" y="1459"/>
                  </a:cubicBezTo>
                  <a:cubicBezTo>
                    <a:pt x="1298" y="1459"/>
                    <a:pt x="1288" y="1465"/>
                    <a:pt x="1281" y="1465"/>
                  </a:cubicBezTo>
                  <a:cubicBezTo>
                    <a:pt x="1274" y="1465"/>
                    <a:pt x="1290" y="1476"/>
                    <a:pt x="1290" y="1476"/>
                  </a:cubicBezTo>
                  <a:cubicBezTo>
                    <a:pt x="1290" y="1476"/>
                    <a:pt x="1289" y="1482"/>
                    <a:pt x="1286" y="1489"/>
                  </a:cubicBezTo>
                  <a:cubicBezTo>
                    <a:pt x="1283" y="1496"/>
                    <a:pt x="1271" y="1488"/>
                    <a:pt x="1271" y="1488"/>
                  </a:cubicBezTo>
                  <a:cubicBezTo>
                    <a:pt x="1271" y="1488"/>
                    <a:pt x="1272" y="1497"/>
                    <a:pt x="1271" y="1508"/>
                  </a:cubicBezTo>
                  <a:cubicBezTo>
                    <a:pt x="1270" y="1519"/>
                    <a:pt x="1259" y="1515"/>
                    <a:pt x="1259" y="1515"/>
                  </a:cubicBezTo>
                  <a:cubicBezTo>
                    <a:pt x="1261" y="1535"/>
                    <a:pt x="1261" y="1535"/>
                    <a:pt x="1261" y="1535"/>
                  </a:cubicBezTo>
                  <a:cubicBezTo>
                    <a:pt x="1254" y="1538"/>
                    <a:pt x="1254" y="1538"/>
                    <a:pt x="1254" y="1538"/>
                  </a:cubicBezTo>
                  <a:cubicBezTo>
                    <a:pt x="1254" y="1538"/>
                    <a:pt x="1255" y="1547"/>
                    <a:pt x="1260" y="1552"/>
                  </a:cubicBezTo>
                  <a:cubicBezTo>
                    <a:pt x="1265" y="1557"/>
                    <a:pt x="1270" y="1567"/>
                    <a:pt x="1270" y="1567"/>
                  </a:cubicBezTo>
                  <a:cubicBezTo>
                    <a:pt x="1264" y="1581"/>
                    <a:pt x="1264" y="1581"/>
                    <a:pt x="1264" y="1581"/>
                  </a:cubicBezTo>
                  <a:cubicBezTo>
                    <a:pt x="1264" y="1581"/>
                    <a:pt x="1280" y="1571"/>
                    <a:pt x="1288" y="1570"/>
                  </a:cubicBezTo>
                  <a:cubicBezTo>
                    <a:pt x="1296" y="1569"/>
                    <a:pt x="1325" y="1569"/>
                    <a:pt x="1325" y="1569"/>
                  </a:cubicBezTo>
                  <a:cubicBezTo>
                    <a:pt x="1308" y="1584"/>
                    <a:pt x="1308" y="1584"/>
                    <a:pt x="1308" y="1584"/>
                  </a:cubicBezTo>
                  <a:cubicBezTo>
                    <a:pt x="1324" y="1597"/>
                    <a:pt x="1324" y="1597"/>
                    <a:pt x="1324" y="1597"/>
                  </a:cubicBezTo>
                  <a:cubicBezTo>
                    <a:pt x="1329" y="1624"/>
                    <a:pt x="1329" y="1624"/>
                    <a:pt x="1329" y="1624"/>
                  </a:cubicBezTo>
                  <a:cubicBezTo>
                    <a:pt x="1329" y="1624"/>
                    <a:pt x="1357" y="1625"/>
                    <a:pt x="1364" y="1631"/>
                  </a:cubicBezTo>
                  <a:cubicBezTo>
                    <a:pt x="1371" y="1637"/>
                    <a:pt x="1348" y="1646"/>
                    <a:pt x="1348" y="1646"/>
                  </a:cubicBezTo>
                  <a:cubicBezTo>
                    <a:pt x="1348" y="1646"/>
                    <a:pt x="1357" y="1658"/>
                    <a:pt x="1354" y="1661"/>
                  </a:cubicBezTo>
                  <a:cubicBezTo>
                    <a:pt x="1351" y="1664"/>
                    <a:pt x="1345" y="1678"/>
                    <a:pt x="1345" y="1678"/>
                  </a:cubicBezTo>
                  <a:cubicBezTo>
                    <a:pt x="1384" y="1682"/>
                    <a:pt x="1384" y="1682"/>
                    <a:pt x="1384" y="1682"/>
                  </a:cubicBezTo>
                  <a:cubicBezTo>
                    <a:pt x="1389" y="1702"/>
                    <a:pt x="1389" y="1702"/>
                    <a:pt x="1389" y="1702"/>
                  </a:cubicBezTo>
                  <a:cubicBezTo>
                    <a:pt x="1400" y="1701"/>
                    <a:pt x="1400" y="1701"/>
                    <a:pt x="1400" y="1701"/>
                  </a:cubicBezTo>
                  <a:cubicBezTo>
                    <a:pt x="1400" y="1701"/>
                    <a:pt x="1400" y="1713"/>
                    <a:pt x="1403" y="1713"/>
                  </a:cubicBezTo>
                  <a:cubicBezTo>
                    <a:pt x="1406" y="1713"/>
                    <a:pt x="1425" y="1712"/>
                    <a:pt x="1425" y="1712"/>
                  </a:cubicBezTo>
                  <a:cubicBezTo>
                    <a:pt x="1425" y="1712"/>
                    <a:pt x="1434" y="1694"/>
                    <a:pt x="1444" y="1695"/>
                  </a:cubicBezTo>
                  <a:cubicBezTo>
                    <a:pt x="1454" y="1696"/>
                    <a:pt x="1449" y="1714"/>
                    <a:pt x="1449" y="1714"/>
                  </a:cubicBezTo>
                  <a:cubicBezTo>
                    <a:pt x="1451" y="1727"/>
                    <a:pt x="1451" y="1727"/>
                    <a:pt x="1451" y="1727"/>
                  </a:cubicBezTo>
                  <a:cubicBezTo>
                    <a:pt x="1480" y="1729"/>
                    <a:pt x="1480" y="1729"/>
                    <a:pt x="1480" y="1729"/>
                  </a:cubicBezTo>
                  <a:cubicBezTo>
                    <a:pt x="1480" y="1704"/>
                    <a:pt x="1480" y="1704"/>
                    <a:pt x="1480" y="1704"/>
                  </a:cubicBezTo>
                  <a:cubicBezTo>
                    <a:pt x="1480" y="1704"/>
                    <a:pt x="1462" y="1692"/>
                    <a:pt x="1461" y="1679"/>
                  </a:cubicBezTo>
                  <a:cubicBezTo>
                    <a:pt x="1460" y="1666"/>
                    <a:pt x="1468" y="1657"/>
                    <a:pt x="1468" y="1657"/>
                  </a:cubicBezTo>
                  <a:cubicBezTo>
                    <a:pt x="1492" y="1659"/>
                    <a:pt x="1492" y="1659"/>
                    <a:pt x="1492" y="1659"/>
                  </a:cubicBezTo>
                  <a:cubicBezTo>
                    <a:pt x="1492" y="1653"/>
                    <a:pt x="1493" y="1646"/>
                    <a:pt x="1495" y="1642"/>
                  </a:cubicBezTo>
                  <a:cubicBezTo>
                    <a:pt x="1499" y="1634"/>
                    <a:pt x="1518" y="1657"/>
                    <a:pt x="1524" y="1657"/>
                  </a:cubicBezTo>
                  <a:cubicBezTo>
                    <a:pt x="1530" y="1657"/>
                    <a:pt x="1539" y="1641"/>
                    <a:pt x="1539" y="1641"/>
                  </a:cubicBezTo>
                  <a:cubicBezTo>
                    <a:pt x="1550" y="1653"/>
                    <a:pt x="1550" y="1653"/>
                    <a:pt x="1550" y="1653"/>
                  </a:cubicBezTo>
                  <a:cubicBezTo>
                    <a:pt x="1549" y="1640"/>
                    <a:pt x="1549" y="1640"/>
                    <a:pt x="1549" y="1640"/>
                  </a:cubicBezTo>
                  <a:cubicBezTo>
                    <a:pt x="1554" y="1639"/>
                    <a:pt x="1554" y="1639"/>
                    <a:pt x="1554" y="1639"/>
                  </a:cubicBezTo>
                  <a:cubicBezTo>
                    <a:pt x="1563" y="1652"/>
                    <a:pt x="1563" y="1652"/>
                    <a:pt x="1563" y="1652"/>
                  </a:cubicBezTo>
                  <a:cubicBezTo>
                    <a:pt x="1563" y="1652"/>
                    <a:pt x="1562" y="1657"/>
                    <a:pt x="1575" y="1656"/>
                  </a:cubicBezTo>
                  <a:cubicBezTo>
                    <a:pt x="1588" y="1655"/>
                    <a:pt x="1571" y="1639"/>
                    <a:pt x="1571" y="1639"/>
                  </a:cubicBezTo>
                  <a:cubicBezTo>
                    <a:pt x="1582" y="1639"/>
                    <a:pt x="1582" y="1639"/>
                    <a:pt x="1582" y="1639"/>
                  </a:cubicBezTo>
                  <a:cubicBezTo>
                    <a:pt x="1586" y="1646"/>
                    <a:pt x="1586" y="1646"/>
                    <a:pt x="1586" y="1646"/>
                  </a:cubicBezTo>
                  <a:cubicBezTo>
                    <a:pt x="1586" y="1646"/>
                    <a:pt x="1594" y="1642"/>
                    <a:pt x="1601" y="1640"/>
                  </a:cubicBezTo>
                  <a:cubicBezTo>
                    <a:pt x="1608" y="1638"/>
                    <a:pt x="1602" y="1624"/>
                    <a:pt x="1606" y="1619"/>
                  </a:cubicBezTo>
                  <a:cubicBezTo>
                    <a:pt x="1610" y="1614"/>
                    <a:pt x="1625" y="1610"/>
                    <a:pt x="1625" y="1610"/>
                  </a:cubicBezTo>
                  <a:cubicBezTo>
                    <a:pt x="1647" y="1632"/>
                    <a:pt x="1647" y="1632"/>
                    <a:pt x="1647" y="1632"/>
                  </a:cubicBezTo>
                  <a:cubicBezTo>
                    <a:pt x="1668" y="1627"/>
                    <a:pt x="1668" y="1627"/>
                    <a:pt x="1668" y="1627"/>
                  </a:cubicBezTo>
                  <a:cubicBezTo>
                    <a:pt x="1673" y="1635"/>
                    <a:pt x="1673" y="1635"/>
                    <a:pt x="1673" y="1635"/>
                  </a:cubicBezTo>
                  <a:cubicBezTo>
                    <a:pt x="1673" y="1635"/>
                    <a:pt x="1693" y="1634"/>
                    <a:pt x="1698" y="1642"/>
                  </a:cubicBezTo>
                  <a:cubicBezTo>
                    <a:pt x="1703" y="1650"/>
                    <a:pt x="1687" y="1657"/>
                    <a:pt x="1687" y="1657"/>
                  </a:cubicBezTo>
                  <a:cubicBezTo>
                    <a:pt x="1691" y="1667"/>
                    <a:pt x="1691" y="1667"/>
                    <a:pt x="1691" y="1667"/>
                  </a:cubicBezTo>
                  <a:cubicBezTo>
                    <a:pt x="1698" y="1671"/>
                    <a:pt x="1698" y="1671"/>
                    <a:pt x="1698" y="1671"/>
                  </a:cubicBezTo>
                  <a:cubicBezTo>
                    <a:pt x="1698" y="1684"/>
                    <a:pt x="1698" y="1684"/>
                    <a:pt x="1698" y="1684"/>
                  </a:cubicBezTo>
                  <a:cubicBezTo>
                    <a:pt x="1709" y="1685"/>
                    <a:pt x="1709" y="1685"/>
                    <a:pt x="1709" y="1685"/>
                  </a:cubicBezTo>
                  <a:cubicBezTo>
                    <a:pt x="1709" y="1685"/>
                    <a:pt x="1713" y="1690"/>
                    <a:pt x="1720" y="1697"/>
                  </a:cubicBezTo>
                  <a:cubicBezTo>
                    <a:pt x="1727" y="1704"/>
                    <a:pt x="1740" y="1701"/>
                    <a:pt x="1748" y="1702"/>
                  </a:cubicBezTo>
                  <a:cubicBezTo>
                    <a:pt x="1752" y="1702"/>
                    <a:pt x="1755" y="1704"/>
                    <a:pt x="1757" y="1705"/>
                  </a:cubicBezTo>
                  <a:cubicBezTo>
                    <a:pt x="1786" y="1686"/>
                    <a:pt x="1786" y="1686"/>
                    <a:pt x="1786" y="1686"/>
                  </a:cubicBezTo>
                  <a:cubicBezTo>
                    <a:pt x="1798" y="1694"/>
                    <a:pt x="1798" y="1694"/>
                    <a:pt x="1798" y="1694"/>
                  </a:cubicBezTo>
                  <a:cubicBezTo>
                    <a:pt x="1798" y="1694"/>
                    <a:pt x="1843" y="1694"/>
                    <a:pt x="1849" y="1705"/>
                  </a:cubicBezTo>
                  <a:cubicBezTo>
                    <a:pt x="1854" y="1717"/>
                    <a:pt x="1839" y="1739"/>
                    <a:pt x="1846" y="1750"/>
                  </a:cubicBezTo>
                  <a:cubicBezTo>
                    <a:pt x="1854" y="1761"/>
                    <a:pt x="1875" y="1776"/>
                    <a:pt x="1875" y="1776"/>
                  </a:cubicBezTo>
                  <a:cubicBezTo>
                    <a:pt x="1889" y="1774"/>
                    <a:pt x="1889" y="1774"/>
                    <a:pt x="1889" y="1774"/>
                  </a:cubicBezTo>
                  <a:cubicBezTo>
                    <a:pt x="1889" y="1762"/>
                    <a:pt x="1889" y="1762"/>
                    <a:pt x="1889" y="1762"/>
                  </a:cubicBezTo>
                  <a:cubicBezTo>
                    <a:pt x="1889" y="1762"/>
                    <a:pt x="1880" y="1730"/>
                    <a:pt x="1892" y="1713"/>
                  </a:cubicBezTo>
                  <a:cubicBezTo>
                    <a:pt x="1904" y="1697"/>
                    <a:pt x="1931" y="1699"/>
                    <a:pt x="1945" y="1696"/>
                  </a:cubicBezTo>
                  <a:cubicBezTo>
                    <a:pt x="1958" y="1693"/>
                    <a:pt x="2001" y="1684"/>
                    <a:pt x="2001" y="1674"/>
                  </a:cubicBezTo>
                  <a:cubicBezTo>
                    <a:pt x="2002" y="1664"/>
                    <a:pt x="2002" y="1634"/>
                    <a:pt x="2011" y="1632"/>
                  </a:cubicBezTo>
                  <a:cubicBezTo>
                    <a:pt x="2020" y="1630"/>
                    <a:pt x="2027" y="1664"/>
                    <a:pt x="2036" y="1660"/>
                  </a:cubicBezTo>
                  <a:cubicBezTo>
                    <a:pt x="2046" y="1657"/>
                    <a:pt x="2066" y="1626"/>
                    <a:pt x="2066" y="1626"/>
                  </a:cubicBezTo>
                  <a:cubicBezTo>
                    <a:pt x="2077" y="1636"/>
                    <a:pt x="2077" y="1636"/>
                    <a:pt x="2077" y="1636"/>
                  </a:cubicBezTo>
                  <a:cubicBezTo>
                    <a:pt x="2099" y="1629"/>
                    <a:pt x="2099" y="1629"/>
                    <a:pt x="2099" y="1629"/>
                  </a:cubicBezTo>
                  <a:cubicBezTo>
                    <a:pt x="2099" y="1629"/>
                    <a:pt x="2124" y="1636"/>
                    <a:pt x="2136" y="1629"/>
                  </a:cubicBezTo>
                  <a:cubicBezTo>
                    <a:pt x="2149" y="1622"/>
                    <a:pt x="2154" y="1619"/>
                    <a:pt x="2161" y="1614"/>
                  </a:cubicBezTo>
                  <a:cubicBezTo>
                    <a:pt x="2167" y="1609"/>
                    <a:pt x="2196" y="1584"/>
                    <a:pt x="2201" y="1574"/>
                  </a:cubicBezTo>
                  <a:cubicBezTo>
                    <a:pt x="2205" y="1564"/>
                    <a:pt x="2192" y="1544"/>
                    <a:pt x="2192" y="1544"/>
                  </a:cubicBezTo>
                  <a:cubicBezTo>
                    <a:pt x="2205" y="1544"/>
                    <a:pt x="2205" y="1544"/>
                    <a:pt x="2205" y="1544"/>
                  </a:cubicBezTo>
                  <a:cubicBezTo>
                    <a:pt x="2211" y="1524"/>
                    <a:pt x="2211" y="1524"/>
                    <a:pt x="2211" y="1524"/>
                  </a:cubicBezTo>
                  <a:cubicBezTo>
                    <a:pt x="2226" y="1525"/>
                    <a:pt x="2226" y="1525"/>
                    <a:pt x="2226" y="1525"/>
                  </a:cubicBezTo>
                  <a:cubicBezTo>
                    <a:pt x="2233" y="1500"/>
                    <a:pt x="2233" y="1500"/>
                    <a:pt x="2233" y="1500"/>
                  </a:cubicBezTo>
                  <a:cubicBezTo>
                    <a:pt x="2241" y="1500"/>
                    <a:pt x="2241" y="1500"/>
                    <a:pt x="2241" y="1500"/>
                  </a:cubicBezTo>
                  <a:cubicBezTo>
                    <a:pt x="2245" y="1473"/>
                    <a:pt x="2245" y="1473"/>
                    <a:pt x="2245" y="1473"/>
                  </a:cubicBezTo>
                  <a:cubicBezTo>
                    <a:pt x="2245" y="1473"/>
                    <a:pt x="2259" y="1478"/>
                    <a:pt x="2259" y="1456"/>
                  </a:cubicBezTo>
                  <a:cubicBezTo>
                    <a:pt x="2259" y="1434"/>
                    <a:pt x="2246" y="1437"/>
                    <a:pt x="2251" y="1429"/>
                  </a:cubicBezTo>
                  <a:cubicBezTo>
                    <a:pt x="2255" y="1420"/>
                    <a:pt x="2274" y="1423"/>
                    <a:pt x="2274" y="1405"/>
                  </a:cubicBezTo>
                  <a:cubicBezTo>
                    <a:pt x="2275" y="1388"/>
                    <a:pt x="2263" y="1388"/>
                    <a:pt x="2264" y="1381"/>
                  </a:cubicBezTo>
                  <a:cubicBezTo>
                    <a:pt x="2264" y="1373"/>
                    <a:pt x="2275" y="1370"/>
                    <a:pt x="2275" y="1370"/>
                  </a:cubicBezTo>
                  <a:cubicBezTo>
                    <a:pt x="2276" y="1344"/>
                    <a:pt x="2276" y="1344"/>
                    <a:pt x="2276" y="1344"/>
                  </a:cubicBezTo>
                  <a:cubicBezTo>
                    <a:pt x="2276" y="1344"/>
                    <a:pt x="2303" y="1336"/>
                    <a:pt x="2310" y="1320"/>
                  </a:cubicBezTo>
                  <a:cubicBezTo>
                    <a:pt x="2317" y="1304"/>
                    <a:pt x="2300" y="1303"/>
                    <a:pt x="2300" y="1303"/>
                  </a:cubicBezTo>
                  <a:cubicBezTo>
                    <a:pt x="2300" y="1303"/>
                    <a:pt x="2332" y="1298"/>
                    <a:pt x="2332" y="1289"/>
                  </a:cubicBezTo>
                  <a:cubicBezTo>
                    <a:pt x="2333" y="1280"/>
                    <a:pt x="2314" y="1275"/>
                    <a:pt x="2314" y="1275"/>
                  </a:cubicBezTo>
                  <a:cubicBezTo>
                    <a:pt x="2314" y="1275"/>
                    <a:pt x="2352" y="1241"/>
                    <a:pt x="2335" y="1231"/>
                  </a:cubicBezTo>
                  <a:cubicBezTo>
                    <a:pt x="2318" y="1222"/>
                    <a:pt x="2238" y="1244"/>
                    <a:pt x="2238" y="1244"/>
                  </a:cubicBezTo>
                  <a:cubicBezTo>
                    <a:pt x="2228" y="1233"/>
                    <a:pt x="2228" y="1233"/>
                    <a:pt x="2228" y="1233"/>
                  </a:cubicBezTo>
                  <a:cubicBezTo>
                    <a:pt x="2253" y="1232"/>
                    <a:pt x="2253" y="1232"/>
                    <a:pt x="2253" y="1232"/>
                  </a:cubicBezTo>
                  <a:cubicBezTo>
                    <a:pt x="2253" y="1232"/>
                    <a:pt x="2253" y="1217"/>
                    <a:pt x="2263" y="1213"/>
                  </a:cubicBezTo>
                  <a:cubicBezTo>
                    <a:pt x="2273" y="1209"/>
                    <a:pt x="2292" y="1207"/>
                    <a:pt x="2292" y="1207"/>
                  </a:cubicBezTo>
                  <a:cubicBezTo>
                    <a:pt x="2292" y="1207"/>
                    <a:pt x="2279" y="1183"/>
                    <a:pt x="2275" y="1182"/>
                  </a:cubicBezTo>
                  <a:cubicBezTo>
                    <a:pt x="2271" y="1181"/>
                    <a:pt x="2248" y="1175"/>
                    <a:pt x="2248" y="1175"/>
                  </a:cubicBezTo>
                  <a:cubicBezTo>
                    <a:pt x="2240" y="1164"/>
                    <a:pt x="2240" y="1164"/>
                    <a:pt x="2240" y="1164"/>
                  </a:cubicBezTo>
                  <a:cubicBezTo>
                    <a:pt x="2231" y="1165"/>
                    <a:pt x="2231" y="1165"/>
                    <a:pt x="2231" y="1165"/>
                  </a:cubicBezTo>
                  <a:cubicBezTo>
                    <a:pt x="2231" y="1165"/>
                    <a:pt x="2222" y="1153"/>
                    <a:pt x="2215" y="1152"/>
                  </a:cubicBezTo>
                  <a:cubicBezTo>
                    <a:pt x="2208" y="1151"/>
                    <a:pt x="2190" y="1157"/>
                    <a:pt x="2190" y="1157"/>
                  </a:cubicBezTo>
                  <a:cubicBezTo>
                    <a:pt x="2167" y="1126"/>
                    <a:pt x="2167" y="1126"/>
                    <a:pt x="2167" y="1126"/>
                  </a:cubicBezTo>
                  <a:cubicBezTo>
                    <a:pt x="2167" y="1126"/>
                    <a:pt x="2188" y="1147"/>
                    <a:pt x="2194" y="1145"/>
                  </a:cubicBezTo>
                  <a:cubicBezTo>
                    <a:pt x="2200" y="1143"/>
                    <a:pt x="2207" y="1139"/>
                    <a:pt x="2207" y="1139"/>
                  </a:cubicBezTo>
                  <a:cubicBezTo>
                    <a:pt x="2226" y="1144"/>
                    <a:pt x="2226" y="1144"/>
                    <a:pt x="2226" y="1144"/>
                  </a:cubicBezTo>
                  <a:cubicBezTo>
                    <a:pt x="2236" y="1155"/>
                    <a:pt x="2236" y="1155"/>
                    <a:pt x="2236" y="1155"/>
                  </a:cubicBezTo>
                  <a:cubicBezTo>
                    <a:pt x="2245" y="1151"/>
                    <a:pt x="2245" y="1151"/>
                    <a:pt x="2245" y="1151"/>
                  </a:cubicBezTo>
                  <a:cubicBezTo>
                    <a:pt x="2276" y="1161"/>
                    <a:pt x="2276" y="1161"/>
                    <a:pt x="2276" y="1161"/>
                  </a:cubicBezTo>
                  <a:cubicBezTo>
                    <a:pt x="2263" y="1144"/>
                    <a:pt x="2263" y="1144"/>
                    <a:pt x="2263" y="1144"/>
                  </a:cubicBezTo>
                  <a:cubicBezTo>
                    <a:pt x="2252" y="1142"/>
                    <a:pt x="2252" y="1142"/>
                    <a:pt x="2252" y="1142"/>
                  </a:cubicBezTo>
                  <a:cubicBezTo>
                    <a:pt x="2252" y="1142"/>
                    <a:pt x="2251" y="1120"/>
                    <a:pt x="2243" y="1119"/>
                  </a:cubicBezTo>
                  <a:cubicBezTo>
                    <a:pt x="2235" y="1118"/>
                    <a:pt x="2223" y="1115"/>
                    <a:pt x="2218" y="1111"/>
                  </a:cubicBezTo>
                  <a:cubicBezTo>
                    <a:pt x="2213" y="1107"/>
                    <a:pt x="2211" y="1088"/>
                    <a:pt x="2211" y="1088"/>
                  </a:cubicBezTo>
                  <a:cubicBezTo>
                    <a:pt x="2157" y="1022"/>
                    <a:pt x="2157" y="1022"/>
                    <a:pt x="2157" y="1022"/>
                  </a:cubicBezTo>
                  <a:cubicBezTo>
                    <a:pt x="2135" y="1016"/>
                    <a:pt x="2135" y="1016"/>
                    <a:pt x="2135" y="1016"/>
                  </a:cubicBezTo>
                  <a:cubicBezTo>
                    <a:pt x="2112" y="998"/>
                    <a:pt x="2112" y="998"/>
                    <a:pt x="2112" y="998"/>
                  </a:cubicBezTo>
                  <a:cubicBezTo>
                    <a:pt x="2097" y="1000"/>
                    <a:pt x="2097" y="1000"/>
                    <a:pt x="2097" y="1000"/>
                  </a:cubicBezTo>
                  <a:cubicBezTo>
                    <a:pt x="2097" y="1000"/>
                    <a:pt x="2084" y="975"/>
                    <a:pt x="2090" y="971"/>
                  </a:cubicBezTo>
                  <a:cubicBezTo>
                    <a:pt x="2096" y="967"/>
                    <a:pt x="2114" y="955"/>
                    <a:pt x="2114" y="946"/>
                  </a:cubicBezTo>
                  <a:cubicBezTo>
                    <a:pt x="2114" y="937"/>
                    <a:pt x="2107" y="919"/>
                    <a:pt x="2107" y="919"/>
                  </a:cubicBezTo>
                  <a:cubicBezTo>
                    <a:pt x="2107" y="919"/>
                    <a:pt x="2124" y="936"/>
                    <a:pt x="2132" y="930"/>
                  </a:cubicBezTo>
                  <a:cubicBezTo>
                    <a:pt x="2140" y="924"/>
                    <a:pt x="2131" y="897"/>
                    <a:pt x="2131" y="897"/>
                  </a:cubicBezTo>
                  <a:cubicBezTo>
                    <a:pt x="2146" y="898"/>
                    <a:pt x="2146" y="898"/>
                    <a:pt x="2146" y="898"/>
                  </a:cubicBezTo>
                  <a:cubicBezTo>
                    <a:pt x="2171" y="879"/>
                    <a:pt x="2171" y="879"/>
                    <a:pt x="2171" y="879"/>
                  </a:cubicBezTo>
                  <a:cubicBezTo>
                    <a:pt x="2171" y="879"/>
                    <a:pt x="2191" y="885"/>
                    <a:pt x="2196" y="884"/>
                  </a:cubicBezTo>
                  <a:cubicBezTo>
                    <a:pt x="2201" y="883"/>
                    <a:pt x="2192" y="869"/>
                    <a:pt x="2192" y="869"/>
                  </a:cubicBezTo>
                  <a:cubicBezTo>
                    <a:pt x="2196" y="853"/>
                    <a:pt x="2196" y="853"/>
                    <a:pt x="2196" y="853"/>
                  </a:cubicBezTo>
                  <a:cubicBezTo>
                    <a:pt x="2174" y="853"/>
                    <a:pt x="2174" y="853"/>
                    <a:pt x="2174" y="853"/>
                  </a:cubicBezTo>
                  <a:cubicBezTo>
                    <a:pt x="2166" y="846"/>
                    <a:pt x="2166" y="846"/>
                    <a:pt x="2166" y="846"/>
                  </a:cubicBezTo>
                  <a:cubicBezTo>
                    <a:pt x="2161" y="854"/>
                    <a:pt x="2161" y="854"/>
                    <a:pt x="2161" y="854"/>
                  </a:cubicBezTo>
                  <a:cubicBezTo>
                    <a:pt x="2140" y="851"/>
                    <a:pt x="2140" y="851"/>
                    <a:pt x="2140" y="851"/>
                  </a:cubicBezTo>
                  <a:cubicBezTo>
                    <a:pt x="2140" y="851"/>
                    <a:pt x="2124" y="833"/>
                    <a:pt x="2111" y="833"/>
                  </a:cubicBezTo>
                  <a:cubicBezTo>
                    <a:pt x="2098" y="833"/>
                    <a:pt x="2080" y="856"/>
                    <a:pt x="2079" y="861"/>
                  </a:cubicBezTo>
                  <a:cubicBezTo>
                    <a:pt x="2078" y="866"/>
                    <a:pt x="2074" y="875"/>
                    <a:pt x="2064" y="873"/>
                  </a:cubicBezTo>
                  <a:cubicBezTo>
                    <a:pt x="2054" y="871"/>
                    <a:pt x="2032" y="865"/>
                    <a:pt x="2030" y="851"/>
                  </a:cubicBezTo>
                  <a:cubicBezTo>
                    <a:pt x="2028" y="837"/>
                    <a:pt x="2020" y="820"/>
                    <a:pt x="2014" y="816"/>
                  </a:cubicBezTo>
                  <a:cubicBezTo>
                    <a:pt x="2008" y="812"/>
                    <a:pt x="2004" y="819"/>
                    <a:pt x="2004" y="819"/>
                  </a:cubicBezTo>
                  <a:cubicBezTo>
                    <a:pt x="2004" y="828"/>
                    <a:pt x="2004" y="828"/>
                    <a:pt x="2004" y="828"/>
                  </a:cubicBezTo>
                  <a:cubicBezTo>
                    <a:pt x="1996" y="816"/>
                    <a:pt x="1996" y="816"/>
                    <a:pt x="1996" y="816"/>
                  </a:cubicBezTo>
                  <a:cubicBezTo>
                    <a:pt x="1996" y="816"/>
                    <a:pt x="1968" y="819"/>
                    <a:pt x="1959" y="810"/>
                  </a:cubicBezTo>
                  <a:cubicBezTo>
                    <a:pt x="1950" y="801"/>
                    <a:pt x="1939" y="782"/>
                    <a:pt x="1942" y="776"/>
                  </a:cubicBezTo>
                  <a:cubicBezTo>
                    <a:pt x="1945" y="770"/>
                    <a:pt x="1944" y="760"/>
                    <a:pt x="1944" y="760"/>
                  </a:cubicBezTo>
                  <a:cubicBezTo>
                    <a:pt x="1955" y="759"/>
                    <a:pt x="1955" y="759"/>
                    <a:pt x="1955" y="759"/>
                  </a:cubicBezTo>
                  <a:cubicBezTo>
                    <a:pt x="1955" y="759"/>
                    <a:pt x="1961" y="768"/>
                    <a:pt x="1965" y="767"/>
                  </a:cubicBezTo>
                  <a:cubicBezTo>
                    <a:pt x="1969" y="766"/>
                    <a:pt x="1975" y="758"/>
                    <a:pt x="1975" y="758"/>
                  </a:cubicBezTo>
                  <a:cubicBezTo>
                    <a:pt x="1975" y="758"/>
                    <a:pt x="1988" y="766"/>
                    <a:pt x="1997" y="758"/>
                  </a:cubicBezTo>
                  <a:cubicBezTo>
                    <a:pt x="2006" y="750"/>
                    <a:pt x="1998" y="742"/>
                    <a:pt x="1998" y="742"/>
                  </a:cubicBezTo>
                  <a:cubicBezTo>
                    <a:pt x="1998" y="742"/>
                    <a:pt x="1997" y="718"/>
                    <a:pt x="2003" y="714"/>
                  </a:cubicBezTo>
                  <a:cubicBezTo>
                    <a:pt x="2009" y="710"/>
                    <a:pt x="2028" y="718"/>
                    <a:pt x="2032" y="707"/>
                  </a:cubicBezTo>
                  <a:cubicBezTo>
                    <a:pt x="2036" y="696"/>
                    <a:pt x="2037" y="683"/>
                    <a:pt x="2037" y="683"/>
                  </a:cubicBezTo>
                  <a:cubicBezTo>
                    <a:pt x="2049" y="676"/>
                    <a:pt x="2049" y="676"/>
                    <a:pt x="2049" y="676"/>
                  </a:cubicBezTo>
                  <a:cubicBezTo>
                    <a:pt x="2043" y="668"/>
                    <a:pt x="2043" y="668"/>
                    <a:pt x="2043" y="668"/>
                  </a:cubicBezTo>
                  <a:cubicBezTo>
                    <a:pt x="2068" y="675"/>
                    <a:pt x="2068" y="675"/>
                    <a:pt x="2068" y="675"/>
                  </a:cubicBezTo>
                  <a:cubicBezTo>
                    <a:pt x="2079" y="665"/>
                    <a:pt x="2079" y="665"/>
                    <a:pt x="2079" y="665"/>
                  </a:cubicBezTo>
                  <a:cubicBezTo>
                    <a:pt x="2079" y="665"/>
                    <a:pt x="2110" y="688"/>
                    <a:pt x="2108" y="702"/>
                  </a:cubicBezTo>
                  <a:cubicBezTo>
                    <a:pt x="2106" y="716"/>
                    <a:pt x="2088" y="719"/>
                    <a:pt x="2087" y="728"/>
                  </a:cubicBezTo>
                  <a:cubicBezTo>
                    <a:pt x="2086" y="737"/>
                    <a:pt x="2091" y="752"/>
                    <a:pt x="2098" y="752"/>
                  </a:cubicBezTo>
                  <a:cubicBezTo>
                    <a:pt x="2105" y="752"/>
                    <a:pt x="2114" y="749"/>
                    <a:pt x="2114" y="749"/>
                  </a:cubicBezTo>
                  <a:cubicBezTo>
                    <a:pt x="2109" y="767"/>
                    <a:pt x="2109" y="767"/>
                    <a:pt x="2109" y="767"/>
                  </a:cubicBezTo>
                  <a:cubicBezTo>
                    <a:pt x="2109" y="767"/>
                    <a:pt x="2090" y="784"/>
                    <a:pt x="2099" y="786"/>
                  </a:cubicBezTo>
                  <a:cubicBezTo>
                    <a:pt x="2108" y="788"/>
                    <a:pt x="2122" y="774"/>
                    <a:pt x="2122" y="774"/>
                  </a:cubicBezTo>
                  <a:cubicBezTo>
                    <a:pt x="2122" y="774"/>
                    <a:pt x="2126" y="775"/>
                    <a:pt x="2131" y="770"/>
                  </a:cubicBezTo>
                  <a:cubicBezTo>
                    <a:pt x="2136" y="765"/>
                    <a:pt x="2135" y="750"/>
                    <a:pt x="2135" y="750"/>
                  </a:cubicBezTo>
                  <a:cubicBezTo>
                    <a:pt x="2135" y="750"/>
                    <a:pt x="2176" y="729"/>
                    <a:pt x="2180" y="726"/>
                  </a:cubicBezTo>
                  <a:cubicBezTo>
                    <a:pt x="2184" y="723"/>
                    <a:pt x="2205" y="725"/>
                    <a:pt x="2205" y="725"/>
                  </a:cubicBezTo>
                  <a:cubicBezTo>
                    <a:pt x="2212" y="714"/>
                    <a:pt x="2212" y="714"/>
                    <a:pt x="2212" y="714"/>
                  </a:cubicBezTo>
                  <a:cubicBezTo>
                    <a:pt x="2210" y="712"/>
                    <a:pt x="2208" y="706"/>
                    <a:pt x="2218" y="698"/>
                  </a:cubicBezTo>
                  <a:cubicBezTo>
                    <a:pt x="2230" y="688"/>
                    <a:pt x="2237" y="687"/>
                    <a:pt x="2252" y="675"/>
                  </a:cubicBezTo>
                  <a:cubicBezTo>
                    <a:pt x="2267" y="663"/>
                    <a:pt x="2262" y="625"/>
                    <a:pt x="2266" y="623"/>
                  </a:cubicBezTo>
                  <a:cubicBezTo>
                    <a:pt x="2270" y="621"/>
                    <a:pt x="2285" y="632"/>
                    <a:pt x="2292" y="637"/>
                  </a:cubicBezTo>
                  <a:cubicBezTo>
                    <a:pt x="2299" y="642"/>
                    <a:pt x="2339" y="641"/>
                    <a:pt x="2339" y="641"/>
                  </a:cubicBezTo>
                  <a:cubicBezTo>
                    <a:pt x="2340" y="631"/>
                    <a:pt x="2340" y="631"/>
                    <a:pt x="2340" y="631"/>
                  </a:cubicBezTo>
                  <a:cubicBezTo>
                    <a:pt x="2340" y="631"/>
                    <a:pt x="2312" y="618"/>
                    <a:pt x="2318" y="610"/>
                  </a:cubicBezTo>
                  <a:cubicBezTo>
                    <a:pt x="2324" y="602"/>
                    <a:pt x="2348" y="618"/>
                    <a:pt x="2358" y="609"/>
                  </a:cubicBezTo>
                  <a:cubicBezTo>
                    <a:pt x="2368" y="600"/>
                    <a:pt x="2358" y="588"/>
                    <a:pt x="2358" y="588"/>
                  </a:cubicBezTo>
                  <a:cubicBezTo>
                    <a:pt x="2358" y="588"/>
                    <a:pt x="2374" y="592"/>
                    <a:pt x="2376" y="587"/>
                  </a:cubicBezTo>
                  <a:cubicBezTo>
                    <a:pt x="2378" y="582"/>
                    <a:pt x="2365" y="560"/>
                    <a:pt x="2365" y="560"/>
                  </a:cubicBezTo>
                  <a:cubicBezTo>
                    <a:pt x="2387" y="560"/>
                    <a:pt x="2387" y="560"/>
                    <a:pt x="2387" y="560"/>
                  </a:cubicBezTo>
                  <a:cubicBezTo>
                    <a:pt x="2397" y="577"/>
                    <a:pt x="2397" y="577"/>
                    <a:pt x="2397" y="577"/>
                  </a:cubicBezTo>
                  <a:cubicBezTo>
                    <a:pt x="2404" y="559"/>
                    <a:pt x="2404" y="559"/>
                    <a:pt x="2404" y="559"/>
                  </a:cubicBezTo>
                  <a:cubicBezTo>
                    <a:pt x="2421" y="563"/>
                    <a:pt x="2421" y="563"/>
                    <a:pt x="2421" y="563"/>
                  </a:cubicBezTo>
                  <a:cubicBezTo>
                    <a:pt x="2420" y="540"/>
                    <a:pt x="2420" y="540"/>
                    <a:pt x="2420" y="540"/>
                  </a:cubicBezTo>
                  <a:cubicBezTo>
                    <a:pt x="2420" y="540"/>
                    <a:pt x="2409" y="529"/>
                    <a:pt x="2407" y="523"/>
                  </a:cubicBezTo>
                  <a:cubicBezTo>
                    <a:pt x="2405" y="517"/>
                    <a:pt x="2401" y="498"/>
                    <a:pt x="2387" y="485"/>
                  </a:cubicBezTo>
                  <a:cubicBezTo>
                    <a:pt x="2373" y="472"/>
                    <a:pt x="2358" y="471"/>
                    <a:pt x="2361" y="461"/>
                  </a:cubicBezTo>
                  <a:cubicBezTo>
                    <a:pt x="2364" y="451"/>
                    <a:pt x="2377" y="460"/>
                    <a:pt x="2379" y="455"/>
                  </a:cubicBezTo>
                  <a:cubicBezTo>
                    <a:pt x="2381" y="450"/>
                    <a:pt x="2369" y="444"/>
                    <a:pt x="2380" y="439"/>
                  </a:cubicBezTo>
                  <a:cubicBezTo>
                    <a:pt x="2391" y="434"/>
                    <a:pt x="2427" y="457"/>
                    <a:pt x="2434" y="451"/>
                  </a:cubicBezTo>
                  <a:cubicBezTo>
                    <a:pt x="2441" y="445"/>
                    <a:pt x="2439" y="444"/>
                    <a:pt x="2434" y="432"/>
                  </a:cubicBezTo>
                  <a:cubicBezTo>
                    <a:pt x="2429" y="420"/>
                    <a:pt x="2441" y="416"/>
                    <a:pt x="2441" y="416"/>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80" name="Freeform 41"/>
            <p:cNvSpPr>
              <a:spLocks/>
            </p:cNvSpPr>
            <p:nvPr/>
          </p:nvSpPr>
          <p:spPr bwMode="gray">
            <a:xfrm>
              <a:off x="4605338" y="2879725"/>
              <a:ext cx="19050" cy="19050"/>
            </a:xfrm>
            <a:custGeom>
              <a:avLst/>
              <a:gdLst>
                <a:gd name="T0" fmla="*/ 23 w 34"/>
                <a:gd name="T1" fmla="*/ 33 h 33"/>
                <a:gd name="T2" fmla="*/ 8 w 34"/>
                <a:gd name="T3" fmla="*/ 14 h 33"/>
                <a:gd name="T4" fmla="*/ 23 w 34"/>
                <a:gd name="T5" fmla="*/ 33 h 33"/>
              </a:gdLst>
              <a:ahLst/>
              <a:cxnLst>
                <a:cxn ang="0">
                  <a:pos x="T0" y="T1"/>
                </a:cxn>
                <a:cxn ang="0">
                  <a:pos x="T2" y="T3"/>
                </a:cxn>
                <a:cxn ang="0">
                  <a:pos x="T4" y="T5"/>
                </a:cxn>
              </a:cxnLst>
              <a:rect l="0" t="0" r="r" b="b"/>
              <a:pathLst>
                <a:path w="34" h="33">
                  <a:moveTo>
                    <a:pt x="23" y="33"/>
                  </a:moveTo>
                  <a:cubicBezTo>
                    <a:pt x="34" y="20"/>
                    <a:pt x="16" y="0"/>
                    <a:pt x="8" y="14"/>
                  </a:cubicBezTo>
                  <a:cubicBezTo>
                    <a:pt x="0" y="28"/>
                    <a:pt x="23" y="33"/>
                    <a:pt x="23" y="33"/>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81" name="Freeform 42"/>
            <p:cNvSpPr>
              <a:spLocks/>
            </p:cNvSpPr>
            <p:nvPr/>
          </p:nvSpPr>
          <p:spPr bwMode="gray">
            <a:xfrm>
              <a:off x="5062538" y="2903538"/>
              <a:ext cx="53975" cy="33338"/>
            </a:xfrm>
            <a:custGeom>
              <a:avLst/>
              <a:gdLst>
                <a:gd name="T0" fmla="*/ 1 w 98"/>
                <a:gd name="T1" fmla="*/ 31 h 60"/>
                <a:gd name="T2" fmla="*/ 36 w 98"/>
                <a:gd name="T3" fmla="*/ 57 h 60"/>
                <a:gd name="T4" fmla="*/ 61 w 98"/>
                <a:gd name="T5" fmla="*/ 38 h 60"/>
                <a:gd name="T6" fmla="*/ 80 w 98"/>
                <a:gd name="T7" fmla="*/ 39 h 60"/>
                <a:gd name="T8" fmla="*/ 77 w 98"/>
                <a:gd name="T9" fmla="*/ 24 h 60"/>
                <a:gd name="T10" fmla="*/ 98 w 98"/>
                <a:gd name="T11" fmla="*/ 0 h 60"/>
                <a:gd name="T12" fmla="*/ 71 w 98"/>
                <a:gd name="T13" fmla="*/ 17 h 60"/>
                <a:gd name="T14" fmla="*/ 38 w 98"/>
                <a:gd name="T15" fmla="*/ 15 h 60"/>
                <a:gd name="T16" fmla="*/ 32 w 98"/>
                <a:gd name="T17" fmla="*/ 26 h 60"/>
                <a:gd name="T18" fmla="*/ 1 w 98"/>
                <a:gd name="T19" fmla="*/ 31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60">
                  <a:moveTo>
                    <a:pt x="1" y="31"/>
                  </a:moveTo>
                  <a:cubicBezTo>
                    <a:pt x="2" y="45"/>
                    <a:pt x="29" y="60"/>
                    <a:pt x="36" y="57"/>
                  </a:cubicBezTo>
                  <a:cubicBezTo>
                    <a:pt x="43" y="54"/>
                    <a:pt x="61" y="38"/>
                    <a:pt x="61" y="38"/>
                  </a:cubicBezTo>
                  <a:cubicBezTo>
                    <a:pt x="61" y="38"/>
                    <a:pt x="77" y="45"/>
                    <a:pt x="80" y="39"/>
                  </a:cubicBezTo>
                  <a:cubicBezTo>
                    <a:pt x="84" y="33"/>
                    <a:pt x="77" y="24"/>
                    <a:pt x="77" y="24"/>
                  </a:cubicBezTo>
                  <a:cubicBezTo>
                    <a:pt x="98" y="0"/>
                    <a:pt x="98" y="0"/>
                    <a:pt x="98" y="0"/>
                  </a:cubicBezTo>
                  <a:cubicBezTo>
                    <a:pt x="71" y="17"/>
                    <a:pt x="71" y="17"/>
                    <a:pt x="71" y="17"/>
                  </a:cubicBezTo>
                  <a:cubicBezTo>
                    <a:pt x="71" y="17"/>
                    <a:pt x="47" y="13"/>
                    <a:pt x="38" y="15"/>
                  </a:cubicBezTo>
                  <a:cubicBezTo>
                    <a:pt x="29" y="17"/>
                    <a:pt x="32" y="26"/>
                    <a:pt x="32" y="26"/>
                  </a:cubicBezTo>
                  <a:cubicBezTo>
                    <a:pt x="32" y="26"/>
                    <a:pt x="0" y="20"/>
                    <a:pt x="1" y="31"/>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82" name="Freeform 43"/>
            <p:cNvSpPr>
              <a:spLocks/>
            </p:cNvSpPr>
            <p:nvPr/>
          </p:nvSpPr>
          <p:spPr bwMode="gray">
            <a:xfrm>
              <a:off x="3816350" y="2017713"/>
              <a:ext cx="222250" cy="84138"/>
            </a:xfrm>
            <a:custGeom>
              <a:avLst/>
              <a:gdLst>
                <a:gd name="T0" fmla="*/ 207 w 396"/>
                <a:gd name="T1" fmla="*/ 144 h 152"/>
                <a:gd name="T2" fmla="*/ 238 w 396"/>
                <a:gd name="T3" fmla="*/ 136 h 152"/>
                <a:gd name="T4" fmla="*/ 262 w 396"/>
                <a:gd name="T5" fmla="*/ 130 h 152"/>
                <a:gd name="T6" fmla="*/ 339 w 396"/>
                <a:gd name="T7" fmla="*/ 105 h 152"/>
                <a:gd name="T8" fmla="*/ 363 w 396"/>
                <a:gd name="T9" fmla="*/ 83 h 152"/>
                <a:gd name="T10" fmla="*/ 373 w 396"/>
                <a:gd name="T11" fmla="*/ 68 h 152"/>
                <a:gd name="T12" fmla="*/ 356 w 396"/>
                <a:gd name="T13" fmla="*/ 50 h 152"/>
                <a:gd name="T14" fmla="*/ 341 w 396"/>
                <a:gd name="T15" fmla="*/ 41 h 152"/>
                <a:gd name="T16" fmla="*/ 342 w 396"/>
                <a:gd name="T17" fmla="*/ 24 h 152"/>
                <a:gd name="T18" fmla="*/ 325 w 396"/>
                <a:gd name="T19" fmla="*/ 17 h 152"/>
                <a:gd name="T20" fmla="*/ 294 w 396"/>
                <a:gd name="T21" fmla="*/ 16 h 152"/>
                <a:gd name="T22" fmla="*/ 262 w 396"/>
                <a:gd name="T23" fmla="*/ 19 h 152"/>
                <a:gd name="T24" fmla="*/ 227 w 396"/>
                <a:gd name="T25" fmla="*/ 19 h 152"/>
                <a:gd name="T26" fmla="*/ 201 w 396"/>
                <a:gd name="T27" fmla="*/ 16 h 152"/>
                <a:gd name="T28" fmla="*/ 182 w 396"/>
                <a:gd name="T29" fmla="*/ 26 h 152"/>
                <a:gd name="T30" fmla="*/ 171 w 396"/>
                <a:gd name="T31" fmla="*/ 39 h 152"/>
                <a:gd name="T32" fmla="*/ 145 w 396"/>
                <a:gd name="T33" fmla="*/ 50 h 152"/>
                <a:gd name="T34" fmla="*/ 112 w 396"/>
                <a:gd name="T35" fmla="*/ 63 h 152"/>
                <a:gd name="T36" fmla="*/ 102 w 396"/>
                <a:gd name="T37" fmla="*/ 40 h 152"/>
                <a:gd name="T38" fmla="*/ 68 w 396"/>
                <a:gd name="T39" fmla="*/ 7 h 152"/>
                <a:gd name="T40" fmla="*/ 43 w 396"/>
                <a:gd name="T41" fmla="*/ 19 h 152"/>
                <a:gd name="T42" fmla="*/ 35 w 396"/>
                <a:gd name="T43" fmla="*/ 37 h 152"/>
                <a:gd name="T44" fmla="*/ 4 w 396"/>
                <a:gd name="T45" fmla="*/ 47 h 152"/>
                <a:gd name="T46" fmla="*/ 55 w 396"/>
                <a:gd name="T47" fmla="*/ 43 h 152"/>
                <a:gd name="T48" fmla="*/ 64 w 396"/>
                <a:gd name="T49" fmla="*/ 61 h 152"/>
                <a:gd name="T50" fmla="*/ 35 w 396"/>
                <a:gd name="T51" fmla="*/ 73 h 152"/>
                <a:gd name="T52" fmla="*/ 38 w 396"/>
                <a:gd name="T53" fmla="*/ 82 h 152"/>
                <a:gd name="T54" fmla="*/ 88 w 396"/>
                <a:gd name="T55" fmla="*/ 91 h 152"/>
                <a:gd name="T56" fmla="*/ 85 w 396"/>
                <a:gd name="T57" fmla="*/ 105 h 152"/>
                <a:gd name="T58" fmla="*/ 41 w 396"/>
                <a:gd name="T59" fmla="*/ 125 h 152"/>
                <a:gd name="T60" fmla="*/ 98 w 396"/>
                <a:gd name="T61" fmla="*/ 123 h 152"/>
                <a:gd name="T62" fmla="*/ 124 w 396"/>
                <a:gd name="T63" fmla="*/ 127 h 152"/>
                <a:gd name="T64" fmla="*/ 172 w 396"/>
                <a:gd name="T65" fmla="*/ 15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6" h="152">
                  <a:moveTo>
                    <a:pt x="172" y="150"/>
                  </a:moveTo>
                  <a:cubicBezTo>
                    <a:pt x="200" y="143"/>
                    <a:pt x="200" y="149"/>
                    <a:pt x="207" y="144"/>
                  </a:cubicBezTo>
                  <a:cubicBezTo>
                    <a:pt x="214" y="139"/>
                    <a:pt x="211" y="131"/>
                    <a:pt x="211" y="131"/>
                  </a:cubicBezTo>
                  <a:cubicBezTo>
                    <a:pt x="211" y="131"/>
                    <a:pt x="230" y="139"/>
                    <a:pt x="238" y="136"/>
                  </a:cubicBezTo>
                  <a:cubicBezTo>
                    <a:pt x="246" y="133"/>
                    <a:pt x="246" y="126"/>
                    <a:pt x="246" y="126"/>
                  </a:cubicBezTo>
                  <a:cubicBezTo>
                    <a:pt x="246" y="126"/>
                    <a:pt x="257" y="130"/>
                    <a:pt x="262" y="130"/>
                  </a:cubicBezTo>
                  <a:cubicBezTo>
                    <a:pt x="267" y="130"/>
                    <a:pt x="305" y="107"/>
                    <a:pt x="313" y="106"/>
                  </a:cubicBezTo>
                  <a:cubicBezTo>
                    <a:pt x="321" y="105"/>
                    <a:pt x="332" y="112"/>
                    <a:pt x="339" y="105"/>
                  </a:cubicBezTo>
                  <a:cubicBezTo>
                    <a:pt x="346" y="98"/>
                    <a:pt x="347" y="87"/>
                    <a:pt x="347" y="87"/>
                  </a:cubicBezTo>
                  <a:cubicBezTo>
                    <a:pt x="347" y="87"/>
                    <a:pt x="354" y="87"/>
                    <a:pt x="363" y="83"/>
                  </a:cubicBezTo>
                  <a:cubicBezTo>
                    <a:pt x="372" y="79"/>
                    <a:pt x="383" y="69"/>
                    <a:pt x="383" y="69"/>
                  </a:cubicBezTo>
                  <a:cubicBezTo>
                    <a:pt x="373" y="68"/>
                    <a:pt x="373" y="68"/>
                    <a:pt x="373" y="68"/>
                  </a:cubicBezTo>
                  <a:cubicBezTo>
                    <a:pt x="373" y="68"/>
                    <a:pt x="396" y="57"/>
                    <a:pt x="382" y="50"/>
                  </a:cubicBezTo>
                  <a:cubicBezTo>
                    <a:pt x="368" y="43"/>
                    <a:pt x="356" y="50"/>
                    <a:pt x="356" y="50"/>
                  </a:cubicBezTo>
                  <a:cubicBezTo>
                    <a:pt x="359" y="40"/>
                    <a:pt x="359" y="40"/>
                    <a:pt x="359" y="40"/>
                  </a:cubicBezTo>
                  <a:cubicBezTo>
                    <a:pt x="341" y="41"/>
                    <a:pt x="341" y="41"/>
                    <a:pt x="341" y="41"/>
                  </a:cubicBezTo>
                  <a:cubicBezTo>
                    <a:pt x="351" y="26"/>
                    <a:pt x="351" y="26"/>
                    <a:pt x="351" y="26"/>
                  </a:cubicBezTo>
                  <a:cubicBezTo>
                    <a:pt x="342" y="24"/>
                    <a:pt x="342" y="24"/>
                    <a:pt x="342" y="24"/>
                  </a:cubicBezTo>
                  <a:cubicBezTo>
                    <a:pt x="346" y="12"/>
                    <a:pt x="346" y="12"/>
                    <a:pt x="346" y="12"/>
                  </a:cubicBezTo>
                  <a:cubicBezTo>
                    <a:pt x="325" y="17"/>
                    <a:pt x="325" y="17"/>
                    <a:pt x="325" y="17"/>
                  </a:cubicBezTo>
                  <a:cubicBezTo>
                    <a:pt x="325" y="17"/>
                    <a:pt x="304" y="0"/>
                    <a:pt x="297" y="0"/>
                  </a:cubicBezTo>
                  <a:cubicBezTo>
                    <a:pt x="290" y="0"/>
                    <a:pt x="294" y="16"/>
                    <a:pt x="294" y="16"/>
                  </a:cubicBezTo>
                  <a:cubicBezTo>
                    <a:pt x="280" y="22"/>
                    <a:pt x="280" y="22"/>
                    <a:pt x="280" y="22"/>
                  </a:cubicBezTo>
                  <a:cubicBezTo>
                    <a:pt x="280" y="22"/>
                    <a:pt x="268" y="19"/>
                    <a:pt x="262" y="19"/>
                  </a:cubicBezTo>
                  <a:cubicBezTo>
                    <a:pt x="256" y="19"/>
                    <a:pt x="249" y="29"/>
                    <a:pt x="249" y="29"/>
                  </a:cubicBezTo>
                  <a:cubicBezTo>
                    <a:pt x="249" y="29"/>
                    <a:pt x="233" y="17"/>
                    <a:pt x="227" y="19"/>
                  </a:cubicBezTo>
                  <a:cubicBezTo>
                    <a:pt x="221" y="21"/>
                    <a:pt x="226" y="41"/>
                    <a:pt x="226" y="41"/>
                  </a:cubicBezTo>
                  <a:cubicBezTo>
                    <a:pt x="226" y="41"/>
                    <a:pt x="208" y="16"/>
                    <a:pt x="201" y="16"/>
                  </a:cubicBezTo>
                  <a:cubicBezTo>
                    <a:pt x="194" y="16"/>
                    <a:pt x="198" y="23"/>
                    <a:pt x="198" y="23"/>
                  </a:cubicBezTo>
                  <a:cubicBezTo>
                    <a:pt x="198" y="23"/>
                    <a:pt x="183" y="23"/>
                    <a:pt x="182" y="26"/>
                  </a:cubicBezTo>
                  <a:cubicBezTo>
                    <a:pt x="181" y="29"/>
                    <a:pt x="181" y="38"/>
                    <a:pt x="181" y="38"/>
                  </a:cubicBezTo>
                  <a:cubicBezTo>
                    <a:pt x="171" y="39"/>
                    <a:pt x="171" y="39"/>
                    <a:pt x="171" y="39"/>
                  </a:cubicBezTo>
                  <a:cubicBezTo>
                    <a:pt x="171" y="39"/>
                    <a:pt x="155" y="18"/>
                    <a:pt x="150" y="22"/>
                  </a:cubicBezTo>
                  <a:cubicBezTo>
                    <a:pt x="145" y="26"/>
                    <a:pt x="150" y="49"/>
                    <a:pt x="145" y="50"/>
                  </a:cubicBezTo>
                  <a:cubicBezTo>
                    <a:pt x="140" y="51"/>
                    <a:pt x="133" y="42"/>
                    <a:pt x="129" y="42"/>
                  </a:cubicBezTo>
                  <a:cubicBezTo>
                    <a:pt x="125" y="42"/>
                    <a:pt x="112" y="63"/>
                    <a:pt x="112" y="63"/>
                  </a:cubicBezTo>
                  <a:cubicBezTo>
                    <a:pt x="110" y="56"/>
                    <a:pt x="110" y="56"/>
                    <a:pt x="110" y="56"/>
                  </a:cubicBezTo>
                  <a:cubicBezTo>
                    <a:pt x="102" y="40"/>
                    <a:pt x="102" y="40"/>
                    <a:pt x="102" y="40"/>
                  </a:cubicBezTo>
                  <a:cubicBezTo>
                    <a:pt x="102" y="40"/>
                    <a:pt x="118" y="35"/>
                    <a:pt x="112" y="26"/>
                  </a:cubicBezTo>
                  <a:cubicBezTo>
                    <a:pt x="106" y="17"/>
                    <a:pt x="73" y="3"/>
                    <a:pt x="68" y="7"/>
                  </a:cubicBezTo>
                  <a:cubicBezTo>
                    <a:pt x="63" y="11"/>
                    <a:pt x="69" y="26"/>
                    <a:pt x="69" y="26"/>
                  </a:cubicBezTo>
                  <a:cubicBezTo>
                    <a:pt x="69" y="26"/>
                    <a:pt x="49" y="19"/>
                    <a:pt x="43" y="19"/>
                  </a:cubicBezTo>
                  <a:cubicBezTo>
                    <a:pt x="37" y="19"/>
                    <a:pt x="25" y="31"/>
                    <a:pt x="25" y="31"/>
                  </a:cubicBezTo>
                  <a:cubicBezTo>
                    <a:pt x="35" y="37"/>
                    <a:pt x="35" y="37"/>
                    <a:pt x="35" y="37"/>
                  </a:cubicBezTo>
                  <a:cubicBezTo>
                    <a:pt x="35" y="37"/>
                    <a:pt x="23" y="35"/>
                    <a:pt x="17" y="41"/>
                  </a:cubicBezTo>
                  <a:cubicBezTo>
                    <a:pt x="11" y="47"/>
                    <a:pt x="4" y="47"/>
                    <a:pt x="4" y="47"/>
                  </a:cubicBezTo>
                  <a:cubicBezTo>
                    <a:pt x="4" y="47"/>
                    <a:pt x="12" y="54"/>
                    <a:pt x="20" y="54"/>
                  </a:cubicBezTo>
                  <a:cubicBezTo>
                    <a:pt x="28" y="54"/>
                    <a:pt x="55" y="43"/>
                    <a:pt x="55" y="43"/>
                  </a:cubicBezTo>
                  <a:cubicBezTo>
                    <a:pt x="90" y="49"/>
                    <a:pt x="90" y="49"/>
                    <a:pt x="90" y="49"/>
                  </a:cubicBezTo>
                  <a:cubicBezTo>
                    <a:pt x="64" y="61"/>
                    <a:pt x="64" y="61"/>
                    <a:pt x="64" y="61"/>
                  </a:cubicBezTo>
                  <a:cubicBezTo>
                    <a:pt x="64" y="61"/>
                    <a:pt x="84" y="64"/>
                    <a:pt x="84" y="68"/>
                  </a:cubicBezTo>
                  <a:cubicBezTo>
                    <a:pt x="84" y="72"/>
                    <a:pt x="39" y="72"/>
                    <a:pt x="35" y="73"/>
                  </a:cubicBezTo>
                  <a:cubicBezTo>
                    <a:pt x="31" y="74"/>
                    <a:pt x="0" y="72"/>
                    <a:pt x="6" y="79"/>
                  </a:cubicBezTo>
                  <a:cubicBezTo>
                    <a:pt x="12" y="86"/>
                    <a:pt x="25" y="81"/>
                    <a:pt x="38" y="82"/>
                  </a:cubicBezTo>
                  <a:cubicBezTo>
                    <a:pt x="51" y="83"/>
                    <a:pt x="65" y="95"/>
                    <a:pt x="65" y="95"/>
                  </a:cubicBezTo>
                  <a:cubicBezTo>
                    <a:pt x="88" y="91"/>
                    <a:pt x="88" y="91"/>
                    <a:pt x="88" y="91"/>
                  </a:cubicBezTo>
                  <a:cubicBezTo>
                    <a:pt x="75" y="101"/>
                    <a:pt x="75" y="101"/>
                    <a:pt x="75" y="101"/>
                  </a:cubicBezTo>
                  <a:cubicBezTo>
                    <a:pt x="85" y="105"/>
                    <a:pt x="85" y="105"/>
                    <a:pt x="85" y="105"/>
                  </a:cubicBezTo>
                  <a:cubicBezTo>
                    <a:pt x="85" y="105"/>
                    <a:pt x="82" y="114"/>
                    <a:pt x="75" y="118"/>
                  </a:cubicBezTo>
                  <a:cubicBezTo>
                    <a:pt x="68" y="122"/>
                    <a:pt x="35" y="116"/>
                    <a:pt x="41" y="125"/>
                  </a:cubicBezTo>
                  <a:cubicBezTo>
                    <a:pt x="47" y="134"/>
                    <a:pt x="75" y="130"/>
                    <a:pt x="82" y="130"/>
                  </a:cubicBezTo>
                  <a:cubicBezTo>
                    <a:pt x="89" y="130"/>
                    <a:pt x="98" y="123"/>
                    <a:pt x="98" y="123"/>
                  </a:cubicBezTo>
                  <a:cubicBezTo>
                    <a:pt x="116" y="134"/>
                    <a:pt x="116" y="134"/>
                    <a:pt x="116" y="134"/>
                  </a:cubicBezTo>
                  <a:cubicBezTo>
                    <a:pt x="124" y="127"/>
                    <a:pt x="124" y="127"/>
                    <a:pt x="124" y="127"/>
                  </a:cubicBezTo>
                  <a:cubicBezTo>
                    <a:pt x="124" y="127"/>
                    <a:pt x="121" y="133"/>
                    <a:pt x="131" y="138"/>
                  </a:cubicBezTo>
                  <a:cubicBezTo>
                    <a:pt x="141" y="143"/>
                    <a:pt x="164" y="152"/>
                    <a:pt x="172" y="150"/>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83" name="Freeform 44"/>
            <p:cNvSpPr>
              <a:spLocks/>
            </p:cNvSpPr>
            <p:nvPr/>
          </p:nvSpPr>
          <p:spPr bwMode="gray">
            <a:xfrm>
              <a:off x="5583238" y="3176588"/>
              <a:ext cx="125412" cy="119063"/>
            </a:xfrm>
            <a:custGeom>
              <a:avLst/>
              <a:gdLst>
                <a:gd name="T0" fmla="*/ 198 w 224"/>
                <a:gd name="T1" fmla="*/ 84 h 215"/>
                <a:gd name="T2" fmla="*/ 208 w 224"/>
                <a:gd name="T3" fmla="*/ 97 h 215"/>
                <a:gd name="T4" fmla="*/ 224 w 224"/>
                <a:gd name="T5" fmla="*/ 91 h 215"/>
                <a:gd name="T6" fmla="*/ 214 w 224"/>
                <a:gd name="T7" fmla="*/ 51 h 215"/>
                <a:gd name="T8" fmla="*/ 215 w 224"/>
                <a:gd name="T9" fmla="*/ 3 h 215"/>
                <a:gd name="T10" fmla="*/ 186 w 224"/>
                <a:gd name="T11" fmla="*/ 51 h 215"/>
                <a:gd name="T12" fmla="*/ 166 w 224"/>
                <a:gd name="T13" fmla="*/ 61 h 215"/>
                <a:gd name="T14" fmla="*/ 131 w 224"/>
                <a:gd name="T15" fmla="*/ 102 h 215"/>
                <a:gd name="T16" fmla="*/ 122 w 224"/>
                <a:gd name="T17" fmla="*/ 131 h 215"/>
                <a:gd name="T18" fmla="*/ 62 w 224"/>
                <a:gd name="T19" fmla="*/ 127 h 215"/>
                <a:gd name="T20" fmla="*/ 16 w 224"/>
                <a:gd name="T21" fmla="*/ 140 h 215"/>
                <a:gd name="T22" fmla="*/ 1 w 224"/>
                <a:gd name="T23" fmla="*/ 127 h 215"/>
                <a:gd name="T24" fmla="*/ 5 w 224"/>
                <a:gd name="T25" fmla="*/ 145 h 215"/>
                <a:gd name="T26" fmla="*/ 52 w 224"/>
                <a:gd name="T27" fmla="*/ 200 h 215"/>
                <a:gd name="T28" fmla="*/ 177 w 224"/>
                <a:gd name="T29" fmla="*/ 215 h 215"/>
                <a:gd name="T30" fmla="*/ 168 w 224"/>
                <a:gd name="T31" fmla="*/ 192 h 215"/>
                <a:gd name="T32" fmla="*/ 181 w 224"/>
                <a:gd name="T33" fmla="*/ 163 h 215"/>
                <a:gd name="T34" fmla="*/ 189 w 224"/>
                <a:gd name="T35" fmla="*/ 136 h 215"/>
                <a:gd name="T36" fmla="*/ 201 w 224"/>
                <a:gd name="T37" fmla="*/ 135 h 215"/>
                <a:gd name="T38" fmla="*/ 191 w 224"/>
                <a:gd name="T39" fmla="*/ 118 h 215"/>
                <a:gd name="T40" fmla="*/ 198 w 224"/>
                <a:gd name="T41" fmla="*/ 8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4" h="215">
                  <a:moveTo>
                    <a:pt x="198" y="84"/>
                  </a:moveTo>
                  <a:cubicBezTo>
                    <a:pt x="202" y="84"/>
                    <a:pt x="208" y="97"/>
                    <a:pt x="208" y="97"/>
                  </a:cubicBezTo>
                  <a:cubicBezTo>
                    <a:pt x="224" y="91"/>
                    <a:pt x="224" y="91"/>
                    <a:pt x="224" y="91"/>
                  </a:cubicBezTo>
                  <a:cubicBezTo>
                    <a:pt x="219" y="78"/>
                    <a:pt x="212" y="63"/>
                    <a:pt x="214" y="51"/>
                  </a:cubicBezTo>
                  <a:cubicBezTo>
                    <a:pt x="217" y="34"/>
                    <a:pt x="222" y="6"/>
                    <a:pt x="215" y="3"/>
                  </a:cubicBezTo>
                  <a:cubicBezTo>
                    <a:pt x="207" y="0"/>
                    <a:pt x="186" y="51"/>
                    <a:pt x="186" y="51"/>
                  </a:cubicBezTo>
                  <a:cubicBezTo>
                    <a:pt x="186" y="51"/>
                    <a:pt x="172" y="53"/>
                    <a:pt x="166" y="61"/>
                  </a:cubicBezTo>
                  <a:cubicBezTo>
                    <a:pt x="161" y="70"/>
                    <a:pt x="131" y="102"/>
                    <a:pt x="131" y="102"/>
                  </a:cubicBezTo>
                  <a:cubicBezTo>
                    <a:pt x="131" y="102"/>
                    <a:pt x="131" y="130"/>
                    <a:pt x="122" y="131"/>
                  </a:cubicBezTo>
                  <a:cubicBezTo>
                    <a:pt x="113" y="132"/>
                    <a:pt x="69" y="127"/>
                    <a:pt x="62" y="127"/>
                  </a:cubicBezTo>
                  <a:cubicBezTo>
                    <a:pt x="56" y="127"/>
                    <a:pt x="25" y="144"/>
                    <a:pt x="16" y="140"/>
                  </a:cubicBezTo>
                  <a:cubicBezTo>
                    <a:pt x="11" y="138"/>
                    <a:pt x="5" y="132"/>
                    <a:pt x="1" y="127"/>
                  </a:cubicBezTo>
                  <a:cubicBezTo>
                    <a:pt x="0" y="132"/>
                    <a:pt x="0" y="140"/>
                    <a:pt x="5" y="145"/>
                  </a:cubicBezTo>
                  <a:cubicBezTo>
                    <a:pt x="12" y="152"/>
                    <a:pt x="49" y="200"/>
                    <a:pt x="52" y="200"/>
                  </a:cubicBezTo>
                  <a:cubicBezTo>
                    <a:pt x="54" y="200"/>
                    <a:pt x="143" y="211"/>
                    <a:pt x="177" y="215"/>
                  </a:cubicBezTo>
                  <a:cubicBezTo>
                    <a:pt x="173" y="207"/>
                    <a:pt x="168" y="196"/>
                    <a:pt x="168" y="192"/>
                  </a:cubicBezTo>
                  <a:cubicBezTo>
                    <a:pt x="168" y="186"/>
                    <a:pt x="181" y="163"/>
                    <a:pt x="181" y="163"/>
                  </a:cubicBezTo>
                  <a:cubicBezTo>
                    <a:pt x="181" y="163"/>
                    <a:pt x="187" y="143"/>
                    <a:pt x="189" y="136"/>
                  </a:cubicBezTo>
                  <a:cubicBezTo>
                    <a:pt x="191" y="129"/>
                    <a:pt x="197" y="137"/>
                    <a:pt x="201" y="135"/>
                  </a:cubicBezTo>
                  <a:cubicBezTo>
                    <a:pt x="205" y="133"/>
                    <a:pt x="195" y="122"/>
                    <a:pt x="191" y="118"/>
                  </a:cubicBezTo>
                  <a:cubicBezTo>
                    <a:pt x="187" y="114"/>
                    <a:pt x="194" y="84"/>
                    <a:pt x="198" y="84"/>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84" name="Freeform 45"/>
            <p:cNvSpPr>
              <a:spLocks/>
            </p:cNvSpPr>
            <p:nvPr/>
          </p:nvSpPr>
          <p:spPr bwMode="gray">
            <a:xfrm>
              <a:off x="5607050" y="3222625"/>
              <a:ext cx="203200" cy="249238"/>
            </a:xfrm>
            <a:custGeom>
              <a:avLst/>
              <a:gdLst>
                <a:gd name="T0" fmla="*/ 169 w 364"/>
                <a:gd name="T1" fmla="*/ 375 h 445"/>
                <a:gd name="T2" fmla="*/ 220 w 364"/>
                <a:gd name="T3" fmla="*/ 358 h 445"/>
                <a:gd name="T4" fmla="*/ 228 w 364"/>
                <a:gd name="T5" fmla="*/ 330 h 445"/>
                <a:gd name="T6" fmla="*/ 269 w 364"/>
                <a:gd name="T7" fmla="*/ 304 h 445"/>
                <a:gd name="T8" fmla="*/ 283 w 364"/>
                <a:gd name="T9" fmla="*/ 249 h 445"/>
                <a:gd name="T10" fmla="*/ 312 w 364"/>
                <a:gd name="T11" fmla="*/ 249 h 445"/>
                <a:gd name="T12" fmla="*/ 318 w 364"/>
                <a:gd name="T13" fmla="*/ 218 h 445"/>
                <a:gd name="T14" fmla="*/ 355 w 364"/>
                <a:gd name="T15" fmla="*/ 184 h 445"/>
                <a:gd name="T16" fmla="*/ 359 w 364"/>
                <a:gd name="T17" fmla="*/ 134 h 445"/>
                <a:gd name="T18" fmla="*/ 339 w 364"/>
                <a:gd name="T19" fmla="*/ 127 h 445"/>
                <a:gd name="T20" fmla="*/ 302 w 364"/>
                <a:gd name="T21" fmla="*/ 74 h 445"/>
                <a:gd name="T22" fmla="*/ 237 w 364"/>
                <a:gd name="T23" fmla="*/ 52 h 445"/>
                <a:gd name="T24" fmla="*/ 191 w 364"/>
                <a:gd name="T25" fmla="*/ 23 h 445"/>
                <a:gd name="T26" fmla="*/ 184 w 364"/>
                <a:gd name="T27" fmla="*/ 7 h 445"/>
                <a:gd name="T28" fmla="*/ 168 w 364"/>
                <a:gd name="T29" fmla="*/ 13 h 445"/>
                <a:gd name="T30" fmla="*/ 158 w 364"/>
                <a:gd name="T31" fmla="*/ 0 h 445"/>
                <a:gd name="T32" fmla="*/ 151 w 364"/>
                <a:gd name="T33" fmla="*/ 34 h 445"/>
                <a:gd name="T34" fmla="*/ 161 w 364"/>
                <a:gd name="T35" fmla="*/ 51 h 445"/>
                <a:gd name="T36" fmla="*/ 149 w 364"/>
                <a:gd name="T37" fmla="*/ 52 h 445"/>
                <a:gd name="T38" fmla="*/ 141 w 364"/>
                <a:gd name="T39" fmla="*/ 79 h 445"/>
                <a:gd name="T40" fmla="*/ 128 w 364"/>
                <a:gd name="T41" fmla="*/ 108 h 445"/>
                <a:gd name="T42" fmla="*/ 141 w 364"/>
                <a:gd name="T43" fmla="*/ 142 h 445"/>
                <a:gd name="T44" fmla="*/ 159 w 364"/>
                <a:gd name="T45" fmla="*/ 161 h 445"/>
                <a:gd name="T46" fmla="*/ 133 w 364"/>
                <a:gd name="T47" fmla="*/ 276 h 445"/>
                <a:gd name="T48" fmla="*/ 0 w 364"/>
                <a:gd name="T49" fmla="*/ 325 h 445"/>
                <a:gd name="T50" fmla="*/ 54 w 364"/>
                <a:gd name="T51" fmla="*/ 445 h 445"/>
                <a:gd name="T52" fmla="*/ 162 w 364"/>
                <a:gd name="T53" fmla="*/ 410 h 445"/>
                <a:gd name="T54" fmla="*/ 169 w 364"/>
                <a:gd name="T55" fmla="*/ 375 h 4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64" h="445">
                  <a:moveTo>
                    <a:pt x="169" y="375"/>
                  </a:moveTo>
                  <a:cubicBezTo>
                    <a:pt x="169" y="375"/>
                    <a:pt x="211" y="369"/>
                    <a:pt x="220" y="358"/>
                  </a:cubicBezTo>
                  <a:cubicBezTo>
                    <a:pt x="228" y="348"/>
                    <a:pt x="228" y="330"/>
                    <a:pt x="228" y="330"/>
                  </a:cubicBezTo>
                  <a:cubicBezTo>
                    <a:pt x="228" y="330"/>
                    <a:pt x="260" y="319"/>
                    <a:pt x="269" y="304"/>
                  </a:cubicBezTo>
                  <a:cubicBezTo>
                    <a:pt x="279" y="288"/>
                    <a:pt x="274" y="250"/>
                    <a:pt x="283" y="249"/>
                  </a:cubicBezTo>
                  <a:cubicBezTo>
                    <a:pt x="292" y="248"/>
                    <a:pt x="302" y="260"/>
                    <a:pt x="312" y="249"/>
                  </a:cubicBezTo>
                  <a:cubicBezTo>
                    <a:pt x="323" y="238"/>
                    <a:pt x="318" y="218"/>
                    <a:pt x="318" y="218"/>
                  </a:cubicBezTo>
                  <a:cubicBezTo>
                    <a:pt x="355" y="184"/>
                    <a:pt x="355" y="184"/>
                    <a:pt x="355" y="184"/>
                  </a:cubicBezTo>
                  <a:cubicBezTo>
                    <a:pt x="355" y="184"/>
                    <a:pt x="364" y="144"/>
                    <a:pt x="359" y="134"/>
                  </a:cubicBezTo>
                  <a:cubicBezTo>
                    <a:pt x="355" y="124"/>
                    <a:pt x="339" y="127"/>
                    <a:pt x="339" y="127"/>
                  </a:cubicBezTo>
                  <a:cubicBezTo>
                    <a:pt x="339" y="127"/>
                    <a:pt x="317" y="87"/>
                    <a:pt x="302" y="74"/>
                  </a:cubicBezTo>
                  <a:cubicBezTo>
                    <a:pt x="287" y="61"/>
                    <a:pt x="237" y="52"/>
                    <a:pt x="237" y="52"/>
                  </a:cubicBezTo>
                  <a:cubicBezTo>
                    <a:pt x="237" y="52"/>
                    <a:pt x="194" y="38"/>
                    <a:pt x="191" y="23"/>
                  </a:cubicBezTo>
                  <a:cubicBezTo>
                    <a:pt x="190" y="18"/>
                    <a:pt x="187" y="13"/>
                    <a:pt x="184" y="7"/>
                  </a:cubicBezTo>
                  <a:cubicBezTo>
                    <a:pt x="168" y="13"/>
                    <a:pt x="168" y="13"/>
                    <a:pt x="168" y="13"/>
                  </a:cubicBezTo>
                  <a:cubicBezTo>
                    <a:pt x="168" y="13"/>
                    <a:pt x="162" y="0"/>
                    <a:pt x="158" y="0"/>
                  </a:cubicBezTo>
                  <a:cubicBezTo>
                    <a:pt x="154" y="0"/>
                    <a:pt x="147" y="30"/>
                    <a:pt x="151" y="34"/>
                  </a:cubicBezTo>
                  <a:cubicBezTo>
                    <a:pt x="155" y="38"/>
                    <a:pt x="165" y="49"/>
                    <a:pt x="161" y="51"/>
                  </a:cubicBezTo>
                  <a:cubicBezTo>
                    <a:pt x="157" y="53"/>
                    <a:pt x="151" y="45"/>
                    <a:pt x="149" y="52"/>
                  </a:cubicBezTo>
                  <a:cubicBezTo>
                    <a:pt x="147" y="59"/>
                    <a:pt x="141" y="79"/>
                    <a:pt x="141" y="79"/>
                  </a:cubicBezTo>
                  <a:cubicBezTo>
                    <a:pt x="141" y="79"/>
                    <a:pt x="128" y="102"/>
                    <a:pt x="128" y="108"/>
                  </a:cubicBezTo>
                  <a:cubicBezTo>
                    <a:pt x="128" y="114"/>
                    <a:pt x="141" y="138"/>
                    <a:pt x="141" y="142"/>
                  </a:cubicBezTo>
                  <a:cubicBezTo>
                    <a:pt x="141" y="146"/>
                    <a:pt x="159" y="161"/>
                    <a:pt x="159" y="161"/>
                  </a:cubicBezTo>
                  <a:cubicBezTo>
                    <a:pt x="133" y="276"/>
                    <a:pt x="133" y="276"/>
                    <a:pt x="133" y="276"/>
                  </a:cubicBezTo>
                  <a:cubicBezTo>
                    <a:pt x="0" y="325"/>
                    <a:pt x="0" y="325"/>
                    <a:pt x="0" y="325"/>
                  </a:cubicBezTo>
                  <a:cubicBezTo>
                    <a:pt x="54" y="445"/>
                    <a:pt x="54" y="445"/>
                    <a:pt x="54" y="445"/>
                  </a:cubicBezTo>
                  <a:cubicBezTo>
                    <a:pt x="81" y="434"/>
                    <a:pt x="159" y="415"/>
                    <a:pt x="162" y="410"/>
                  </a:cubicBezTo>
                  <a:cubicBezTo>
                    <a:pt x="167" y="404"/>
                    <a:pt x="169" y="375"/>
                    <a:pt x="169" y="375"/>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85" name="Freeform 46"/>
            <p:cNvSpPr>
              <a:spLocks/>
            </p:cNvSpPr>
            <p:nvPr/>
          </p:nvSpPr>
          <p:spPr bwMode="gray">
            <a:xfrm>
              <a:off x="5564188" y="3184525"/>
              <a:ext cx="26987" cy="55563"/>
            </a:xfrm>
            <a:custGeom>
              <a:avLst/>
              <a:gdLst>
                <a:gd name="T0" fmla="*/ 16 w 49"/>
                <a:gd name="T1" fmla="*/ 90 h 98"/>
                <a:gd name="T2" fmla="*/ 24 w 49"/>
                <a:gd name="T3" fmla="*/ 98 h 98"/>
                <a:gd name="T4" fmla="*/ 30 w 49"/>
                <a:gd name="T5" fmla="*/ 96 h 98"/>
                <a:gd name="T6" fmla="*/ 30 w 49"/>
                <a:gd name="T7" fmla="*/ 95 h 98"/>
                <a:gd name="T8" fmla="*/ 47 w 49"/>
                <a:gd name="T9" fmla="*/ 35 h 98"/>
                <a:gd name="T10" fmla="*/ 22 w 49"/>
                <a:gd name="T11" fmla="*/ 3 h 98"/>
                <a:gd name="T12" fmla="*/ 9 w 49"/>
                <a:gd name="T13" fmla="*/ 47 h 98"/>
                <a:gd name="T14" fmla="*/ 1 w 49"/>
                <a:gd name="T15" fmla="*/ 84 h 98"/>
                <a:gd name="T16" fmla="*/ 0 w 49"/>
                <a:gd name="T17" fmla="*/ 83 h 98"/>
                <a:gd name="T18" fmla="*/ 6 w 49"/>
                <a:gd name="T19" fmla="*/ 93 h 98"/>
                <a:gd name="T20" fmla="*/ 16 w 49"/>
                <a:gd name="T21" fmla="*/ 9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9" h="98">
                  <a:moveTo>
                    <a:pt x="16" y="90"/>
                  </a:moveTo>
                  <a:cubicBezTo>
                    <a:pt x="24" y="98"/>
                    <a:pt x="24" y="98"/>
                    <a:pt x="24" y="98"/>
                  </a:cubicBezTo>
                  <a:cubicBezTo>
                    <a:pt x="30" y="96"/>
                    <a:pt x="30" y="96"/>
                    <a:pt x="30" y="96"/>
                  </a:cubicBezTo>
                  <a:cubicBezTo>
                    <a:pt x="30" y="96"/>
                    <a:pt x="30" y="95"/>
                    <a:pt x="30" y="95"/>
                  </a:cubicBezTo>
                  <a:cubicBezTo>
                    <a:pt x="35" y="86"/>
                    <a:pt x="49" y="56"/>
                    <a:pt x="47" y="35"/>
                  </a:cubicBezTo>
                  <a:cubicBezTo>
                    <a:pt x="45" y="14"/>
                    <a:pt x="31" y="0"/>
                    <a:pt x="22" y="3"/>
                  </a:cubicBezTo>
                  <a:cubicBezTo>
                    <a:pt x="12" y="6"/>
                    <a:pt x="10" y="32"/>
                    <a:pt x="9" y="47"/>
                  </a:cubicBezTo>
                  <a:cubicBezTo>
                    <a:pt x="9" y="62"/>
                    <a:pt x="9" y="83"/>
                    <a:pt x="1" y="84"/>
                  </a:cubicBezTo>
                  <a:cubicBezTo>
                    <a:pt x="1" y="84"/>
                    <a:pt x="1" y="84"/>
                    <a:pt x="0" y="83"/>
                  </a:cubicBezTo>
                  <a:cubicBezTo>
                    <a:pt x="6" y="93"/>
                    <a:pt x="6" y="93"/>
                    <a:pt x="6" y="93"/>
                  </a:cubicBezTo>
                  <a:lnTo>
                    <a:pt x="16" y="90"/>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86" name="Freeform 47"/>
            <p:cNvSpPr>
              <a:spLocks/>
            </p:cNvSpPr>
            <p:nvPr/>
          </p:nvSpPr>
          <p:spPr bwMode="gray">
            <a:xfrm>
              <a:off x="5807075" y="2860675"/>
              <a:ext cx="392112" cy="395288"/>
            </a:xfrm>
            <a:custGeom>
              <a:avLst/>
              <a:gdLst>
                <a:gd name="T0" fmla="*/ 639 w 701"/>
                <a:gd name="T1" fmla="*/ 64 h 705"/>
                <a:gd name="T2" fmla="*/ 584 w 701"/>
                <a:gd name="T3" fmla="*/ 14 h 705"/>
                <a:gd name="T4" fmla="*/ 541 w 701"/>
                <a:gd name="T5" fmla="*/ 0 h 705"/>
                <a:gd name="T6" fmla="*/ 479 w 701"/>
                <a:gd name="T7" fmla="*/ 10 h 705"/>
                <a:gd name="T8" fmla="*/ 408 w 701"/>
                <a:gd name="T9" fmla="*/ 46 h 705"/>
                <a:gd name="T10" fmla="*/ 433 w 701"/>
                <a:gd name="T11" fmla="*/ 110 h 705"/>
                <a:gd name="T12" fmla="*/ 418 w 701"/>
                <a:gd name="T13" fmla="*/ 160 h 705"/>
                <a:gd name="T14" fmla="*/ 395 w 701"/>
                <a:gd name="T15" fmla="*/ 168 h 705"/>
                <a:gd name="T16" fmla="*/ 370 w 701"/>
                <a:gd name="T17" fmla="*/ 171 h 705"/>
                <a:gd name="T18" fmla="*/ 401 w 701"/>
                <a:gd name="T19" fmla="*/ 197 h 705"/>
                <a:gd name="T20" fmla="*/ 363 w 701"/>
                <a:gd name="T21" fmla="*/ 238 h 705"/>
                <a:gd name="T22" fmla="*/ 348 w 701"/>
                <a:gd name="T23" fmla="*/ 293 h 705"/>
                <a:gd name="T24" fmla="*/ 305 w 701"/>
                <a:gd name="T25" fmla="*/ 289 h 705"/>
                <a:gd name="T26" fmla="*/ 266 w 701"/>
                <a:gd name="T27" fmla="*/ 312 h 705"/>
                <a:gd name="T28" fmla="*/ 242 w 701"/>
                <a:gd name="T29" fmla="*/ 355 h 705"/>
                <a:gd name="T30" fmla="*/ 157 w 701"/>
                <a:gd name="T31" fmla="*/ 404 h 705"/>
                <a:gd name="T32" fmla="*/ 100 w 701"/>
                <a:gd name="T33" fmla="*/ 405 h 705"/>
                <a:gd name="T34" fmla="*/ 0 w 701"/>
                <a:gd name="T35" fmla="*/ 389 h 705"/>
                <a:gd name="T36" fmla="*/ 77 w 701"/>
                <a:gd name="T37" fmla="*/ 462 h 705"/>
                <a:gd name="T38" fmla="*/ 98 w 701"/>
                <a:gd name="T39" fmla="*/ 492 h 705"/>
                <a:gd name="T40" fmla="*/ 120 w 701"/>
                <a:gd name="T41" fmla="*/ 529 h 705"/>
                <a:gd name="T42" fmla="*/ 85 w 701"/>
                <a:gd name="T43" fmla="*/ 575 h 705"/>
                <a:gd name="T44" fmla="*/ 60 w 701"/>
                <a:gd name="T45" fmla="*/ 600 h 705"/>
                <a:gd name="T46" fmla="*/ 110 w 701"/>
                <a:gd name="T47" fmla="*/ 635 h 705"/>
                <a:gd name="T48" fmla="*/ 208 w 701"/>
                <a:gd name="T49" fmla="*/ 615 h 705"/>
                <a:gd name="T50" fmla="*/ 299 w 701"/>
                <a:gd name="T51" fmla="*/ 662 h 705"/>
                <a:gd name="T52" fmla="*/ 381 w 701"/>
                <a:gd name="T53" fmla="*/ 705 h 705"/>
                <a:gd name="T54" fmla="*/ 416 w 701"/>
                <a:gd name="T55" fmla="*/ 689 h 705"/>
                <a:gd name="T56" fmla="*/ 467 w 701"/>
                <a:gd name="T57" fmla="*/ 679 h 705"/>
                <a:gd name="T58" fmla="*/ 492 w 701"/>
                <a:gd name="T59" fmla="*/ 654 h 705"/>
                <a:gd name="T60" fmla="*/ 455 w 701"/>
                <a:gd name="T61" fmla="*/ 604 h 705"/>
                <a:gd name="T62" fmla="*/ 447 w 701"/>
                <a:gd name="T63" fmla="*/ 559 h 705"/>
                <a:gd name="T64" fmla="*/ 423 w 701"/>
                <a:gd name="T65" fmla="*/ 522 h 705"/>
                <a:gd name="T66" fmla="*/ 470 w 701"/>
                <a:gd name="T67" fmla="*/ 500 h 705"/>
                <a:gd name="T68" fmla="*/ 518 w 701"/>
                <a:gd name="T69" fmla="*/ 472 h 705"/>
                <a:gd name="T70" fmla="*/ 560 w 701"/>
                <a:gd name="T71" fmla="*/ 425 h 705"/>
                <a:gd name="T72" fmla="*/ 581 w 701"/>
                <a:gd name="T73" fmla="*/ 358 h 705"/>
                <a:gd name="T74" fmla="*/ 604 w 701"/>
                <a:gd name="T75" fmla="*/ 297 h 705"/>
                <a:gd name="T76" fmla="*/ 624 w 701"/>
                <a:gd name="T77" fmla="*/ 248 h 705"/>
                <a:gd name="T78" fmla="*/ 583 w 701"/>
                <a:gd name="T79" fmla="*/ 225 h 705"/>
                <a:gd name="T80" fmla="*/ 567 w 701"/>
                <a:gd name="T81" fmla="*/ 194 h 705"/>
                <a:gd name="T82" fmla="*/ 548 w 701"/>
                <a:gd name="T83" fmla="*/ 161 h 705"/>
                <a:gd name="T84" fmla="*/ 557 w 701"/>
                <a:gd name="T85" fmla="*/ 123 h 705"/>
                <a:gd name="T86" fmla="*/ 643 w 701"/>
                <a:gd name="T87" fmla="*/ 123 h 705"/>
                <a:gd name="T88" fmla="*/ 667 w 701"/>
                <a:gd name="T89" fmla="*/ 122 h 705"/>
                <a:gd name="T90" fmla="*/ 700 w 701"/>
                <a:gd name="T91" fmla="*/ 82 h 7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1" h="705">
                  <a:moveTo>
                    <a:pt x="671" y="81"/>
                  </a:moveTo>
                  <a:cubicBezTo>
                    <a:pt x="652" y="80"/>
                    <a:pt x="647" y="60"/>
                    <a:pt x="647" y="60"/>
                  </a:cubicBezTo>
                  <a:cubicBezTo>
                    <a:pt x="639" y="64"/>
                    <a:pt x="639" y="64"/>
                    <a:pt x="639" y="64"/>
                  </a:cubicBezTo>
                  <a:cubicBezTo>
                    <a:pt x="618" y="56"/>
                    <a:pt x="618" y="56"/>
                    <a:pt x="618" y="56"/>
                  </a:cubicBezTo>
                  <a:cubicBezTo>
                    <a:pt x="618" y="56"/>
                    <a:pt x="617" y="35"/>
                    <a:pt x="608" y="25"/>
                  </a:cubicBezTo>
                  <a:cubicBezTo>
                    <a:pt x="599" y="15"/>
                    <a:pt x="584" y="14"/>
                    <a:pt x="584" y="14"/>
                  </a:cubicBezTo>
                  <a:cubicBezTo>
                    <a:pt x="581" y="5"/>
                    <a:pt x="581" y="5"/>
                    <a:pt x="581" y="5"/>
                  </a:cubicBezTo>
                  <a:cubicBezTo>
                    <a:pt x="560" y="5"/>
                    <a:pt x="560" y="5"/>
                    <a:pt x="560" y="5"/>
                  </a:cubicBezTo>
                  <a:cubicBezTo>
                    <a:pt x="560" y="5"/>
                    <a:pt x="549" y="4"/>
                    <a:pt x="541" y="0"/>
                  </a:cubicBezTo>
                  <a:cubicBezTo>
                    <a:pt x="535" y="4"/>
                    <a:pt x="526" y="9"/>
                    <a:pt x="523" y="10"/>
                  </a:cubicBezTo>
                  <a:cubicBezTo>
                    <a:pt x="518" y="11"/>
                    <a:pt x="508" y="5"/>
                    <a:pt x="505" y="5"/>
                  </a:cubicBezTo>
                  <a:cubicBezTo>
                    <a:pt x="502" y="5"/>
                    <a:pt x="479" y="10"/>
                    <a:pt x="479" y="10"/>
                  </a:cubicBezTo>
                  <a:cubicBezTo>
                    <a:pt x="479" y="10"/>
                    <a:pt x="462" y="9"/>
                    <a:pt x="455" y="12"/>
                  </a:cubicBezTo>
                  <a:cubicBezTo>
                    <a:pt x="448" y="15"/>
                    <a:pt x="425" y="31"/>
                    <a:pt x="425" y="31"/>
                  </a:cubicBezTo>
                  <a:cubicBezTo>
                    <a:pt x="425" y="31"/>
                    <a:pt x="414" y="34"/>
                    <a:pt x="408" y="46"/>
                  </a:cubicBezTo>
                  <a:cubicBezTo>
                    <a:pt x="402" y="58"/>
                    <a:pt x="407" y="54"/>
                    <a:pt x="418" y="66"/>
                  </a:cubicBezTo>
                  <a:cubicBezTo>
                    <a:pt x="429" y="78"/>
                    <a:pt x="426" y="95"/>
                    <a:pt x="426" y="95"/>
                  </a:cubicBezTo>
                  <a:cubicBezTo>
                    <a:pt x="426" y="95"/>
                    <a:pt x="436" y="103"/>
                    <a:pt x="433" y="110"/>
                  </a:cubicBezTo>
                  <a:cubicBezTo>
                    <a:pt x="430" y="117"/>
                    <a:pt x="413" y="125"/>
                    <a:pt x="412" y="134"/>
                  </a:cubicBezTo>
                  <a:cubicBezTo>
                    <a:pt x="411" y="143"/>
                    <a:pt x="418" y="144"/>
                    <a:pt x="418" y="144"/>
                  </a:cubicBezTo>
                  <a:cubicBezTo>
                    <a:pt x="418" y="144"/>
                    <a:pt x="419" y="153"/>
                    <a:pt x="418" y="160"/>
                  </a:cubicBezTo>
                  <a:cubicBezTo>
                    <a:pt x="417" y="167"/>
                    <a:pt x="406" y="164"/>
                    <a:pt x="406" y="164"/>
                  </a:cubicBezTo>
                  <a:cubicBezTo>
                    <a:pt x="402" y="171"/>
                    <a:pt x="402" y="171"/>
                    <a:pt x="402" y="171"/>
                  </a:cubicBezTo>
                  <a:cubicBezTo>
                    <a:pt x="395" y="168"/>
                    <a:pt x="395" y="168"/>
                    <a:pt x="395" y="168"/>
                  </a:cubicBezTo>
                  <a:cubicBezTo>
                    <a:pt x="384" y="167"/>
                    <a:pt x="384" y="167"/>
                    <a:pt x="384" y="167"/>
                  </a:cubicBezTo>
                  <a:cubicBezTo>
                    <a:pt x="384" y="167"/>
                    <a:pt x="377" y="159"/>
                    <a:pt x="373" y="160"/>
                  </a:cubicBezTo>
                  <a:cubicBezTo>
                    <a:pt x="369" y="161"/>
                    <a:pt x="369" y="166"/>
                    <a:pt x="370" y="171"/>
                  </a:cubicBezTo>
                  <a:cubicBezTo>
                    <a:pt x="371" y="176"/>
                    <a:pt x="386" y="180"/>
                    <a:pt x="386" y="180"/>
                  </a:cubicBezTo>
                  <a:cubicBezTo>
                    <a:pt x="386" y="180"/>
                    <a:pt x="386" y="184"/>
                    <a:pt x="388" y="191"/>
                  </a:cubicBezTo>
                  <a:cubicBezTo>
                    <a:pt x="390" y="198"/>
                    <a:pt x="401" y="197"/>
                    <a:pt x="401" y="197"/>
                  </a:cubicBezTo>
                  <a:cubicBezTo>
                    <a:pt x="381" y="211"/>
                    <a:pt x="381" y="211"/>
                    <a:pt x="381" y="211"/>
                  </a:cubicBezTo>
                  <a:cubicBezTo>
                    <a:pt x="381" y="211"/>
                    <a:pt x="368" y="210"/>
                    <a:pt x="364" y="213"/>
                  </a:cubicBezTo>
                  <a:cubicBezTo>
                    <a:pt x="360" y="216"/>
                    <a:pt x="363" y="238"/>
                    <a:pt x="363" y="238"/>
                  </a:cubicBezTo>
                  <a:cubicBezTo>
                    <a:pt x="363" y="238"/>
                    <a:pt x="357" y="235"/>
                    <a:pt x="356" y="247"/>
                  </a:cubicBezTo>
                  <a:cubicBezTo>
                    <a:pt x="355" y="259"/>
                    <a:pt x="364" y="277"/>
                    <a:pt x="364" y="277"/>
                  </a:cubicBezTo>
                  <a:cubicBezTo>
                    <a:pt x="364" y="277"/>
                    <a:pt x="361" y="286"/>
                    <a:pt x="348" y="293"/>
                  </a:cubicBezTo>
                  <a:cubicBezTo>
                    <a:pt x="335" y="300"/>
                    <a:pt x="338" y="281"/>
                    <a:pt x="338" y="281"/>
                  </a:cubicBezTo>
                  <a:cubicBezTo>
                    <a:pt x="338" y="281"/>
                    <a:pt x="328" y="283"/>
                    <a:pt x="320" y="283"/>
                  </a:cubicBezTo>
                  <a:cubicBezTo>
                    <a:pt x="312" y="283"/>
                    <a:pt x="305" y="289"/>
                    <a:pt x="305" y="289"/>
                  </a:cubicBezTo>
                  <a:cubicBezTo>
                    <a:pt x="305" y="289"/>
                    <a:pt x="291" y="293"/>
                    <a:pt x="287" y="298"/>
                  </a:cubicBezTo>
                  <a:cubicBezTo>
                    <a:pt x="283" y="303"/>
                    <a:pt x="300" y="305"/>
                    <a:pt x="298" y="311"/>
                  </a:cubicBezTo>
                  <a:cubicBezTo>
                    <a:pt x="296" y="317"/>
                    <a:pt x="266" y="312"/>
                    <a:pt x="266" y="312"/>
                  </a:cubicBezTo>
                  <a:cubicBezTo>
                    <a:pt x="266" y="312"/>
                    <a:pt x="270" y="306"/>
                    <a:pt x="262" y="306"/>
                  </a:cubicBezTo>
                  <a:cubicBezTo>
                    <a:pt x="254" y="306"/>
                    <a:pt x="239" y="319"/>
                    <a:pt x="237" y="325"/>
                  </a:cubicBezTo>
                  <a:cubicBezTo>
                    <a:pt x="235" y="331"/>
                    <a:pt x="242" y="355"/>
                    <a:pt x="242" y="355"/>
                  </a:cubicBezTo>
                  <a:cubicBezTo>
                    <a:pt x="242" y="355"/>
                    <a:pt x="248" y="375"/>
                    <a:pt x="246" y="381"/>
                  </a:cubicBezTo>
                  <a:cubicBezTo>
                    <a:pt x="244" y="387"/>
                    <a:pt x="205" y="400"/>
                    <a:pt x="202" y="401"/>
                  </a:cubicBezTo>
                  <a:cubicBezTo>
                    <a:pt x="199" y="402"/>
                    <a:pt x="157" y="404"/>
                    <a:pt x="157" y="404"/>
                  </a:cubicBezTo>
                  <a:cubicBezTo>
                    <a:pt x="157" y="404"/>
                    <a:pt x="156" y="410"/>
                    <a:pt x="144" y="410"/>
                  </a:cubicBezTo>
                  <a:cubicBezTo>
                    <a:pt x="132" y="410"/>
                    <a:pt x="135" y="406"/>
                    <a:pt x="135" y="406"/>
                  </a:cubicBezTo>
                  <a:cubicBezTo>
                    <a:pt x="100" y="405"/>
                    <a:pt x="100" y="405"/>
                    <a:pt x="100" y="405"/>
                  </a:cubicBezTo>
                  <a:cubicBezTo>
                    <a:pt x="100" y="405"/>
                    <a:pt x="102" y="410"/>
                    <a:pt x="81" y="412"/>
                  </a:cubicBezTo>
                  <a:cubicBezTo>
                    <a:pt x="60" y="414"/>
                    <a:pt x="30" y="396"/>
                    <a:pt x="21" y="391"/>
                  </a:cubicBezTo>
                  <a:cubicBezTo>
                    <a:pt x="12" y="386"/>
                    <a:pt x="0" y="389"/>
                    <a:pt x="0" y="389"/>
                  </a:cubicBezTo>
                  <a:cubicBezTo>
                    <a:pt x="0" y="389"/>
                    <a:pt x="20" y="408"/>
                    <a:pt x="26" y="419"/>
                  </a:cubicBezTo>
                  <a:cubicBezTo>
                    <a:pt x="32" y="430"/>
                    <a:pt x="46" y="450"/>
                    <a:pt x="54" y="460"/>
                  </a:cubicBezTo>
                  <a:cubicBezTo>
                    <a:pt x="62" y="470"/>
                    <a:pt x="77" y="462"/>
                    <a:pt x="77" y="462"/>
                  </a:cubicBezTo>
                  <a:cubicBezTo>
                    <a:pt x="86" y="473"/>
                    <a:pt x="86" y="473"/>
                    <a:pt x="86" y="473"/>
                  </a:cubicBezTo>
                  <a:cubicBezTo>
                    <a:pt x="99" y="472"/>
                    <a:pt x="99" y="472"/>
                    <a:pt x="99" y="472"/>
                  </a:cubicBezTo>
                  <a:cubicBezTo>
                    <a:pt x="98" y="492"/>
                    <a:pt x="98" y="492"/>
                    <a:pt x="98" y="492"/>
                  </a:cubicBezTo>
                  <a:cubicBezTo>
                    <a:pt x="101" y="494"/>
                    <a:pt x="101" y="494"/>
                    <a:pt x="101" y="494"/>
                  </a:cubicBezTo>
                  <a:cubicBezTo>
                    <a:pt x="101" y="494"/>
                    <a:pt x="100" y="517"/>
                    <a:pt x="103" y="524"/>
                  </a:cubicBezTo>
                  <a:cubicBezTo>
                    <a:pt x="106" y="531"/>
                    <a:pt x="112" y="518"/>
                    <a:pt x="120" y="529"/>
                  </a:cubicBezTo>
                  <a:cubicBezTo>
                    <a:pt x="128" y="540"/>
                    <a:pt x="129" y="556"/>
                    <a:pt x="125" y="561"/>
                  </a:cubicBezTo>
                  <a:cubicBezTo>
                    <a:pt x="121" y="566"/>
                    <a:pt x="119" y="553"/>
                    <a:pt x="101" y="559"/>
                  </a:cubicBezTo>
                  <a:cubicBezTo>
                    <a:pt x="83" y="565"/>
                    <a:pt x="89" y="569"/>
                    <a:pt x="85" y="575"/>
                  </a:cubicBezTo>
                  <a:cubicBezTo>
                    <a:pt x="81" y="581"/>
                    <a:pt x="72" y="579"/>
                    <a:pt x="72" y="579"/>
                  </a:cubicBezTo>
                  <a:cubicBezTo>
                    <a:pt x="70" y="590"/>
                    <a:pt x="70" y="590"/>
                    <a:pt x="70" y="590"/>
                  </a:cubicBezTo>
                  <a:cubicBezTo>
                    <a:pt x="70" y="590"/>
                    <a:pt x="66" y="597"/>
                    <a:pt x="60" y="600"/>
                  </a:cubicBezTo>
                  <a:cubicBezTo>
                    <a:pt x="55" y="602"/>
                    <a:pt x="59" y="630"/>
                    <a:pt x="60" y="637"/>
                  </a:cubicBezTo>
                  <a:cubicBezTo>
                    <a:pt x="70" y="633"/>
                    <a:pt x="78" y="628"/>
                    <a:pt x="78" y="628"/>
                  </a:cubicBezTo>
                  <a:cubicBezTo>
                    <a:pt x="78" y="628"/>
                    <a:pt x="100" y="635"/>
                    <a:pt x="110" y="635"/>
                  </a:cubicBezTo>
                  <a:cubicBezTo>
                    <a:pt x="120" y="636"/>
                    <a:pt x="149" y="620"/>
                    <a:pt x="149" y="620"/>
                  </a:cubicBezTo>
                  <a:cubicBezTo>
                    <a:pt x="149" y="620"/>
                    <a:pt x="165" y="628"/>
                    <a:pt x="175" y="626"/>
                  </a:cubicBezTo>
                  <a:cubicBezTo>
                    <a:pt x="186" y="624"/>
                    <a:pt x="208" y="615"/>
                    <a:pt x="208" y="615"/>
                  </a:cubicBezTo>
                  <a:cubicBezTo>
                    <a:pt x="234" y="622"/>
                    <a:pt x="234" y="622"/>
                    <a:pt x="234" y="622"/>
                  </a:cubicBezTo>
                  <a:cubicBezTo>
                    <a:pt x="234" y="622"/>
                    <a:pt x="249" y="601"/>
                    <a:pt x="267" y="613"/>
                  </a:cubicBezTo>
                  <a:cubicBezTo>
                    <a:pt x="284" y="624"/>
                    <a:pt x="285" y="659"/>
                    <a:pt x="299" y="662"/>
                  </a:cubicBezTo>
                  <a:cubicBezTo>
                    <a:pt x="313" y="665"/>
                    <a:pt x="339" y="665"/>
                    <a:pt x="348" y="674"/>
                  </a:cubicBezTo>
                  <a:cubicBezTo>
                    <a:pt x="358" y="683"/>
                    <a:pt x="359" y="704"/>
                    <a:pt x="370" y="705"/>
                  </a:cubicBezTo>
                  <a:cubicBezTo>
                    <a:pt x="373" y="705"/>
                    <a:pt x="377" y="705"/>
                    <a:pt x="381" y="705"/>
                  </a:cubicBezTo>
                  <a:cubicBezTo>
                    <a:pt x="394" y="700"/>
                    <a:pt x="394" y="700"/>
                    <a:pt x="394" y="700"/>
                  </a:cubicBezTo>
                  <a:cubicBezTo>
                    <a:pt x="394" y="700"/>
                    <a:pt x="385" y="684"/>
                    <a:pt x="396" y="683"/>
                  </a:cubicBezTo>
                  <a:cubicBezTo>
                    <a:pt x="407" y="682"/>
                    <a:pt x="416" y="689"/>
                    <a:pt x="416" y="689"/>
                  </a:cubicBezTo>
                  <a:cubicBezTo>
                    <a:pt x="433" y="683"/>
                    <a:pt x="433" y="683"/>
                    <a:pt x="433" y="683"/>
                  </a:cubicBezTo>
                  <a:cubicBezTo>
                    <a:pt x="433" y="683"/>
                    <a:pt x="430" y="691"/>
                    <a:pt x="444" y="691"/>
                  </a:cubicBezTo>
                  <a:cubicBezTo>
                    <a:pt x="458" y="691"/>
                    <a:pt x="456" y="681"/>
                    <a:pt x="467" y="679"/>
                  </a:cubicBezTo>
                  <a:cubicBezTo>
                    <a:pt x="478" y="677"/>
                    <a:pt x="468" y="688"/>
                    <a:pt x="479" y="688"/>
                  </a:cubicBezTo>
                  <a:cubicBezTo>
                    <a:pt x="490" y="688"/>
                    <a:pt x="499" y="687"/>
                    <a:pt x="501" y="678"/>
                  </a:cubicBezTo>
                  <a:cubicBezTo>
                    <a:pt x="503" y="669"/>
                    <a:pt x="492" y="654"/>
                    <a:pt x="492" y="654"/>
                  </a:cubicBezTo>
                  <a:cubicBezTo>
                    <a:pt x="478" y="626"/>
                    <a:pt x="478" y="626"/>
                    <a:pt x="478" y="626"/>
                  </a:cubicBezTo>
                  <a:cubicBezTo>
                    <a:pt x="478" y="611"/>
                    <a:pt x="478" y="611"/>
                    <a:pt x="478" y="611"/>
                  </a:cubicBezTo>
                  <a:cubicBezTo>
                    <a:pt x="478" y="611"/>
                    <a:pt x="462" y="611"/>
                    <a:pt x="455" y="604"/>
                  </a:cubicBezTo>
                  <a:cubicBezTo>
                    <a:pt x="448" y="597"/>
                    <a:pt x="446" y="589"/>
                    <a:pt x="446" y="589"/>
                  </a:cubicBezTo>
                  <a:cubicBezTo>
                    <a:pt x="448" y="569"/>
                    <a:pt x="448" y="569"/>
                    <a:pt x="448" y="569"/>
                  </a:cubicBezTo>
                  <a:cubicBezTo>
                    <a:pt x="447" y="559"/>
                    <a:pt x="447" y="559"/>
                    <a:pt x="447" y="559"/>
                  </a:cubicBezTo>
                  <a:cubicBezTo>
                    <a:pt x="429" y="561"/>
                    <a:pt x="429" y="561"/>
                    <a:pt x="429" y="561"/>
                  </a:cubicBezTo>
                  <a:cubicBezTo>
                    <a:pt x="429" y="561"/>
                    <a:pt x="414" y="563"/>
                    <a:pt x="414" y="546"/>
                  </a:cubicBezTo>
                  <a:cubicBezTo>
                    <a:pt x="414" y="529"/>
                    <a:pt x="415" y="529"/>
                    <a:pt x="423" y="522"/>
                  </a:cubicBezTo>
                  <a:cubicBezTo>
                    <a:pt x="431" y="515"/>
                    <a:pt x="438" y="503"/>
                    <a:pt x="438" y="503"/>
                  </a:cubicBezTo>
                  <a:cubicBezTo>
                    <a:pt x="438" y="503"/>
                    <a:pt x="437" y="489"/>
                    <a:pt x="451" y="487"/>
                  </a:cubicBezTo>
                  <a:cubicBezTo>
                    <a:pt x="465" y="485"/>
                    <a:pt x="457" y="502"/>
                    <a:pt x="470" y="500"/>
                  </a:cubicBezTo>
                  <a:cubicBezTo>
                    <a:pt x="483" y="498"/>
                    <a:pt x="488" y="490"/>
                    <a:pt x="488" y="490"/>
                  </a:cubicBezTo>
                  <a:cubicBezTo>
                    <a:pt x="488" y="490"/>
                    <a:pt x="503" y="498"/>
                    <a:pt x="510" y="490"/>
                  </a:cubicBezTo>
                  <a:cubicBezTo>
                    <a:pt x="517" y="482"/>
                    <a:pt x="518" y="472"/>
                    <a:pt x="518" y="472"/>
                  </a:cubicBezTo>
                  <a:cubicBezTo>
                    <a:pt x="527" y="467"/>
                    <a:pt x="527" y="467"/>
                    <a:pt x="527" y="467"/>
                  </a:cubicBezTo>
                  <a:cubicBezTo>
                    <a:pt x="527" y="467"/>
                    <a:pt x="528" y="447"/>
                    <a:pt x="532" y="444"/>
                  </a:cubicBezTo>
                  <a:cubicBezTo>
                    <a:pt x="536" y="441"/>
                    <a:pt x="552" y="438"/>
                    <a:pt x="560" y="425"/>
                  </a:cubicBezTo>
                  <a:cubicBezTo>
                    <a:pt x="568" y="412"/>
                    <a:pt x="565" y="394"/>
                    <a:pt x="569" y="385"/>
                  </a:cubicBezTo>
                  <a:cubicBezTo>
                    <a:pt x="573" y="376"/>
                    <a:pt x="592" y="375"/>
                    <a:pt x="592" y="375"/>
                  </a:cubicBezTo>
                  <a:cubicBezTo>
                    <a:pt x="581" y="358"/>
                    <a:pt x="581" y="358"/>
                    <a:pt x="581" y="358"/>
                  </a:cubicBezTo>
                  <a:cubicBezTo>
                    <a:pt x="598" y="334"/>
                    <a:pt x="598" y="334"/>
                    <a:pt x="598" y="334"/>
                  </a:cubicBezTo>
                  <a:cubicBezTo>
                    <a:pt x="616" y="321"/>
                    <a:pt x="616" y="321"/>
                    <a:pt x="616" y="321"/>
                  </a:cubicBezTo>
                  <a:cubicBezTo>
                    <a:pt x="616" y="321"/>
                    <a:pt x="604" y="301"/>
                    <a:pt x="604" y="297"/>
                  </a:cubicBezTo>
                  <a:cubicBezTo>
                    <a:pt x="604" y="293"/>
                    <a:pt x="601" y="279"/>
                    <a:pt x="605" y="277"/>
                  </a:cubicBezTo>
                  <a:cubicBezTo>
                    <a:pt x="609" y="275"/>
                    <a:pt x="638" y="271"/>
                    <a:pt x="637" y="262"/>
                  </a:cubicBezTo>
                  <a:cubicBezTo>
                    <a:pt x="636" y="253"/>
                    <a:pt x="624" y="248"/>
                    <a:pt x="624" y="248"/>
                  </a:cubicBezTo>
                  <a:cubicBezTo>
                    <a:pt x="600" y="249"/>
                    <a:pt x="600" y="249"/>
                    <a:pt x="600" y="249"/>
                  </a:cubicBezTo>
                  <a:cubicBezTo>
                    <a:pt x="597" y="226"/>
                    <a:pt x="597" y="226"/>
                    <a:pt x="597" y="226"/>
                  </a:cubicBezTo>
                  <a:cubicBezTo>
                    <a:pt x="583" y="225"/>
                    <a:pt x="583" y="225"/>
                    <a:pt x="583" y="225"/>
                  </a:cubicBezTo>
                  <a:cubicBezTo>
                    <a:pt x="575" y="215"/>
                    <a:pt x="575" y="215"/>
                    <a:pt x="575" y="215"/>
                  </a:cubicBezTo>
                  <a:cubicBezTo>
                    <a:pt x="575" y="215"/>
                    <a:pt x="564" y="218"/>
                    <a:pt x="565" y="210"/>
                  </a:cubicBezTo>
                  <a:cubicBezTo>
                    <a:pt x="566" y="202"/>
                    <a:pt x="567" y="194"/>
                    <a:pt x="567" y="194"/>
                  </a:cubicBezTo>
                  <a:cubicBezTo>
                    <a:pt x="567" y="194"/>
                    <a:pt x="553" y="193"/>
                    <a:pt x="556" y="183"/>
                  </a:cubicBezTo>
                  <a:cubicBezTo>
                    <a:pt x="559" y="173"/>
                    <a:pt x="568" y="165"/>
                    <a:pt x="568" y="165"/>
                  </a:cubicBezTo>
                  <a:cubicBezTo>
                    <a:pt x="548" y="161"/>
                    <a:pt x="548" y="161"/>
                    <a:pt x="548" y="161"/>
                  </a:cubicBezTo>
                  <a:cubicBezTo>
                    <a:pt x="552" y="152"/>
                    <a:pt x="552" y="152"/>
                    <a:pt x="552" y="152"/>
                  </a:cubicBezTo>
                  <a:cubicBezTo>
                    <a:pt x="537" y="142"/>
                    <a:pt x="537" y="142"/>
                    <a:pt x="537" y="142"/>
                  </a:cubicBezTo>
                  <a:cubicBezTo>
                    <a:pt x="537" y="142"/>
                    <a:pt x="535" y="126"/>
                    <a:pt x="557" y="123"/>
                  </a:cubicBezTo>
                  <a:cubicBezTo>
                    <a:pt x="579" y="120"/>
                    <a:pt x="608" y="126"/>
                    <a:pt x="608" y="126"/>
                  </a:cubicBezTo>
                  <a:cubicBezTo>
                    <a:pt x="608" y="126"/>
                    <a:pt x="611" y="138"/>
                    <a:pt x="618" y="137"/>
                  </a:cubicBezTo>
                  <a:cubicBezTo>
                    <a:pt x="625" y="136"/>
                    <a:pt x="643" y="123"/>
                    <a:pt x="643" y="123"/>
                  </a:cubicBezTo>
                  <a:cubicBezTo>
                    <a:pt x="647" y="127"/>
                    <a:pt x="647" y="127"/>
                    <a:pt x="647" y="127"/>
                  </a:cubicBezTo>
                  <a:cubicBezTo>
                    <a:pt x="653" y="122"/>
                    <a:pt x="653" y="122"/>
                    <a:pt x="653" y="122"/>
                  </a:cubicBezTo>
                  <a:cubicBezTo>
                    <a:pt x="653" y="122"/>
                    <a:pt x="664" y="123"/>
                    <a:pt x="667" y="122"/>
                  </a:cubicBezTo>
                  <a:cubicBezTo>
                    <a:pt x="670" y="121"/>
                    <a:pt x="670" y="110"/>
                    <a:pt x="670" y="110"/>
                  </a:cubicBezTo>
                  <a:cubicBezTo>
                    <a:pt x="685" y="104"/>
                    <a:pt x="685" y="104"/>
                    <a:pt x="685" y="104"/>
                  </a:cubicBezTo>
                  <a:cubicBezTo>
                    <a:pt x="700" y="82"/>
                    <a:pt x="700" y="82"/>
                    <a:pt x="700" y="82"/>
                  </a:cubicBezTo>
                  <a:cubicBezTo>
                    <a:pt x="701" y="82"/>
                    <a:pt x="701" y="82"/>
                    <a:pt x="701" y="82"/>
                  </a:cubicBezTo>
                  <a:cubicBezTo>
                    <a:pt x="692" y="82"/>
                    <a:pt x="680" y="81"/>
                    <a:pt x="671" y="81"/>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87" name="Freeform 48"/>
            <p:cNvSpPr>
              <a:spLocks/>
            </p:cNvSpPr>
            <p:nvPr/>
          </p:nvSpPr>
          <p:spPr bwMode="gray">
            <a:xfrm>
              <a:off x="5232400" y="2851150"/>
              <a:ext cx="254000" cy="247650"/>
            </a:xfrm>
            <a:custGeom>
              <a:avLst/>
              <a:gdLst>
                <a:gd name="T0" fmla="*/ 448 w 454"/>
                <a:gd name="T1" fmla="*/ 378 h 442"/>
                <a:gd name="T2" fmla="*/ 432 w 454"/>
                <a:gd name="T3" fmla="*/ 365 h 442"/>
                <a:gd name="T4" fmla="*/ 428 w 454"/>
                <a:gd name="T5" fmla="*/ 346 h 442"/>
                <a:gd name="T6" fmla="*/ 415 w 454"/>
                <a:gd name="T7" fmla="*/ 340 h 442"/>
                <a:gd name="T8" fmla="*/ 415 w 454"/>
                <a:gd name="T9" fmla="*/ 295 h 442"/>
                <a:gd name="T10" fmla="*/ 393 w 454"/>
                <a:gd name="T11" fmla="*/ 270 h 442"/>
                <a:gd name="T12" fmla="*/ 380 w 454"/>
                <a:gd name="T13" fmla="*/ 258 h 442"/>
                <a:gd name="T14" fmla="*/ 348 w 454"/>
                <a:gd name="T15" fmla="*/ 240 h 442"/>
                <a:gd name="T16" fmla="*/ 335 w 454"/>
                <a:gd name="T17" fmla="*/ 239 h 442"/>
                <a:gd name="T18" fmla="*/ 335 w 454"/>
                <a:gd name="T19" fmla="*/ 212 h 442"/>
                <a:gd name="T20" fmla="*/ 291 w 454"/>
                <a:gd name="T21" fmla="*/ 182 h 442"/>
                <a:gd name="T22" fmla="*/ 299 w 454"/>
                <a:gd name="T23" fmla="*/ 168 h 442"/>
                <a:gd name="T24" fmla="*/ 291 w 454"/>
                <a:gd name="T25" fmla="*/ 154 h 442"/>
                <a:gd name="T26" fmla="*/ 305 w 454"/>
                <a:gd name="T27" fmla="*/ 148 h 442"/>
                <a:gd name="T28" fmla="*/ 304 w 454"/>
                <a:gd name="T29" fmla="*/ 135 h 442"/>
                <a:gd name="T30" fmla="*/ 305 w 454"/>
                <a:gd name="T31" fmla="*/ 126 h 442"/>
                <a:gd name="T32" fmla="*/ 318 w 454"/>
                <a:gd name="T33" fmla="*/ 118 h 442"/>
                <a:gd name="T34" fmla="*/ 307 w 454"/>
                <a:gd name="T35" fmla="*/ 97 h 442"/>
                <a:gd name="T36" fmla="*/ 318 w 454"/>
                <a:gd name="T37" fmla="*/ 80 h 442"/>
                <a:gd name="T38" fmla="*/ 299 w 454"/>
                <a:gd name="T39" fmla="*/ 85 h 442"/>
                <a:gd name="T40" fmla="*/ 288 w 454"/>
                <a:gd name="T41" fmla="*/ 73 h 442"/>
                <a:gd name="T42" fmla="*/ 274 w 454"/>
                <a:gd name="T43" fmla="*/ 71 h 442"/>
                <a:gd name="T44" fmla="*/ 265 w 454"/>
                <a:gd name="T45" fmla="*/ 50 h 442"/>
                <a:gd name="T46" fmla="*/ 249 w 454"/>
                <a:gd name="T47" fmla="*/ 8 h 442"/>
                <a:gd name="T48" fmla="*/ 222 w 454"/>
                <a:gd name="T49" fmla="*/ 19 h 442"/>
                <a:gd name="T50" fmla="*/ 210 w 454"/>
                <a:gd name="T51" fmla="*/ 1 h 442"/>
                <a:gd name="T52" fmla="*/ 196 w 454"/>
                <a:gd name="T53" fmla="*/ 10 h 442"/>
                <a:gd name="T54" fmla="*/ 179 w 454"/>
                <a:gd name="T55" fmla="*/ 1 h 442"/>
                <a:gd name="T56" fmla="*/ 153 w 454"/>
                <a:gd name="T57" fmla="*/ 1 h 442"/>
                <a:gd name="T58" fmla="*/ 142 w 454"/>
                <a:gd name="T59" fmla="*/ 17 h 442"/>
                <a:gd name="T60" fmla="*/ 140 w 454"/>
                <a:gd name="T61" fmla="*/ 17 h 442"/>
                <a:gd name="T62" fmla="*/ 124 w 454"/>
                <a:gd name="T63" fmla="*/ 37 h 442"/>
                <a:gd name="T64" fmla="*/ 92 w 454"/>
                <a:gd name="T65" fmla="*/ 53 h 442"/>
                <a:gd name="T66" fmla="*/ 103 w 454"/>
                <a:gd name="T67" fmla="*/ 75 h 442"/>
                <a:gd name="T68" fmla="*/ 107 w 454"/>
                <a:gd name="T69" fmla="*/ 110 h 442"/>
                <a:gd name="T70" fmla="*/ 98 w 454"/>
                <a:gd name="T71" fmla="*/ 129 h 442"/>
                <a:gd name="T72" fmla="*/ 104 w 454"/>
                <a:gd name="T73" fmla="*/ 154 h 442"/>
                <a:gd name="T74" fmla="*/ 43 w 454"/>
                <a:gd name="T75" fmla="*/ 181 h 442"/>
                <a:gd name="T76" fmla="*/ 0 w 454"/>
                <a:gd name="T77" fmla="*/ 216 h 442"/>
                <a:gd name="T78" fmla="*/ 0 w 454"/>
                <a:gd name="T79" fmla="*/ 216 h 442"/>
                <a:gd name="T80" fmla="*/ 12 w 454"/>
                <a:gd name="T81" fmla="*/ 246 h 442"/>
                <a:gd name="T82" fmla="*/ 12 w 454"/>
                <a:gd name="T83" fmla="*/ 260 h 442"/>
                <a:gd name="T84" fmla="*/ 29 w 454"/>
                <a:gd name="T85" fmla="*/ 269 h 442"/>
                <a:gd name="T86" fmla="*/ 28 w 454"/>
                <a:gd name="T87" fmla="*/ 278 h 442"/>
                <a:gd name="T88" fmla="*/ 44 w 454"/>
                <a:gd name="T89" fmla="*/ 287 h 442"/>
                <a:gd name="T90" fmla="*/ 78 w 454"/>
                <a:gd name="T91" fmla="*/ 287 h 442"/>
                <a:gd name="T92" fmla="*/ 127 w 454"/>
                <a:gd name="T93" fmla="*/ 321 h 442"/>
                <a:gd name="T94" fmla="*/ 160 w 454"/>
                <a:gd name="T95" fmla="*/ 341 h 442"/>
                <a:gd name="T96" fmla="*/ 288 w 454"/>
                <a:gd name="T97" fmla="*/ 438 h 442"/>
                <a:gd name="T98" fmla="*/ 376 w 454"/>
                <a:gd name="T99" fmla="*/ 442 h 442"/>
                <a:gd name="T100" fmla="*/ 376 w 454"/>
                <a:gd name="T101" fmla="*/ 442 h 442"/>
                <a:gd name="T102" fmla="*/ 387 w 454"/>
                <a:gd name="T103" fmla="*/ 422 h 442"/>
                <a:gd name="T104" fmla="*/ 396 w 454"/>
                <a:gd name="T105" fmla="*/ 395 h 442"/>
                <a:gd name="T106" fmla="*/ 411 w 454"/>
                <a:gd name="T107" fmla="*/ 393 h 442"/>
                <a:gd name="T108" fmla="*/ 431 w 454"/>
                <a:gd name="T109" fmla="*/ 393 h 442"/>
                <a:gd name="T110" fmla="*/ 433 w 454"/>
                <a:gd name="T111" fmla="*/ 398 h 442"/>
                <a:gd name="T112" fmla="*/ 451 w 454"/>
                <a:gd name="T113" fmla="*/ 392 h 442"/>
                <a:gd name="T114" fmla="*/ 454 w 454"/>
                <a:gd name="T115" fmla="*/ 387 h 442"/>
                <a:gd name="T116" fmla="*/ 448 w 454"/>
                <a:gd name="T117" fmla="*/ 378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4" h="442">
                  <a:moveTo>
                    <a:pt x="448" y="378"/>
                  </a:moveTo>
                  <a:cubicBezTo>
                    <a:pt x="447" y="369"/>
                    <a:pt x="432" y="365"/>
                    <a:pt x="432" y="365"/>
                  </a:cubicBezTo>
                  <a:cubicBezTo>
                    <a:pt x="428" y="346"/>
                    <a:pt x="428" y="346"/>
                    <a:pt x="428" y="346"/>
                  </a:cubicBezTo>
                  <a:cubicBezTo>
                    <a:pt x="428" y="346"/>
                    <a:pt x="423" y="346"/>
                    <a:pt x="415" y="340"/>
                  </a:cubicBezTo>
                  <a:cubicBezTo>
                    <a:pt x="407" y="334"/>
                    <a:pt x="415" y="295"/>
                    <a:pt x="415" y="295"/>
                  </a:cubicBezTo>
                  <a:cubicBezTo>
                    <a:pt x="393" y="270"/>
                    <a:pt x="393" y="270"/>
                    <a:pt x="393" y="270"/>
                  </a:cubicBezTo>
                  <a:cubicBezTo>
                    <a:pt x="393" y="270"/>
                    <a:pt x="391" y="258"/>
                    <a:pt x="380" y="258"/>
                  </a:cubicBezTo>
                  <a:cubicBezTo>
                    <a:pt x="369" y="258"/>
                    <a:pt x="348" y="240"/>
                    <a:pt x="348" y="240"/>
                  </a:cubicBezTo>
                  <a:cubicBezTo>
                    <a:pt x="335" y="239"/>
                    <a:pt x="335" y="239"/>
                    <a:pt x="335" y="239"/>
                  </a:cubicBezTo>
                  <a:cubicBezTo>
                    <a:pt x="335" y="212"/>
                    <a:pt x="335" y="212"/>
                    <a:pt x="335" y="212"/>
                  </a:cubicBezTo>
                  <a:cubicBezTo>
                    <a:pt x="335" y="212"/>
                    <a:pt x="293" y="191"/>
                    <a:pt x="291" y="182"/>
                  </a:cubicBezTo>
                  <a:cubicBezTo>
                    <a:pt x="289" y="173"/>
                    <a:pt x="299" y="168"/>
                    <a:pt x="299" y="168"/>
                  </a:cubicBezTo>
                  <a:cubicBezTo>
                    <a:pt x="299" y="168"/>
                    <a:pt x="290" y="161"/>
                    <a:pt x="291" y="154"/>
                  </a:cubicBezTo>
                  <a:cubicBezTo>
                    <a:pt x="292" y="147"/>
                    <a:pt x="305" y="148"/>
                    <a:pt x="305" y="148"/>
                  </a:cubicBezTo>
                  <a:cubicBezTo>
                    <a:pt x="304" y="135"/>
                    <a:pt x="304" y="135"/>
                    <a:pt x="304" y="135"/>
                  </a:cubicBezTo>
                  <a:cubicBezTo>
                    <a:pt x="305" y="126"/>
                    <a:pt x="305" y="126"/>
                    <a:pt x="305" y="126"/>
                  </a:cubicBezTo>
                  <a:cubicBezTo>
                    <a:pt x="305" y="126"/>
                    <a:pt x="315" y="126"/>
                    <a:pt x="318" y="118"/>
                  </a:cubicBezTo>
                  <a:cubicBezTo>
                    <a:pt x="321" y="110"/>
                    <a:pt x="307" y="101"/>
                    <a:pt x="307" y="97"/>
                  </a:cubicBezTo>
                  <a:cubicBezTo>
                    <a:pt x="307" y="93"/>
                    <a:pt x="323" y="84"/>
                    <a:pt x="318" y="80"/>
                  </a:cubicBezTo>
                  <a:cubicBezTo>
                    <a:pt x="313" y="76"/>
                    <a:pt x="299" y="85"/>
                    <a:pt x="299" y="85"/>
                  </a:cubicBezTo>
                  <a:cubicBezTo>
                    <a:pt x="288" y="73"/>
                    <a:pt x="288" y="73"/>
                    <a:pt x="288" y="73"/>
                  </a:cubicBezTo>
                  <a:cubicBezTo>
                    <a:pt x="274" y="71"/>
                    <a:pt x="274" y="71"/>
                    <a:pt x="274" y="71"/>
                  </a:cubicBezTo>
                  <a:cubicBezTo>
                    <a:pt x="274" y="71"/>
                    <a:pt x="277" y="61"/>
                    <a:pt x="265" y="50"/>
                  </a:cubicBezTo>
                  <a:cubicBezTo>
                    <a:pt x="256" y="42"/>
                    <a:pt x="251" y="19"/>
                    <a:pt x="249" y="8"/>
                  </a:cubicBezTo>
                  <a:cubicBezTo>
                    <a:pt x="222" y="19"/>
                    <a:pt x="222" y="19"/>
                    <a:pt x="222" y="19"/>
                  </a:cubicBezTo>
                  <a:cubicBezTo>
                    <a:pt x="222" y="19"/>
                    <a:pt x="224" y="2"/>
                    <a:pt x="210" y="1"/>
                  </a:cubicBezTo>
                  <a:cubicBezTo>
                    <a:pt x="196" y="0"/>
                    <a:pt x="204" y="8"/>
                    <a:pt x="196" y="10"/>
                  </a:cubicBezTo>
                  <a:cubicBezTo>
                    <a:pt x="188" y="12"/>
                    <a:pt x="179" y="1"/>
                    <a:pt x="179" y="1"/>
                  </a:cubicBezTo>
                  <a:cubicBezTo>
                    <a:pt x="153" y="1"/>
                    <a:pt x="153" y="1"/>
                    <a:pt x="153" y="1"/>
                  </a:cubicBezTo>
                  <a:cubicBezTo>
                    <a:pt x="153" y="1"/>
                    <a:pt x="154" y="14"/>
                    <a:pt x="142" y="17"/>
                  </a:cubicBezTo>
                  <a:cubicBezTo>
                    <a:pt x="141" y="17"/>
                    <a:pt x="141" y="17"/>
                    <a:pt x="140" y="17"/>
                  </a:cubicBezTo>
                  <a:cubicBezTo>
                    <a:pt x="138" y="24"/>
                    <a:pt x="133" y="33"/>
                    <a:pt x="124" y="37"/>
                  </a:cubicBezTo>
                  <a:cubicBezTo>
                    <a:pt x="108" y="44"/>
                    <a:pt x="96" y="39"/>
                    <a:pt x="92" y="53"/>
                  </a:cubicBezTo>
                  <a:cubicBezTo>
                    <a:pt x="88" y="67"/>
                    <a:pt x="103" y="75"/>
                    <a:pt x="103" y="75"/>
                  </a:cubicBezTo>
                  <a:cubicBezTo>
                    <a:pt x="103" y="75"/>
                    <a:pt x="111" y="105"/>
                    <a:pt x="107" y="110"/>
                  </a:cubicBezTo>
                  <a:cubicBezTo>
                    <a:pt x="103" y="115"/>
                    <a:pt x="97" y="122"/>
                    <a:pt x="98" y="129"/>
                  </a:cubicBezTo>
                  <a:cubicBezTo>
                    <a:pt x="99" y="136"/>
                    <a:pt x="116" y="145"/>
                    <a:pt x="104" y="154"/>
                  </a:cubicBezTo>
                  <a:cubicBezTo>
                    <a:pt x="92" y="163"/>
                    <a:pt x="43" y="181"/>
                    <a:pt x="43" y="181"/>
                  </a:cubicBezTo>
                  <a:cubicBezTo>
                    <a:pt x="0" y="216"/>
                    <a:pt x="0" y="216"/>
                    <a:pt x="0" y="216"/>
                  </a:cubicBezTo>
                  <a:cubicBezTo>
                    <a:pt x="0" y="216"/>
                    <a:pt x="0" y="216"/>
                    <a:pt x="0" y="216"/>
                  </a:cubicBezTo>
                  <a:cubicBezTo>
                    <a:pt x="12" y="246"/>
                    <a:pt x="12" y="246"/>
                    <a:pt x="12" y="246"/>
                  </a:cubicBezTo>
                  <a:cubicBezTo>
                    <a:pt x="12" y="260"/>
                    <a:pt x="12" y="260"/>
                    <a:pt x="12" y="260"/>
                  </a:cubicBezTo>
                  <a:cubicBezTo>
                    <a:pt x="29" y="269"/>
                    <a:pt x="29" y="269"/>
                    <a:pt x="29" y="269"/>
                  </a:cubicBezTo>
                  <a:cubicBezTo>
                    <a:pt x="28" y="278"/>
                    <a:pt x="28" y="278"/>
                    <a:pt x="28" y="278"/>
                  </a:cubicBezTo>
                  <a:cubicBezTo>
                    <a:pt x="28" y="278"/>
                    <a:pt x="35" y="288"/>
                    <a:pt x="44" y="287"/>
                  </a:cubicBezTo>
                  <a:cubicBezTo>
                    <a:pt x="53" y="286"/>
                    <a:pt x="78" y="287"/>
                    <a:pt x="78" y="287"/>
                  </a:cubicBezTo>
                  <a:cubicBezTo>
                    <a:pt x="78" y="287"/>
                    <a:pt x="115" y="315"/>
                    <a:pt x="127" y="321"/>
                  </a:cubicBezTo>
                  <a:cubicBezTo>
                    <a:pt x="139" y="327"/>
                    <a:pt x="160" y="341"/>
                    <a:pt x="160" y="341"/>
                  </a:cubicBezTo>
                  <a:cubicBezTo>
                    <a:pt x="288" y="438"/>
                    <a:pt x="288" y="438"/>
                    <a:pt x="288" y="438"/>
                  </a:cubicBezTo>
                  <a:cubicBezTo>
                    <a:pt x="288" y="438"/>
                    <a:pt x="339" y="439"/>
                    <a:pt x="376" y="442"/>
                  </a:cubicBezTo>
                  <a:cubicBezTo>
                    <a:pt x="376" y="442"/>
                    <a:pt x="376" y="442"/>
                    <a:pt x="376" y="442"/>
                  </a:cubicBezTo>
                  <a:cubicBezTo>
                    <a:pt x="379" y="438"/>
                    <a:pt x="386" y="431"/>
                    <a:pt x="387" y="422"/>
                  </a:cubicBezTo>
                  <a:cubicBezTo>
                    <a:pt x="389" y="410"/>
                    <a:pt x="396" y="395"/>
                    <a:pt x="396" y="395"/>
                  </a:cubicBezTo>
                  <a:cubicBezTo>
                    <a:pt x="411" y="393"/>
                    <a:pt x="411" y="393"/>
                    <a:pt x="411" y="393"/>
                  </a:cubicBezTo>
                  <a:cubicBezTo>
                    <a:pt x="431" y="393"/>
                    <a:pt x="431" y="393"/>
                    <a:pt x="431" y="393"/>
                  </a:cubicBezTo>
                  <a:cubicBezTo>
                    <a:pt x="433" y="398"/>
                    <a:pt x="433" y="398"/>
                    <a:pt x="433" y="398"/>
                  </a:cubicBezTo>
                  <a:cubicBezTo>
                    <a:pt x="451" y="392"/>
                    <a:pt x="451" y="392"/>
                    <a:pt x="451" y="392"/>
                  </a:cubicBezTo>
                  <a:cubicBezTo>
                    <a:pt x="454" y="387"/>
                    <a:pt x="454" y="387"/>
                    <a:pt x="454" y="387"/>
                  </a:cubicBezTo>
                  <a:cubicBezTo>
                    <a:pt x="451" y="384"/>
                    <a:pt x="448" y="381"/>
                    <a:pt x="448" y="378"/>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88" name="Freeform 49"/>
            <p:cNvSpPr>
              <a:spLocks/>
            </p:cNvSpPr>
            <p:nvPr/>
          </p:nvSpPr>
          <p:spPr bwMode="gray">
            <a:xfrm>
              <a:off x="5443538" y="3071813"/>
              <a:ext cx="49212" cy="46038"/>
            </a:xfrm>
            <a:custGeom>
              <a:avLst/>
              <a:gdLst>
                <a:gd name="T0" fmla="*/ 35 w 89"/>
                <a:gd name="T1" fmla="*/ 0 h 81"/>
                <a:gd name="T2" fmla="*/ 20 w 89"/>
                <a:gd name="T3" fmla="*/ 2 h 81"/>
                <a:gd name="T4" fmla="*/ 11 w 89"/>
                <a:gd name="T5" fmla="*/ 29 h 81"/>
                <a:gd name="T6" fmla="*/ 0 w 89"/>
                <a:gd name="T7" fmla="*/ 49 h 81"/>
                <a:gd name="T8" fmla="*/ 40 w 89"/>
                <a:gd name="T9" fmla="*/ 55 h 81"/>
                <a:gd name="T10" fmla="*/ 50 w 89"/>
                <a:gd name="T11" fmla="*/ 81 h 81"/>
                <a:gd name="T12" fmla="*/ 89 w 89"/>
                <a:gd name="T13" fmla="*/ 80 h 81"/>
                <a:gd name="T14" fmla="*/ 64 w 89"/>
                <a:gd name="T15" fmla="*/ 47 h 81"/>
                <a:gd name="T16" fmla="*/ 64 w 89"/>
                <a:gd name="T17" fmla="*/ 46 h 81"/>
                <a:gd name="T18" fmla="*/ 56 w 89"/>
                <a:gd name="T19" fmla="*/ 41 h 81"/>
                <a:gd name="T20" fmla="*/ 55 w 89"/>
                <a:gd name="T21" fmla="*/ 27 h 81"/>
                <a:gd name="T22" fmla="*/ 73 w 89"/>
                <a:gd name="T23" fmla="*/ 25 h 81"/>
                <a:gd name="T24" fmla="*/ 77 w 89"/>
                <a:gd name="T25" fmla="*/ 16 h 81"/>
                <a:gd name="T26" fmla="*/ 68 w 89"/>
                <a:gd name="T27" fmla="*/ 8 h 81"/>
                <a:gd name="T28" fmla="*/ 59 w 89"/>
                <a:gd name="T29" fmla="*/ 13 h 81"/>
                <a:gd name="T30" fmla="*/ 55 w 89"/>
                <a:gd name="T31" fmla="*/ 0 h 81"/>
                <a:gd name="T32" fmla="*/ 35 w 89"/>
                <a:gd name="T33" fmla="*/ 0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 h="81">
                  <a:moveTo>
                    <a:pt x="35" y="0"/>
                  </a:moveTo>
                  <a:cubicBezTo>
                    <a:pt x="20" y="2"/>
                    <a:pt x="20" y="2"/>
                    <a:pt x="20" y="2"/>
                  </a:cubicBezTo>
                  <a:cubicBezTo>
                    <a:pt x="20" y="2"/>
                    <a:pt x="13" y="17"/>
                    <a:pt x="11" y="29"/>
                  </a:cubicBezTo>
                  <a:cubicBezTo>
                    <a:pt x="10" y="38"/>
                    <a:pt x="3" y="45"/>
                    <a:pt x="0" y="49"/>
                  </a:cubicBezTo>
                  <a:cubicBezTo>
                    <a:pt x="21" y="50"/>
                    <a:pt x="38" y="52"/>
                    <a:pt x="40" y="55"/>
                  </a:cubicBezTo>
                  <a:cubicBezTo>
                    <a:pt x="46" y="62"/>
                    <a:pt x="36" y="80"/>
                    <a:pt x="50" y="81"/>
                  </a:cubicBezTo>
                  <a:cubicBezTo>
                    <a:pt x="58" y="81"/>
                    <a:pt x="76" y="81"/>
                    <a:pt x="89" y="80"/>
                  </a:cubicBezTo>
                  <a:cubicBezTo>
                    <a:pt x="79" y="72"/>
                    <a:pt x="63" y="58"/>
                    <a:pt x="64" y="47"/>
                  </a:cubicBezTo>
                  <a:cubicBezTo>
                    <a:pt x="64" y="47"/>
                    <a:pt x="64" y="47"/>
                    <a:pt x="64" y="46"/>
                  </a:cubicBezTo>
                  <a:cubicBezTo>
                    <a:pt x="56" y="41"/>
                    <a:pt x="56" y="41"/>
                    <a:pt x="56" y="41"/>
                  </a:cubicBezTo>
                  <a:cubicBezTo>
                    <a:pt x="55" y="27"/>
                    <a:pt x="55" y="27"/>
                    <a:pt x="55" y="27"/>
                  </a:cubicBezTo>
                  <a:cubicBezTo>
                    <a:pt x="55" y="27"/>
                    <a:pt x="69" y="25"/>
                    <a:pt x="73" y="25"/>
                  </a:cubicBezTo>
                  <a:cubicBezTo>
                    <a:pt x="77" y="25"/>
                    <a:pt x="77" y="16"/>
                    <a:pt x="77" y="16"/>
                  </a:cubicBezTo>
                  <a:cubicBezTo>
                    <a:pt x="77" y="16"/>
                    <a:pt x="77" y="8"/>
                    <a:pt x="68" y="8"/>
                  </a:cubicBezTo>
                  <a:cubicBezTo>
                    <a:pt x="59" y="8"/>
                    <a:pt x="59" y="13"/>
                    <a:pt x="59" y="13"/>
                  </a:cubicBezTo>
                  <a:cubicBezTo>
                    <a:pt x="55" y="0"/>
                    <a:pt x="55" y="0"/>
                    <a:pt x="55" y="0"/>
                  </a:cubicBezTo>
                  <a:lnTo>
                    <a:pt x="35" y="0"/>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89" name="Freeform 50"/>
            <p:cNvSpPr>
              <a:spLocks/>
            </p:cNvSpPr>
            <p:nvPr/>
          </p:nvSpPr>
          <p:spPr bwMode="gray">
            <a:xfrm>
              <a:off x="5341938" y="2778125"/>
              <a:ext cx="536575" cy="441325"/>
            </a:xfrm>
            <a:custGeom>
              <a:avLst/>
              <a:gdLst>
                <a:gd name="T0" fmla="*/ 900 w 959"/>
                <a:gd name="T1" fmla="*/ 739 h 789"/>
                <a:gd name="T2" fmla="*/ 931 w 959"/>
                <a:gd name="T3" fmla="*/ 708 h 789"/>
                <a:gd name="T4" fmla="*/ 933 w 959"/>
                <a:gd name="T5" fmla="*/ 673 h 789"/>
                <a:gd name="T6" fmla="*/ 929 w 959"/>
                <a:gd name="T7" fmla="*/ 621 h 789"/>
                <a:gd name="T8" fmla="*/ 884 w 959"/>
                <a:gd name="T9" fmla="*/ 609 h 789"/>
                <a:gd name="T10" fmla="*/ 825 w 959"/>
                <a:gd name="T11" fmla="*/ 533 h 789"/>
                <a:gd name="T12" fmla="*/ 839 w 959"/>
                <a:gd name="T13" fmla="*/ 453 h 789"/>
                <a:gd name="T14" fmla="*/ 784 w 959"/>
                <a:gd name="T15" fmla="*/ 364 h 789"/>
                <a:gd name="T16" fmla="*/ 780 w 959"/>
                <a:gd name="T17" fmla="*/ 315 h 789"/>
                <a:gd name="T18" fmla="*/ 784 w 959"/>
                <a:gd name="T19" fmla="*/ 280 h 789"/>
                <a:gd name="T20" fmla="*/ 799 w 959"/>
                <a:gd name="T21" fmla="*/ 225 h 789"/>
                <a:gd name="T22" fmla="*/ 786 w 959"/>
                <a:gd name="T23" fmla="*/ 189 h 789"/>
                <a:gd name="T24" fmla="*/ 723 w 959"/>
                <a:gd name="T25" fmla="*/ 149 h 789"/>
                <a:gd name="T26" fmla="*/ 648 w 959"/>
                <a:gd name="T27" fmla="*/ 116 h 789"/>
                <a:gd name="T28" fmla="*/ 602 w 959"/>
                <a:gd name="T29" fmla="*/ 103 h 789"/>
                <a:gd name="T30" fmla="*/ 556 w 959"/>
                <a:gd name="T31" fmla="*/ 85 h 789"/>
                <a:gd name="T32" fmla="*/ 487 w 959"/>
                <a:gd name="T33" fmla="*/ 115 h 789"/>
                <a:gd name="T34" fmla="*/ 452 w 959"/>
                <a:gd name="T35" fmla="*/ 133 h 789"/>
                <a:gd name="T36" fmla="*/ 399 w 959"/>
                <a:gd name="T37" fmla="*/ 164 h 789"/>
                <a:gd name="T38" fmla="*/ 309 w 959"/>
                <a:gd name="T39" fmla="*/ 155 h 789"/>
                <a:gd name="T40" fmla="*/ 233 w 959"/>
                <a:gd name="T41" fmla="*/ 110 h 789"/>
                <a:gd name="T42" fmla="*/ 199 w 959"/>
                <a:gd name="T43" fmla="*/ 69 h 789"/>
                <a:gd name="T44" fmla="*/ 181 w 959"/>
                <a:gd name="T45" fmla="*/ 33 h 789"/>
                <a:gd name="T46" fmla="*/ 128 w 959"/>
                <a:gd name="T47" fmla="*/ 35 h 789"/>
                <a:gd name="T48" fmla="*/ 45 w 959"/>
                <a:gd name="T49" fmla="*/ 30 h 789"/>
                <a:gd name="T50" fmla="*/ 0 w 959"/>
                <a:gd name="T51" fmla="*/ 24 h 789"/>
                <a:gd name="T52" fmla="*/ 24 w 959"/>
                <a:gd name="T53" fmla="*/ 78 h 789"/>
                <a:gd name="T54" fmla="*/ 37 w 959"/>
                <a:gd name="T55" fmla="*/ 129 h 789"/>
                <a:gd name="T56" fmla="*/ 79 w 959"/>
                <a:gd name="T57" fmla="*/ 203 h 789"/>
                <a:gd name="T58" fmla="*/ 123 w 959"/>
                <a:gd name="T59" fmla="*/ 212 h 789"/>
                <a:gd name="T60" fmla="*/ 110 w 959"/>
                <a:gd name="T61" fmla="*/ 258 h 789"/>
                <a:gd name="T62" fmla="*/ 96 w 959"/>
                <a:gd name="T63" fmla="*/ 286 h 789"/>
                <a:gd name="T64" fmla="*/ 140 w 959"/>
                <a:gd name="T65" fmla="*/ 344 h 789"/>
                <a:gd name="T66" fmla="*/ 185 w 959"/>
                <a:gd name="T67" fmla="*/ 390 h 789"/>
                <a:gd name="T68" fmla="*/ 220 w 959"/>
                <a:gd name="T69" fmla="*/ 472 h 789"/>
                <a:gd name="T70" fmla="*/ 253 w 959"/>
                <a:gd name="T71" fmla="*/ 510 h 789"/>
                <a:gd name="T72" fmla="*/ 298 w 959"/>
                <a:gd name="T73" fmla="*/ 516 h 789"/>
                <a:gd name="T74" fmla="*/ 316 w 959"/>
                <a:gd name="T75" fmla="*/ 524 h 789"/>
                <a:gd name="T76" fmla="*/ 338 w 959"/>
                <a:gd name="T77" fmla="*/ 541 h 789"/>
                <a:gd name="T78" fmla="*/ 371 w 959"/>
                <a:gd name="T79" fmla="*/ 583 h 789"/>
                <a:gd name="T80" fmla="*/ 387 w 959"/>
                <a:gd name="T81" fmla="*/ 600 h 789"/>
                <a:gd name="T82" fmla="*/ 431 w 959"/>
                <a:gd name="T83" fmla="*/ 644 h 789"/>
                <a:gd name="T84" fmla="*/ 526 w 959"/>
                <a:gd name="T85" fmla="*/ 703 h 789"/>
                <a:gd name="T86" fmla="*/ 565 w 959"/>
                <a:gd name="T87" fmla="*/ 715 h 789"/>
                <a:gd name="T88" fmla="*/ 606 w 959"/>
                <a:gd name="T89" fmla="*/ 691 h 789"/>
                <a:gd name="T90" fmla="*/ 641 w 959"/>
                <a:gd name="T91" fmla="*/ 682 h 789"/>
                <a:gd name="T92" fmla="*/ 718 w 959"/>
                <a:gd name="T93" fmla="*/ 752 h 789"/>
                <a:gd name="T94" fmla="*/ 805 w 959"/>
                <a:gd name="T95" fmla="*/ 781 h 789"/>
                <a:gd name="T96" fmla="*/ 889 w 959"/>
                <a:gd name="T97" fmla="*/ 786 h 7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59" h="789">
                  <a:moveTo>
                    <a:pt x="890" y="786"/>
                  </a:moveTo>
                  <a:cubicBezTo>
                    <a:pt x="889" y="779"/>
                    <a:pt x="885" y="751"/>
                    <a:pt x="890" y="749"/>
                  </a:cubicBezTo>
                  <a:cubicBezTo>
                    <a:pt x="896" y="746"/>
                    <a:pt x="900" y="739"/>
                    <a:pt x="900" y="739"/>
                  </a:cubicBezTo>
                  <a:cubicBezTo>
                    <a:pt x="902" y="728"/>
                    <a:pt x="902" y="728"/>
                    <a:pt x="902" y="728"/>
                  </a:cubicBezTo>
                  <a:cubicBezTo>
                    <a:pt x="902" y="728"/>
                    <a:pt x="911" y="730"/>
                    <a:pt x="915" y="724"/>
                  </a:cubicBezTo>
                  <a:cubicBezTo>
                    <a:pt x="919" y="718"/>
                    <a:pt x="913" y="714"/>
                    <a:pt x="931" y="708"/>
                  </a:cubicBezTo>
                  <a:cubicBezTo>
                    <a:pt x="949" y="702"/>
                    <a:pt x="951" y="715"/>
                    <a:pt x="955" y="710"/>
                  </a:cubicBezTo>
                  <a:cubicBezTo>
                    <a:pt x="959" y="705"/>
                    <a:pt x="958" y="689"/>
                    <a:pt x="950" y="678"/>
                  </a:cubicBezTo>
                  <a:cubicBezTo>
                    <a:pt x="942" y="667"/>
                    <a:pt x="936" y="680"/>
                    <a:pt x="933" y="673"/>
                  </a:cubicBezTo>
                  <a:cubicBezTo>
                    <a:pt x="930" y="666"/>
                    <a:pt x="931" y="643"/>
                    <a:pt x="931" y="643"/>
                  </a:cubicBezTo>
                  <a:cubicBezTo>
                    <a:pt x="928" y="641"/>
                    <a:pt x="928" y="641"/>
                    <a:pt x="928" y="641"/>
                  </a:cubicBezTo>
                  <a:cubicBezTo>
                    <a:pt x="929" y="621"/>
                    <a:pt x="929" y="621"/>
                    <a:pt x="929" y="621"/>
                  </a:cubicBezTo>
                  <a:cubicBezTo>
                    <a:pt x="916" y="622"/>
                    <a:pt x="916" y="622"/>
                    <a:pt x="916" y="622"/>
                  </a:cubicBezTo>
                  <a:cubicBezTo>
                    <a:pt x="907" y="611"/>
                    <a:pt x="907" y="611"/>
                    <a:pt x="907" y="611"/>
                  </a:cubicBezTo>
                  <a:cubicBezTo>
                    <a:pt x="907" y="611"/>
                    <a:pt x="892" y="619"/>
                    <a:pt x="884" y="609"/>
                  </a:cubicBezTo>
                  <a:cubicBezTo>
                    <a:pt x="876" y="599"/>
                    <a:pt x="862" y="579"/>
                    <a:pt x="856" y="568"/>
                  </a:cubicBezTo>
                  <a:cubicBezTo>
                    <a:pt x="850" y="557"/>
                    <a:pt x="830" y="538"/>
                    <a:pt x="830" y="538"/>
                  </a:cubicBezTo>
                  <a:cubicBezTo>
                    <a:pt x="830" y="538"/>
                    <a:pt x="825" y="537"/>
                    <a:pt x="825" y="533"/>
                  </a:cubicBezTo>
                  <a:cubicBezTo>
                    <a:pt x="825" y="529"/>
                    <a:pt x="841" y="515"/>
                    <a:pt x="848" y="505"/>
                  </a:cubicBezTo>
                  <a:cubicBezTo>
                    <a:pt x="855" y="495"/>
                    <a:pt x="866" y="482"/>
                    <a:pt x="860" y="465"/>
                  </a:cubicBezTo>
                  <a:cubicBezTo>
                    <a:pt x="854" y="448"/>
                    <a:pt x="839" y="453"/>
                    <a:pt x="839" y="453"/>
                  </a:cubicBezTo>
                  <a:cubicBezTo>
                    <a:pt x="839" y="453"/>
                    <a:pt x="809" y="453"/>
                    <a:pt x="809" y="445"/>
                  </a:cubicBezTo>
                  <a:cubicBezTo>
                    <a:pt x="809" y="437"/>
                    <a:pt x="809" y="423"/>
                    <a:pt x="809" y="412"/>
                  </a:cubicBezTo>
                  <a:cubicBezTo>
                    <a:pt x="809" y="401"/>
                    <a:pt x="782" y="377"/>
                    <a:pt x="784" y="364"/>
                  </a:cubicBezTo>
                  <a:cubicBezTo>
                    <a:pt x="786" y="351"/>
                    <a:pt x="801" y="343"/>
                    <a:pt x="800" y="337"/>
                  </a:cubicBezTo>
                  <a:cubicBezTo>
                    <a:pt x="799" y="331"/>
                    <a:pt x="778" y="334"/>
                    <a:pt x="778" y="334"/>
                  </a:cubicBezTo>
                  <a:cubicBezTo>
                    <a:pt x="780" y="315"/>
                    <a:pt x="780" y="315"/>
                    <a:pt x="780" y="315"/>
                  </a:cubicBezTo>
                  <a:cubicBezTo>
                    <a:pt x="780" y="315"/>
                    <a:pt x="769" y="306"/>
                    <a:pt x="772" y="301"/>
                  </a:cubicBezTo>
                  <a:cubicBezTo>
                    <a:pt x="775" y="296"/>
                    <a:pt x="789" y="291"/>
                    <a:pt x="789" y="291"/>
                  </a:cubicBezTo>
                  <a:cubicBezTo>
                    <a:pt x="784" y="280"/>
                    <a:pt x="784" y="280"/>
                    <a:pt x="784" y="280"/>
                  </a:cubicBezTo>
                  <a:cubicBezTo>
                    <a:pt x="798" y="276"/>
                    <a:pt x="798" y="276"/>
                    <a:pt x="798" y="276"/>
                  </a:cubicBezTo>
                  <a:cubicBezTo>
                    <a:pt x="798" y="276"/>
                    <a:pt x="791" y="246"/>
                    <a:pt x="792" y="239"/>
                  </a:cubicBezTo>
                  <a:cubicBezTo>
                    <a:pt x="793" y="232"/>
                    <a:pt x="799" y="225"/>
                    <a:pt x="799" y="225"/>
                  </a:cubicBezTo>
                  <a:cubicBezTo>
                    <a:pt x="792" y="207"/>
                    <a:pt x="792" y="207"/>
                    <a:pt x="792" y="207"/>
                  </a:cubicBezTo>
                  <a:cubicBezTo>
                    <a:pt x="793" y="192"/>
                    <a:pt x="793" y="192"/>
                    <a:pt x="793" y="192"/>
                  </a:cubicBezTo>
                  <a:cubicBezTo>
                    <a:pt x="786" y="189"/>
                    <a:pt x="786" y="189"/>
                    <a:pt x="786" y="189"/>
                  </a:cubicBezTo>
                  <a:cubicBezTo>
                    <a:pt x="785" y="167"/>
                    <a:pt x="785" y="167"/>
                    <a:pt x="785" y="167"/>
                  </a:cubicBezTo>
                  <a:cubicBezTo>
                    <a:pt x="743" y="169"/>
                    <a:pt x="743" y="169"/>
                    <a:pt x="743" y="169"/>
                  </a:cubicBezTo>
                  <a:cubicBezTo>
                    <a:pt x="743" y="169"/>
                    <a:pt x="729" y="153"/>
                    <a:pt x="723" y="149"/>
                  </a:cubicBezTo>
                  <a:cubicBezTo>
                    <a:pt x="717" y="145"/>
                    <a:pt x="704" y="143"/>
                    <a:pt x="704" y="143"/>
                  </a:cubicBezTo>
                  <a:cubicBezTo>
                    <a:pt x="704" y="143"/>
                    <a:pt x="696" y="125"/>
                    <a:pt x="691" y="121"/>
                  </a:cubicBezTo>
                  <a:cubicBezTo>
                    <a:pt x="686" y="117"/>
                    <a:pt x="648" y="116"/>
                    <a:pt x="648" y="116"/>
                  </a:cubicBezTo>
                  <a:cubicBezTo>
                    <a:pt x="645" y="120"/>
                    <a:pt x="645" y="120"/>
                    <a:pt x="645" y="120"/>
                  </a:cubicBezTo>
                  <a:cubicBezTo>
                    <a:pt x="645" y="120"/>
                    <a:pt x="624" y="103"/>
                    <a:pt x="619" y="103"/>
                  </a:cubicBezTo>
                  <a:cubicBezTo>
                    <a:pt x="614" y="103"/>
                    <a:pt x="602" y="103"/>
                    <a:pt x="602" y="103"/>
                  </a:cubicBezTo>
                  <a:cubicBezTo>
                    <a:pt x="602" y="103"/>
                    <a:pt x="601" y="89"/>
                    <a:pt x="595" y="85"/>
                  </a:cubicBezTo>
                  <a:cubicBezTo>
                    <a:pt x="589" y="81"/>
                    <a:pt x="580" y="86"/>
                    <a:pt x="580" y="86"/>
                  </a:cubicBezTo>
                  <a:cubicBezTo>
                    <a:pt x="580" y="86"/>
                    <a:pt x="559" y="83"/>
                    <a:pt x="556" y="85"/>
                  </a:cubicBezTo>
                  <a:cubicBezTo>
                    <a:pt x="553" y="87"/>
                    <a:pt x="551" y="93"/>
                    <a:pt x="551" y="93"/>
                  </a:cubicBezTo>
                  <a:cubicBezTo>
                    <a:pt x="551" y="93"/>
                    <a:pt x="535" y="88"/>
                    <a:pt x="524" y="90"/>
                  </a:cubicBezTo>
                  <a:cubicBezTo>
                    <a:pt x="513" y="92"/>
                    <a:pt x="487" y="115"/>
                    <a:pt x="487" y="115"/>
                  </a:cubicBezTo>
                  <a:cubicBezTo>
                    <a:pt x="487" y="123"/>
                    <a:pt x="487" y="123"/>
                    <a:pt x="487" y="123"/>
                  </a:cubicBezTo>
                  <a:cubicBezTo>
                    <a:pt x="487" y="123"/>
                    <a:pt x="476" y="132"/>
                    <a:pt x="472" y="133"/>
                  </a:cubicBezTo>
                  <a:cubicBezTo>
                    <a:pt x="468" y="134"/>
                    <a:pt x="452" y="133"/>
                    <a:pt x="452" y="133"/>
                  </a:cubicBezTo>
                  <a:cubicBezTo>
                    <a:pt x="452" y="133"/>
                    <a:pt x="472" y="159"/>
                    <a:pt x="460" y="161"/>
                  </a:cubicBezTo>
                  <a:cubicBezTo>
                    <a:pt x="448" y="163"/>
                    <a:pt x="437" y="156"/>
                    <a:pt x="437" y="156"/>
                  </a:cubicBezTo>
                  <a:cubicBezTo>
                    <a:pt x="437" y="156"/>
                    <a:pt x="412" y="161"/>
                    <a:pt x="399" y="164"/>
                  </a:cubicBezTo>
                  <a:cubicBezTo>
                    <a:pt x="386" y="167"/>
                    <a:pt x="379" y="176"/>
                    <a:pt x="371" y="175"/>
                  </a:cubicBezTo>
                  <a:cubicBezTo>
                    <a:pt x="363" y="174"/>
                    <a:pt x="355" y="165"/>
                    <a:pt x="345" y="165"/>
                  </a:cubicBezTo>
                  <a:cubicBezTo>
                    <a:pt x="335" y="165"/>
                    <a:pt x="323" y="165"/>
                    <a:pt x="309" y="155"/>
                  </a:cubicBezTo>
                  <a:cubicBezTo>
                    <a:pt x="295" y="145"/>
                    <a:pt x="287" y="128"/>
                    <a:pt x="287" y="128"/>
                  </a:cubicBezTo>
                  <a:cubicBezTo>
                    <a:pt x="287" y="128"/>
                    <a:pt x="258" y="125"/>
                    <a:pt x="255" y="125"/>
                  </a:cubicBezTo>
                  <a:cubicBezTo>
                    <a:pt x="252" y="125"/>
                    <a:pt x="240" y="118"/>
                    <a:pt x="233" y="110"/>
                  </a:cubicBezTo>
                  <a:cubicBezTo>
                    <a:pt x="226" y="102"/>
                    <a:pt x="218" y="80"/>
                    <a:pt x="218" y="80"/>
                  </a:cubicBezTo>
                  <a:cubicBezTo>
                    <a:pt x="208" y="78"/>
                    <a:pt x="208" y="78"/>
                    <a:pt x="208" y="78"/>
                  </a:cubicBezTo>
                  <a:cubicBezTo>
                    <a:pt x="208" y="78"/>
                    <a:pt x="205" y="72"/>
                    <a:pt x="199" y="69"/>
                  </a:cubicBezTo>
                  <a:cubicBezTo>
                    <a:pt x="193" y="66"/>
                    <a:pt x="180" y="58"/>
                    <a:pt x="180" y="53"/>
                  </a:cubicBezTo>
                  <a:cubicBezTo>
                    <a:pt x="180" y="48"/>
                    <a:pt x="190" y="52"/>
                    <a:pt x="190" y="46"/>
                  </a:cubicBezTo>
                  <a:cubicBezTo>
                    <a:pt x="190" y="40"/>
                    <a:pt x="181" y="38"/>
                    <a:pt x="181" y="33"/>
                  </a:cubicBezTo>
                  <a:cubicBezTo>
                    <a:pt x="181" y="28"/>
                    <a:pt x="190" y="28"/>
                    <a:pt x="188" y="22"/>
                  </a:cubicBezTo>
                  <a:cubicBezTo>
                    <a:pt x="186" y="16"/>
                    <a:pt x="179" y="4"/>
                    <a:pt x="173" y="4"/>
                  </a:cubicBezTo>
                  <a:cubicBezTo>
                    <a:pt x="167" y="4"/>
                    <a:pt x="131" y="31"/>
                    <a:pt x="128" y="35"/>
                  </a:cubicBezTo>
                  <a:cubicBezTo>
                    <a:pt x="125" y="39"/>
                    <a:pt x="117" y="50"/>
                    <a:pt x="114" y="51"/>
                  </a:cubicBezTo>
                  <a:cubicBezTo>
                    <a:pt x="111" y="52"/>
                    <a:pt x="102" y="52"/>
                    <a:pt x="87" y="52"/>
                  </a:cubicBezTo>
                  <a:cubicBezTo>
                    <a:pt x="72" y="52"/>
                    <a:pt x="55" y="38"/>
                    <a:pt x="45" y="30"/>
                  </a:cubicBezTo>
                  <a:cubicBezTo>
                    <a:pt x="35" y="22"/>
                    <a:pt x="38" y="4"/>
                    <a:pt x="29" y="2"/>
                  </a:cubicBezTo>
                  <a:cubicBezTo>
                    <a:pt x="20" y="0"/>
                    <a:pt x="16" y="22"/>
                    <a:pt x="16" y="22"/>
                  </a:cubicBezTo>
                  <a:cubicBezTo>
                    <a:pt x="0" y="24"/>
                    <a:pt x="0" y="24"/>
                    <a:pt x="0" y="24"/>
                  </a:cubicBezTo>
                  <a:cubicBezTo>
                    <a:pt x="11" y="40"/>
                    <a:pt x="11" y="40"/>
                    <a:pt x="11" y="40"/>
                  </a:cubicBezTo>
                  <a:cubicBezTo>
                    <a:pt x="12" y="55"/>
                    <a:pt x="12" y="55"/>
                    <a:pt x="12" y="55"/>
                  </a:cubicBezTo>
                  <a:cubicBezTo>
                    <a:pt x="12" y="55"/>
                    <a:pt x="19" y="76"/>
                    <a:pt x="24" y="78"/>
                  </a:cubicBezTo>
                  <a:cubicBezTo>
                    <a:pt x="29" y="80"/>
                    <a:pt x="16" y="99"/>
                    <a:pt x="16" y="99"/>
                  </a:cubicBezTo>
                  <a:cubicBezTo>
                    <a:pt x="37" y="111"/>
                    <a:pt x="37" y="111"/>
                    <a:pt x="37" y="111"/>
                  </a:cubicBezTo>
                  <a:cubicBezTo>
                    <a:pt x="37" y="129"/>
                    <a:pt x="37" y="129"/>
                    <a:pt x="37" y="129"/>
                  </a:cubicBezTo>
                  <a:cubicBezTo>
                    <a:pt x="53" y="134"/>
                    <a:pt x="53" y="134"/>
                    <a:pt x="53" y="134"/>
                  </a:cubicBezTo>
                  <a:cubicBezTo>
                    <a:pt x="53" y="134"/>
                    <a:pt x="58" y="171"/>
                    <a:pt x="70" y="182"/>
                  </a:cubicBezTo>
                  <a:cubicBezTo>
                    <a:pt x="82" y="193"/>
                    <a:pt x="79" y="203"/>
                    <a:pt x="79" y="203"/>
                  </a:cubicBezTo>
                  <a:cubicBezTo>
                    <a:pt x="93" y="205"/>
                    <a:pt x="93" y="205"/>
                    <a:pt x="93" y="205"/>
                  </a:cubicBezTo>
                  <a:cubicBezTo>
                    <a:pt x="104" y="217"/>
                    <a:pt x="104" y="217"/>
                    <a:pt x="104" y="217"/>
                  </a:cubicBezTo>
                  <a:cubicBezTo>
                    <a:pt x="104" y="217"/>
                    <a:pt x="118" y="208"/>
                    <a:pt x="123" y="212"/>
                  </a:cubicBezTo>
                  <a:cubicBezTo>
                    <a:pt x="128" y="216"/>
                    <a:pt x="112" y="225"/>
                    <a:pt x="112" y="229"/>
                  </a:cubicBezTo>
                  <a:cubicBezTo>
                    <a:pt x="112" y="233"/>
                    <a:pt x="126" y="242"/>
                    <a:pt x="123" y="250"/>
                  </a:cubicBezTo>
                  <a:cubicBezTo>
                    <a:pt x="120" y="258"/>
                    <a:pt x="110" y="258"/>
                    <a:pt x="110" y="258"/>
                  </a:cubicBezTo>
                  <a:cubicBezTo>
                    <a:pt x="109" y="267"/>
                    <a:pt x="109" y="267"/>
                    <a:pt x="109" y="267"/>
                  </a:cubicBezTo>
                  <a:cubicBezTo>
                    <a:pt x="110" y="280"/>
                    <a:pt x="110" y="280"/>
                    <a:pt x="110" y="280"/>
                  </a:cubicBezTo>
                  <a:cubicBezTo>
                    <a:pt x="110" y="280"/>
                    <a:pt x="97" y="279"/>
                    <a:pt x="96" y="286"/>
                  </a:cubicBezTo>
                  <a:cubicBezTo>
                    <a:pt x="95" y="293"/>
                    <a:pt x="104" y="300"/>
                    <a:pt x="104" y="300"/>
                  </a:cubicBezTo>
                  <a:cubicBezTo>
                    <a:pt x="104" y="300"/>
                    <a:pt x="94" y="305"/>
                    <a:pt x="96" y="314"/>
                  </a:cubicBezTo>
                  <a:cubicBezTo>
                    <a:pt x="98" y="323"/>
                    <a:pt x="140" y="344"/>
                    <a:pt x="140" y="344"/>
                  </a:cubicBezTo>
                  <a:cubicBezTo>
                    <a:pt x="140" y="371"/>
                    <a:pt x="140" y="371"/>
                    <a:pt x="140" y="371"/>
                  </a:cubicBezTo>
                  <a:cubicBezTo>
                    <a:pt x="153" y="372"/>
                    <a:pt x="153" y="372"/>
                    <a:pt x="153" y="372"/>
                  </a:cubicBezTo>
                  <a:cubicBezTo>
                    <a:pt x="153" y="372"/>
                    <a:pt x="174" y="390"/>
                    <a:pt x="185" y="390"/>
                  </a:cubicBezTo>
                  <a:cubicBezTo>
                    <a:pt x="196" y="390"/>
                    <a:pt x="198" y="402"/>
                    <a:pt x="198" y="402"/>
                  </a:cubicBezTo>
                  <a:cubicBezTo>
                    <a:pt x="220" y="427"/>
                    <a:pt x="220" y="427"/>
                    <a:pt x="220" y="427"/>
                  </a:cubicBezTo>
                  <a:cubicBezTo>
                    <a:pt x="220" y="427"/>
                    <a:pt x="212" y="466"/>
                    <a:pt x="220" y="472"/>
                  </a:cubicBezTo>
                  <a:cubicBezTo>
                    <a:pt x="228" y="478"/>
                    <a:pt x="233" y="478"/>
                    <a:pt x="233" y="478"/>
                  </a:cubicBezTo>
                  <a:cubicBezTo>
                    <a:pt x="237" y="497"/>
                    <a:pt x="237" y="497"/>
                    <a:pt x="237" y="497"/>
                  </a:cubicBezTo>
                  <a:cubicBezTo>
                    <a:pt x="237" y="497"/>
                    <a:pt x="252" y="501"/>
                    <a:pt x="253" y="510"/>
                  </a:cubicBezTo>
                  <a:cubicBezTo>
                    <a:pt x="254" y="519"/>
                    <a:pt x="275" y="533"/>
                    <a:pt x="282" y="528"/>
                  </a:cubicBezTo>
                  <a:cubicBezTo>
                    <a:pt x="289" y="523"/>
                    <a:pt x="267" y="512"/>
                    <a:pt x="283" y="505"/>
                  </a:cubicBezTo>
                  <a:cubicBezTo>
                    <a:pt x="299" y="498"/>
                    <a:pt x="298" y="516"/>
                    <a:pt x="298" y="516"/>
                  </a:cubicBezTo>
                  <a:cubicBezTo>
                    <a:pt x="305" y="522"/>
                    <a:pt x="305" y="522"/>
                    <a:pt x="305" y="522"/>
                  </a:cubicBezTo>
                  <a:cubicBezTo>
                    <a:pt x="306" y="521"/>
                    <a:pt x="308" y="521"/>
                    <a:pt x="311" y="522"/>
                  </a:cubicBezTo>
                  <a:cubicBezTo>
                    <a:pt x="313" y="523"/>
                    <a:pt x="314" y="523"/>
                    <a:pt x="316" y="524"/>
                  </a:cubicBezTo>
                  <a:cubicBezTo>
                    <a:pt x="317" y="523"/>
                    <a:pt x="318" y="521"/>
                    <a:pt x="318" y="520"/>
                  </a:cubicBezTo>
                  <a:cubicBezTo>
                    <a:pt x="319" y="516"/>
                    <a:pt x="330" y="513"/>
                    <a:pt x="333" y="515"/>
                  </a:cubicBezTo>
                  <a:cubicBezTo>
                    <a:pt x="336" y="517"/>
                    <a:pt x="331" y="538"/>
                    <a:pt x="338" y="541"/>
                  </a:cubicBezTo>
                  <a:cubicBezTo>
                    <a:pt x="345" y="544"/>
                    <a:pt x="360" y="555"/>
                    <a:pt x="360" y="555"/>
                  </a:cubicBezTo>
                  <a:cubicBezTo>
                    <a:pt x="360" y="555"/>
                    <a:pt x="358" y="560"/>
                    <a:pt x="358" y="565"/>
                  </a:cubicBezTo>
                  <a:cubicBezTo>
                    <a:pt x="363" y="571"/>
                    <a:pt x="368" y="577"/>
                    <a:pt x="371" y="583"/>
                  </a:cubicBezTo>
                  <a:cubicBezTo>
                    <a:pt x="371" y="583"/>
                    <a:pt x="371" y="583"/>
                    <a:pt x="371" y="583"/>
                  </a:cubicBezTo>
                  <a:cubicBezTo>
                    <a:pt x="375" y="585"/>
                    <a:pt x="378" y="587"/>
                    <a:pt x="378" y="587"/>
                  </a:cubicBezTo>
                  <a:cubicBezTo>
                    <a:pt x="387" y="600"/>
                    <a:pt x="387" y="600"/>
                    <a:pt x="387" y="600"/>
                  </a:cubicBezTo>
                  <a:cubicBezTo>
                    <a:pt x="387" y="600"/>
                    <a:pt x="389" y="624"/>
                    <a:pt x="399" y="626"/>
                  </a:cubicBezTo>
                  <a:cubicBezTo>
                    <a:pt x="409" y="628"/>
                    <a:pt x="409" y="644"/>
                    <a:pt x="409" y="644"/>
                  </a:cubicBezTo>
                  <a:cubicBezTo>
                    <a:pt x="431" y="644"/>
                    <a:pt x="431" y="644"/>
                    <a:pt x="431" y="644"/>
                  </a:cubicBezTo>
                  <a:cubicBezTo>
                    <a:pt x="443" y="656"/>
                    <a:pt x="443" y="656"/>
                    <a:pt x="443" y="656"/>
                  </a:cubicBezTo>
                  <a:cubicBezTo>
                    <a:pt x="451" y="654"/>
                    <a:pt x="458" y="652"/>
                    <a:pt x="465" y="656"/>
                  </a:cubicBezTo>
                  <a:cubicBezTo>
                    <a:pt x="475" y="661"/>
                    <a:pt x="504" y="686"/>
                    <a:pt x="526" y="703"/>
                  </a:cubicBezTo>
                  <a:cubicBezTo>
                    <a:pt x="527" y="704"/>
                    <a:pt x="528" y="704"/>
                    <a:pt x="529" y="704"/>
                  </a:cubicBezTo>
                  <a:cubicBezTo>
                    <a:pt x="535" y="704"/>
                    <a:pt x="546" y="706"/>
                    <a:pt x="546" y="706"/>
                  </a:cubicBezTo>
                  <a:cubicBezTo>
                    <a:pt x="546" y="706"/>
                    <a:pt x="549" y="720"/>
                    <a:pt x="565" y="715"/>
                  </a:cubicBezTo>
                  <a:cubicBezTo>
                    <a:pt x="581" y="710"/>
                    <a:pt x="584" y="703"/>
                    <a:pt x="584" y="703"/>
                  </a:cubicBezTo>
                  <a:cubicBezTo>
                    <a:pt x="600" y="705"/>
                    <a:pt x="600" y="705"/>
                    <a:pt x="600" y="705"/>
                  </a:cubicBezTo>
                  <a:cubicBezTo>
                    <a:pt x="606" y="691"/>
                    <a:pt x="606" y="691"/>
                    <a:pt x="606" y="691"/>
                  </a:cubicBezTo>
                  <a:cubicBezTo>
                    <a:pt x="620" y="689"/>
                    <a:pt x="620" y="689"/>
                    <a:pt x="620" y="689"/>
                  </a:cubicBezTo>
                  <a:cubicBezTo>
                    <a:pt x="636" y="674"/>
                    <a:pt x="636" y="674"/>
                    <a:pt x="636" y="674"/>
                  </a:cubicBezTo>
                  <a:cubicBezTo>
                    <a:pt x="641" y="682"/>
                    <a:pt x="641" y="682"/>
                    <a:pt x="641" y="682"/>
                  </a:cubicBezTo>
                  <a:cubicBezTo>
                    <a:pt x="649" y="680"/>
                    <a:pt x="656" y="679"/>
                    <a:pt x="659" y="683"/>
                  </a:cubicBezTo>
                  <a:cubicBezTo>
                    <a:pt x="672" y="694"/>
                    <a:pt x="686" y="717"/>
                    <a:pt x="688" y="735"/>
                  </a:cubicBezTo>
                  <a:cubicBezTo>
                    <a:pt x="690" y="754"/>
                    <a:pt x="718" y="752"/>
                    <a:pt x="718" y="752"/>
                  </a:cubicBezTo>
                  <a:cubicBezTo>
                    <a:pt x="718" y="752"/>
                    <a:pt x="717" y="759"/>
                    <a:pt x="730" y="762"/>
                  </a:cubicBezTo>
                  <a:cubicBezTo>
                    <a:pt x="743" y="765"/>
                    <a:pt x="774" y="761"/>
                    <a:pt x="774" y="761"/>
                  </a:cubicBezTo>
                  <a:cubicBezTo>
                    <a:pt x="774" y="761"/>
                    <a:pt x="800" y="781"/>
                    <a:pt x="805" y="781"/>
                  </a:cubicBezTo>
                  <a:cubicBezTo>
                    <a:pt x="810" y="781"/>
                    <a:pt x="828" y="772"/>
                    <a:pt x="828" y="772"/>
                  </a:cubicBezTo>
                  <a:cubicBezTo>
                    <a:pt x="828" y="772"/>
                    <a:pt x="854" y="788"/>
                    <a:pt x="872" y="789"/>
                  </a:cubicBezTo>
                  <a:cubicBezTo>
                    <a:pt x="878" y="789"/>
                    <a:pt x="884" y="788"/>
                    <a:pt x="889" y="786"/>
                  </a:cubicBezTo>
                  <a:lnTo>
                    <a:pt x="890" y="786"/>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90" name="Freeform 51"/>
            <p:cNvSpPr>
              <a:spLocks/>
            </p:cNvSpPr>
            <p:nvPr/>
          </p:nvSpPr>
          <p:spPr bwMode="gray">
            <a:xfrm>
              <a:off x="5916613" y="2741613"/>
              <a:ext cx="207962" cy="133350"/>
            </a:xfrm>
            <a:custGeom>
              <a:avLst/>
              <a:gdLst>
                <a:gd name="T0" fmla="*/ 345 w 372"/>
                <a:gd name="T1" fmla="*/ 142 h 238"/>
                <a:gd name="T2" fmla="*/ 291 w 372"/>
                <a:gd name="T3" fmla="*/ 132 h 238"/>
                <a:gd name="T4" fmla="*/ 275 w 372"/>
                <a:gd name="T5" fmla="*/ 99 h 238"/>
                <a:gd name="T6" fmla="*/ 266 w 372"/>
                <a:gd name="T7" fmla="*/ 79 h 238"/>
                <a:gd name="T8" fmla="*/ 230 w 372"/>
                <a:gd name="T9" fmla="*/ 87 h 238"/>
                <a:gd name="T10" fmla="*/ 210 w 372"/>
                <a:gd name="T11" fmla="*/ 90 h 238"/>
                <a:gd name="T12" fmla="*/ 176 w 372"/>
                <a:gd name="T13" fmla="*/ 76 h 238"/>
                <a:gd name="T14" fmla="*/ 142 w 372"/>
                <a:gd name="T15" fmla="*/ 77 h 238"/>
                <a:gd name="T16" fmla="*/ 108 w 372"/>
                <a:gd name="T17" fmla="*/ 75 h 238"/>
                <a:gd name="T18" fmla="*/ 76 w 372"/>
                <a:gd name="T19" fmla="*/ 62 h 238"/>
                <a:gd name="T20" fmla="*/ 101 w 372"/>
                <a:gd name="T21" fmla="*/ 43 h 238"/>
                <a:gd name="T22" fmla="*/ 141 w 372"/>
                <a:gd name="T23" fmla="*/ 45 h 238"/>
                <a:gd name="T24" fmla="*/ 133 w 372"/>
                <a:gd name="T25" fmla="*/ 12 h 238"/>
                <a:gd name="T26" fmla="*/ 91 w 372"/>
                <a:gd name="T27" fmla="*/ 21 h 238"/>
                <a:gd name="T28" fmla="*/ 65 w 372"/>
                <a:gd name="T29" fmla="*/ 25 h 238"/>
                <a:gd name="T30" fmla="*/ 46 w 372"/>
                <a:gd name="T31" fmla="*/ 43 h 238"/>
                <a:gd name="T32" fmla="*/ 49 w 372"/>
                <a:gd name="T33" fmla="*/ 66 h 238"/>
                <a:gd name="T34" fmla="*/ 6 w 372"/>
                <a:gd name="T35" fmla="*/ 82 h 238"/>
                <a:gd name="T36" fmla="*/ 14 w 372"/>
                <a:gd name="T37" fmla="*/ 100 h 238"/>
                <a:gd name="T38" fmla="*/ 42 w 372"/>
                <a:gd name="T39" fmla="*/ 114 h 238"/>
                <a:gd name="T40" fmla="*/ 61 w 372"/>
                <a:gd name="T41" fmla="*/ 158 h 238"/>
                <a:gd name="T42" fmla="*/ 42 w 372"/>
                <a:gd name="T43" fmla="*/ 206 h 238"/>
                <a:gd name="T44" fmla="*/ 89 w 372"/>
                <a:gd name="T45" fmla="*/ 199 h 238"/>
                <a:gd name="T46" fmla="*/ 111 w 372"/>
                <a:gd name="T47" fmla="*/ 189 h 238"/>
                <a:gd name="T48" fmla="*/ 145 w 372"/>
                <a:gd name="T49" fmla="*/ 189 h 238"/>
                <a:gd name="T50" fmla="*/ 142 w 372"/>
                <a:gd name="T51" fmla="*/ 168 h 238"/>
                <a:gd name="T52" fmla="*/ 164 w 372"/>
                <a:gd name="T53" fmla="*/ 135 h 238"/>
                <a:gd name="T54" fmla="*/ 184 w 372"/>
                <a:gd name="T55" fmla="*/ 168 h 238"/>
                <a:gd name="T56" fmla="*/ 205 w 372"/>
                <a:gd name="T57" fmla="*/ 210 h 238"/>
                <a:gd name="T58" fmla="*/ 249 w 372"/>
                <a:gd name="T59" fmla="*/ 216 h 238"/>
                <a:gd name="T60" fmla="*/ 273 w 372"/>
                <a:gd name="T61" fmla="*/ 197 h 238"/>
                <a:gd name="T62" fmla="*/ 306 w 372"/>
                <a:gd name="T63" fmla="*/ 202 h 238"/>
                <a:gd name="T64" fmla="*/ 343 w 372"/>
                <a:gd name="T65" fmla="*/ 194 h 238"/>
                <a:gd name="T66" fmla="*/ 364 w 372"/>
                <a:gd name="T67" fmla="*/ 197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2" h="238">
                  <a:moveTo>
                    <a:pt x="353" y="181"/>
                  </a:moveTo>
                  <a:cubicBezTo>
                    <a:pt x="346" y="174"/>
                    <a:pt x="345" y="152"/>
                    <a:pt x="345" y="142"/>
                  </a:cubicBezTo>
                  <a:cubicBezTo>
                    <a:pt x="345" y="132"/>
                    <a:pt x="333" y="129"/>
                    <a:pt x="319" y="125"/>
                  </a:cubicBezTo>
                  <a:cubicBezTo>
                    <a:pt x="305" y="121"/>
                    <a:pt x="301" y="136"/>
                    <a:pt x="291" y="132"/>
                  </a:cubicBezTo>
                  <a:cubicBezTo>
                    <a:pt x="281" y="128"/>
                    <a:pt x="289" y="110"/>
                    <a:pt x="289" y="103"/>
                  </a:cubicBezTo>
                  <a:cubicBezTo>
                    <a:pt x="289" y="96"/>
                    <a:pt x="275" y="99"/>
                    <a:pt x="275" y="99"/>
                  </a:cubicBezTo>
                  <a:cubicBezTo>
                    <a:pt x="275" y="82"/>
                    <a:pt x="275" y="82"/>
                    <a:pt x="275" y="82"/>
                  </a:cubicBezTo>
                  <a:cubicBezTo>
                    <a:pt x="266" y="79"/>
                    <a:pt x="266" y="79"/>
                    <a:pt x="266" y="79"/>
                  </a:cubicBezTo>
                  <a:cubicBezTo>
                    <a:pt x="258" y="88"/>
                    <a:pt x="258" y="88"/>
                    <a:pt x="258" y="88"/>
                  </a:cubicBezTo>
                  <a:cubicBezTo>
                    <a:pt x="230" y="87"/>
                    <a:pt x="230" y="87"/>
                    <a:pt x="230" y="87"/>
                  </a:cubicBezTo>
                  <a:cubicBezTo>
                    <a:pt x="230" y="87"/>
                    <a:pt x="226" y="90"/>
                    <a:pt x="216" y="93"/>
                  </a:cubicBezTo>
                  <a:cubicBezTo>
                    <a:pt x="206" y="96"/>
                    <a:pt x="210" y="90"/>
                    <a:pt x="210" y="90"/>
                  </a:cubicBezTo>
                  <a:cubicBezTo>
                    <a:pt x="210" y="90"/>
                    <a:pt x="198" y="93"/>
                    <a:pt x="195" y="93"/>
                  </a:cubicBezTo>
                  <a:cubicBezTo>
                    <a:pt x="192" y="93"/>
                    <a:pt x="181" y="75"/>
                    <a:pt x="176" y="76"/>
                  </a:cubicBezTo>
                  <a:cubicBezTo>
                    <a:pt x="171" y="77"/>
                    <a:pt x="160" y="85"/>
                    <a:pt x="154" y="86"/>
                  </a:cubicBezTo>
                  <a:cubicBezTo>
                    <a:pt x="148" y="87"/>
                    <a:pt x="142" y="77"/>
                    <a:pt x="142" y="77"/>
                  </a:cubicBezTo>
                  <a:cubicBezTo>
                    <a:pt x="142" y="77"/>
                    <a:pt x="135" y="76"/>
                    <a:pt x="130" y="78"/>
                  </a:cubicBezTo>
                  <a:cubicBezTo>
                    <a:pt x="125" y="80"/>
                    <a:pt x="108" y="75"/>
                    <a:pt x="108" y="75"/>
                  </a:cubicBezTo>
                  <a:cubicBezTo>
                    <a:pt x="108" y="75"/>
                    <a:pt x="93" y="80"/>
                    <a:pt x="86" y="81"/>
                  </a:cubicBezTo>
                  <a:cubicBezTo>
                    <a:pt x="79" y="82"/>
                    <a:pt x="76" y="62"/>
                    <a:pt x="76" y="62"/>
                  </a:cubicBezTo>
                  <a:cubicBezTo>
                    <a:pt x="85" y="59"/>
                    <a:pt x="85" y="59"/>
                    <a:pt x="85" y="59"/>
                  </a:cubicBezTo>
                  <a:cubicBezTo>
                    <a:pt x="85" y="59"/>
                    <a:pt x="88" y="44"/>
                    <a:pt x="101" y="43"/>
                  </a:cubicBezTo>
                  <a:cubicBezTo>
                    <a:pt x="114" y="42"/>
                    <a:pt x="124" y="52"/>
                    <a:pt x="131" y="56"/>
                  </a:cubicBezTo>
                  <a:cubicBezTo>
                    <a:pt x="138" y="60"/>
                    <a:pt x="140" y="49"/>
                    <a:pt x="141" y="45"/>
                  </a:cubicBezTo>
                  <a:cubicBezTo>
                    <a:pt x="142" y="41"/>
                    <a:pt x="117" y="33"/>
                    <a:pt x="117" y="33"/>
                  </a:cubicBezTo>
                  <a:cubicBezTo>
                    <a:pt x="133" y="12"/>
                    <a:pt x="133" y="12"/>
                    <a:pt x="133" y="12"/>
                  </a:cubicBezTo>
                  <a:cubicBezTo>
                    <a:pt x="133" y="12"/>
                    <a:pt x="118" y="0"/>
                    <a:pt x="114" y="2"/>
                  </a:cubicBezTo>
                  <a:cubicBezTo>
                    <a:pt x="110" y="4"/>
                    <a:pt x="99" y="16"/>
                    <a:pt x="91" y="21"/>
                  </a:cubicBezTo>
                  <a:cubicBezTo>
                    <a:pt x="83" y="26"/>
                    <a:pt x="80" y="12"/>
                    <a:pt x="74" y="12"/>
                  </a:cubicBezTo>
                  <a:cubicBezTo>
                    <a:pt x="68" y="12"/>
                    <a:pt x="66" y="21"/>
                    <a:pt x="65" y="25"/>
                  </a:cubicBezTo>
                  <a:cubicBezTo>
                    <a:pt x="64" y="29"/>
                    <a:pt x="77" y="36"/>
                    <a:pt x="71" y="42"/>
                  </a:cubicBezTo>
                  <a:cubicBezTo>
                    <a:pt x="65" y="48"/>
                    <a:pt x="46" y="43"/>
                    <a:pt x="46" y="43"/>
                  </a:cubicBezTo>
                  <a:cubicBezTo>
                    <a:pt x="59" y="57"/>
                    <a:pt x="59" y="57"/>
                    <a:pt x="59" y="57"/>
                  </a:cubicBezTo>
                  <a:cubicBezTo>
                    <a:pt x="49" y="66"/>
                    <a:pt x="49" y="66"/>
                    <a:pt x="49" y="66"/>
                  </a:cubicBezTo>
                  <a:cubicBezTo>
                    <a:pt x="49" y="66"/>
                    <a:pt x="61" y="71"/>
                    <a:pt x="46" y="80"/>
                  </a:cubicBezTo>
                  <a:cubicBezTo>
                    <a:pt x="31" y="89"/>
                    <a:pt x="12" y="77"/>
                    <a:pt x="6" y="82"/>
                  </a:cubicBezTo>
                  <a:cubicBezTo>
                    <a:pt x="0" y="87"/>
                    <a:pt x="0" y="97"/>
                    <a:pt x="0" y="97"/>
                  </a:cubicBezTo>
                  <a:cubicBezTo>
                    <a:pt x="14" y="100"/>
                    <a:pt x="14" y="100"/>
                    <a:pt x="14" y="100"/>
                  </a:cubicBezTo>
                  <a:cubicBezTo>
                    <a:pt x="21" y="108"/>
                    <a:pt x="21" y="108"/>
                    <a:pt x="21" y="108"/>
                  </a:cubicBezTo>
                  <a:cubicBezTo>
                    <a:pt x="21" y="108"/>
                    <a:pt x="37" y="109"/>
                    <a:pt x="42" y="114"/>
                  </a:cubicBezTo>
                  <a:cubicBezTo>
                    <a:pt x="47" y="119"/>
                    <a:pt x="36" y="128"/>
                    <a:pt x="42" y="138"/>
                  </a:cubicBezTo>
                  <a:cubicBezTo>
                    <a:pt x="48" y="148"/>
                    <a:pt x="61" y="147"/>
                    <a:pt x="61" y="158"/>
                  </a:cubicBezTo>
                  <a:cubicBezTo>
                    <a:pt x="61" y="169"/>
                    <a:pt x="51" y="179"/>
                    <a:pt x="44" y="187"/>
                  </a:cubicBezTo>
                  <a:cubicBezTo>
                    <a:pt x="40" y="191"/>
                    <a:pt x="41" y="200"/>
                    <a:pt x="42" y="206"/>
                  </a:cubicBezTo>
                  <a:cubicBezTo>
                    <a:pt x="48" y="211"/>
                    <a:pt x="56" y="217"/>
                    <a:pt x="58" y="218"/>
                  </a:cubicBezTo>
                  <a:cubicBezTo>
                    <a:pt x="61" y="219"/>
                    <a:pt x="86" y="199"/>
                    <a:pt x="89" y="199"/>
                  </a:cubicBezTo>
                  <a:cubicBezTo>
                    <a:pt x="92" y="199"/>
                    <a:pt x="103" y="216"/>
                    <a:pt x="107" y="214"/>
                  </a:cubicBezTo>
                  <a:cubicBezTo>
                    <a:pt x="111" y="212"/>
                    <a:pt x="106" y="194"/>
                    <a:pt x="111" y="189"/>
                  </a:cubicBezTo>
                  <a:cubicBezTo>
                    <a:pt x="116" y="184"/>
                    <a:pt x="138" y="183"/>
                    <a:pt x="138" y="183"/>
                  </a:cubicBezTo>
                  <a:cubicBezTo>
                    <a:pt x="145" y="189"/>
                    <a:pt x="145" y="189"/>
                    <a:pt x="145" y="189"/>
                  </a:cubicBezTo>
                  <a:cubicBezTo>
                    <a:pt x="150" y="175"/>
                    <a:pt x="150" y="175"/>
                    <a:pt x="150" y="175"/>
                  </a:cubicBezTo>
                  <a:cubicBezTo>
                    <a:pt x="150" y="175"/>
                    <a:pt x="142" y="175"/>
                    <a:pt x="142" y="168"/>
                  </a:cubicBezTo>
                  <a:cubicBezTo>
                    <a:pt x="142" y="161"/>
                    <a:pt x="156" y="158"/>
                    <a:pt x="156" y="154"/>
                  </a:cubicBezTo>
                  <a:cubicBezTo>
                    <a:pt x="156" y="150"/>
                    <a:pt x="155" y="135"/>
                    <a:pt x="164" y="135"/>
                  </a:cubicBezTo>
                  <a:cubicBezTo>
                    <a:pt x="173" y="135"/>
                    <a:pt x="184" y="144"/>
                    <a:pt x="184" y="149"/>
                  </a:cubicBezTo>
                  <a:cubicBezTo>
                    <a:pt x="184" y="154"/>
                    <a:pt x="184" y="168"/>
                    <a:pt x="184" y="168"/>
                  </a:cubicBezTo>
                  <a:cubicBezTo>
                    <a:pt x="198" y="168"/>
                    <a:pt x="198" y="168"/>
                    <a:pt x="198" y="168"/>
                  </a:cubicBezTo>
                  <a:cubicBezTo>
                    <a:pt x="205" y="210"/>
                    <a:pt x="205" y="210"/>
                    <a:pt x="205" y="210"/>
                  </a:cubicBezTo>
                  <a:cubicBezTo>
                    <a:pt x="205" y="210"/>
                    <a:pt x="221" y="238"/>
                    <a:pt x="228" y="235"/>
                  </a:cubicBezTo>
                  <a:cubicBezTo>
                    <a:pt x="235" y="232"/>
                    <a:pt x="249" y="216"/>
                    <a:pt x="249" y="216"/>
                  </a:cubicBezTo>
                  <a:cubicBezTo>
                    <a:pt x="259" y="216"/>
                    <a:pt x="259" y="216"/>
                    <a:pt x="259" y="216"/>
                  </a:cubicBezTo>
                  <a:cubicBezTo>
                    <a:pt x="259" y="216"/>
                    <a:pt x="266" y="205"/>
                    <a:pt x="273" y="197"/>
                  </a:cubicBezTo>
                  <a:cubicBezTo>
                    <a:pt x="280" y="189"/>
                    <a:pt x="304" y="192"/>
                    <a:pt x="304" y="192"/>
                  </a:cubicBezTo>
                  <a:cubicBezTo>
                    <a:pt x="306" y="202"/>
                    <a:pt x="306" y="202"/>
                    <a:pt x="306" y="202"/>
                  </a:cubicBezTo>
                  <a:cubicBezTo>
                    <a:pt x="330" y="194"/>
                    <a:pt x="330" y="194"/>
                    <a:pt x="330" y="194"/>
                  </a:cubicBezTo>
                  <a:cubicBezTo>
                    <a:pt x="343" y="194"/>
                    <a:pt x="343" y="194"/>
                    <a:pt x="343" y="194"/>
                  </a:cubicBezTo>
                  <a:cubicBezTo>
                    <a:pt x="350" y="199"/>
                    <a:pt x="350" y="199"/>
                    <a:pt x="350" y="199"/>
                  </a:cubicBezTo>
                  <a:cubicBezTo>
                    <a:pt x="355" y="199"/>
                    <a:pt x="361" y="199"/>
                    <a:pt x="364" y="197"/>
                  </a:cubicBezTo>
                  <a:cubicBezTo>
                    <a:pt x="372" y="191"/>
                    <a:pt x="360" y="188"/>
                    <a:pt x="353" y="181"/>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91" name="Freeform 52"/>
            <p:cNvSpPr>
              <a:spLocks/>
            </p:cNvSpPr>
            <p:nvPr/>
          </p:nvSpPr>
          <p:spPr bwMode="gray">
            <a:xfrm>
              <a:off x="5959475" y="2678113"/>
              <a:ext cx="250825" cy="117475"/>
            </a:xfrm>
            <a:custGeom>
              <a:avLst/>
              <a:gdLst>
                <a:gd name="T0" fmla="*/ 46 w 449"/>
                <a:gd name="T1" fmla="*/ 96 h 211"/>
                <a:gd name="T2" fmla="*/ 76 w 449"/>
                <a:gd name="T3" fmla="*/ 107 h 211"/>
                <a:gd name="T4" fmla="*/ 84 w 449"/>
                <a:gd name="T5" fmla="*/ 98 h 211"/>
                <a:gd name="T6" fmla="*/ 95 w 449"/>
                <a:gd name="T7" fmla="*/ 106 h 211"/>
                <a:gd name="T8" fmla="*/ 114 w 449"/>
                <a:gd name="T9" fmla="*/ 117 h 211"/>
                <a:gd name="T10" fmla="*/ 132 w 449"/>
                <a:gd name="T11" fmla="*/ 124 h 211"/>
                <a:gd name="T12" fmla="*/ 129 w 449"/>
                <a:gd name="T13" fmla="*/ 141 h 211"/>
                <a:gd name="T14" fmla="*/ 115 w 449"/>
                <a:gd name="T15" fmla="*/ 149 h 211"/>
                <a:gd name="T16" fmla="*/ 84 w 449"/>
                <a:gd name="T17" fmla="*/ 152 h 211"/>
                <a:gd name="T18" fmla="*/ 65 w 449"/>
                <a:gd name="T19" fmla="*/ 160 h 211"/>
                <a:gd name="T20" fmla="*/ 25 w 449"/>
                <a:gd name="T21" fmla="*/ 158 h 211"/>
                <a:gd name="T22" fmla="*/ 0 w 449"/>
                <a:gd name="T23" fmla="*/ 177 h 211"/>
                <a:gd name="T24" fmla="*/ 32 w 449"/>
                <a:gd name="T25" fmla="*/ 190 h 211"/>
                <a:gd name="T26" fmla="*/ 66 w 449"/>
                <a:gd name="T27" fmla="*/ 192 h 211"/>
                <a:gd name="T28" fmla="*/ 100 w 449"/>
                <a:gd name="T29" fmla="*/ 191 h 211"/>
                <a:gd name="T30" fmla="*/ 134 w 449"/>
                <a:gd name="T31" fmla="*/ 205 h 211"/>
                <a:gd name="T32" fmla="*/ 154 w 449"/>
                <a:gd name="T33" fmla="*/ 202 h 211"/>
                <a:gd name="T34" fmla="*/ 190 w 449"/>
                <a:gd name="T35" fmla="*/ 194 h 211"/>
                <a:gd name="T36" fmla="*/ 211 w 449"/>
                <a:gd name="T37" fmla="*/ 195 h 211"/>
                <a:gd name="T38" fmla="*/ 231 w 449"/>
                <a:gd name="T39" fmla="*/ 157 h 211"/>
                <a:gd name="T40" fmla="*/ 250 w 449"/>
                <a:gd name="T41" fmla="*/ 145 h 211"/>
                <a:gd name="T42" fmla="*/ 278 w 449"/>
                <a:gd name="T43" fmla="*/ 155 h 211"/>
                <a:gd name="T44" fmla="*/ 304 w 449"/>
                <a:gd name="T45" fmla="*/ 153 h 211"/>
                <a:gd name="T46" fmla="*/ 327 w 449"/>
                <a:gd name="T47" fmla="*/ 112 h 211"/>
                <a:gd name="T48" fmla="*/ 378 w 449"/>
                <a:gd name="T49" fmla="*/ 98 h 211"/>
                <a:gd name="T50" fmla="*/ 429 w 449"/>
                <a:gd name="T51" fmla="*/ 65 h 211"/>
                <a:gd name="T52" fmla="*/ 443 w 449"/>
                <a:gd name="T53" fmla="*/ 46 h 211"/>
                <a:gd name="T54" fmla="*/ 401 w 449"/>
                <a:gd name="T55" fmla="*/ 41 h 211"/>
                <a:gd name="T56" fmla="*/ 372 w 449"/>
                <a:gd name="T57" fmla="*/ 23 h 211"/>
                <a:gd name="T58" fmla="*/ 332 w 449"/>
                <a:gd name="T59" fmla="*/ 16 h 211"/>
                <a:gd name="T60" fmla="*/ 238 w 449"/>
                <a:gd name="T61" fmla="*/ 14 h 211"/>
                <a:gd name="T62" fmla="*/ 194 w 449"/>
                <a:gd name="T63" fmla="*/ 12 h 211"/>
                <a:gd name="T64" fmla="*/ 144 w 449"/>
                <a:gd name="T65" fmla="*/ 5 h 211"/>
                <a:gd name="T66" fmla="*/ 138 w 449"/>
                <a:gd name="T67" fmla="*/ 37 h 211"/>
                <a:gd name="T68" fmla="*/ 61 w 449"/>
                <a:gd name="T69" fmla="*/ 18 h 211"/>
                <a:gd name="T70" fmla="*/ 57 w 449"/>
                <a:gd name="T71" fmla="*/ 54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49" h="211">
                  <a:moveTo>
                    <a:pt x="23" y="88"/>
                  </a:moveTo>
                  <a:cubicBezTo>
                    <a:pt x="46" y="96"/>
                    <a:pt x="46" y="96"/>
                    <a:pt x="46" y="96"/>
                  </a:cubicBezTo>
                  <a:cubicBezTo>
                    <a:pt x="46" y="96"/>
                    <a:pt x="47" y="101"/>
                    <a:pt x="52" y="105"/>
                  </a:cubicBezTo>
                  <a:cubicBezTo>
                    <a:pt x="57" y="109"/>
                    <a:pt x="76" y="107"/>
                    <a:pt x="76" y="107"/>
                  </a:cubicBezTo>
                  <a:cubicBezTo>
                    <a:pt x="75" y="98"/>
                    <a:pt x="75" y="98"/>
                    <a:pt x="75" y="98"/>
                  </a:cubicBezTo>
                  <a:cubicBezTo>
                    <a:pt x="84" y="98"/>
                    <a:pt x="84" y="98"/>
                    <a:pt x="84" y="98"/>
                  </a:cubicBezTo>
                  <a:cubicBezTo>
                    <a:pt x="84" y="88"/>
                    <a:pt x="84" y="88"/>
                    <a:pt x="84" y="88"/>
                  </a:cubicBezTo>
                  <a:cubicBezTo>
                    <a:pt x="95" y="106"/>
                    <a:pt x="95" y="106"/>
                    <a:pt x="95" y="106"/>
                  </a:cubicBezTo>
                  <a:cubicBezTo>
                    <a:pt x="108" y="106"/>
                    <a:pt x="108" y="106"/>
                    <a:pt x="108" y="106"/>
                  </a:cubicBezTo>
                  <a:cubicBezTo>
                    <a:pt x="114" y="117"/>
                    <a:pt x="114" y="117"/>
                    <a:pt x="114" y="117"/>
                  </a:cubicBezTo>
                  <a:cubicBezTo>
                    <a:pt x="127" y="119"/>
                    <a:pt x="127" y="119"/>
                    <a:pt x="127" y="119"/>
                  </a:cubicBezTo>
                  <a:cubicBezTo>
                    <a:pt x="132" y="124"/>
                    <a:pt x="132" y="124"/>
                    <a:pt x="132" y="124"/>
                  </a:cubicBezTo>
                  <a:cubicBezTo>
                    <a:pt x="132" y="124"/>
                    <a:pt x="161" y="118"/>
                    <a:pt x="151" y="130"/>
                  </a:cubicBezTo>
                  <a:cubicBezTo>
                    <a:pt x="141" y="142"/>
                    <a:pt x="129" y="141"/>
                    <a:pt x="129" y="141"/>
                  </a:cubicBezTo>
                  <a:cubicBezTo>
                    <a:pt x="129" y="147"/>
                    <a:pt x="129" y="147"/>
                    <a:pt x="129" y="147"/>
                  </a:cubicBezTo>
                  <a:cubicBezTo>
                    <a:pt x="115" y="149"/>
                    <a:pt x="115" y="149"/>
                    <a:pt x="115" y="149"/>
                  </a:cubicBezTo>
                  <a:cubicBezTo>
                    <a:pt x="115" y="149"/>
                    <a:pt x="113" y="158"/>
                    <a:pt x="104" y="162"/>
                  </a:cubicBezTo>
                  <a:cubicBezTo>
                    <a:pt x="95" y="166"/>
                    <a:pt x="91" y="150"/>
                    <a:pt x="84" y="152"/>
                  </a:cubicBezTo>
                  <a:cubicBezTo>
                    <a:pt x="80" y="153"/>
                    <a:pt x="71" y="156"/>
                    <a:pt x="64" y="159"/>
                  </a:cubicBezTo>
                  <a:cubicBezTo>
                    <a:pt x="65" y="159"/>
                    <a:pt x="65" y="159"/>
                    <a:pt x="65" y="160"/>
                  </a:cubicBezTo>
                  <a:cubicBezTo>
                    <a:pt x="64" y="164"/>
                    <a:pt x="62" y="175"/>
                    <a:pt x="55" y="171"/>
                  </a:cubicBezTo>
                  <a:cubicBezTo>
                    <a:pt x="48" y="167"/>
                    <a:pt x="38" y="157"/>
                    <a:pt x="25" y="158"/>
                  </a:cubicBezTo>
                  <a:cubicBezTo>
                    <a:pt x="12" y="159"/>
                    <a:pt x="9" y="174"/>
                    <a:pt x="9" y="174"/>
                  </a:cubicBezTo>
                  <a:cubicBezTo>
                    <a:pt x="0" y="177"/>
                    <a:pt x="0" y="177"/>
                    <a:pt x="0" y="177"/>
                  </a:cubicBezTo>
                  <a:cubicBezTo>
                    <a:pt x="0" y="177"/>
                    <a:pt x="3" y="197"/>
                    <a:pt x="10" y="196"/>
                  </a:cubicBezTo>
                  <a:cubicBezTo>
                    <a:pt x="17" y="195"/>
                    <a:pt x="32" y="190"/>
                    <a:pt x="32" y="190"/>
                  </a:cubicBezTo>
                  <a:cubicBezTo>
                    <a:pt x="32" y="190"/>
                    <a:pt x="49" y="195"/>
                    <a:pt x="54" y="193"/>
                  </a:cubicBezTo>
                  <a:cubicBezTo>
                    <a:pt x="59" y="191"/>
                    <a:pt x="66" y="192"/>
                    <a:pt x="66" y="192"/>
                  </a:cubicBezTo>
                  <a:cubicBezTo>
                    <a:pt x="66" y="192"/>
                    <a:pt x="72" y="202"/>
                    <a:pt x="78" y="201"/>
                  </a:cubicBezTo>
                  <a:cubicBezTo>
                    <a:pt x="84" y="200"/>
                    <a:pt x="95" y="192"/>
                    <a:pt x="100" y="191"/>
                  </a:cubicBezTo>
                  <a:cubicBezTo>
                    <a:pt x="105" y="190"/>
                    <a:pt x="116" y="208"/>
                    <a:pt x="119" y="208"/>
                  </a:cubicBezTo>
                  <a:cubicBezTo>
                    <a:pt x="122" y="208"/>
                    <a:pt x="134" y="205"/>
                    <a:pt x="134" y="205"/>
                  </a:cubicBezTo>
                  <a:cubicBezTo>
                    <a:pt x="134" y="205"/>
                    <a:pt x="130" y="211"/>
                    <a:pt x="140" y="208"/>
                  </a:cubicBezTo>
                  <a:cubicBezTo>
                    <a:pt x="150" y="205"/>
                    <a:pt x="154" y="202"/>
                    <a:pt x="154" y="202"/>
                  </a:cubicBezTo>
                  <a:cubicBezTo>
                    <a:pt x="182" y="203"/>
                    <a:pt x="182" y="203"/>
                    <a:pt x="182" y="203"/>
                  </a:cubicBezTo>
                  <a:cubicBezTo>
                    <a:pt x="190" y="194"/>
                    <a:pt x="190" y="194"/>
                    <a:pt x="190" y="194"/>
                  </a:cubicBezTo>
                  <a:cubicBezTo>
                    <a:pt x="199" y="197"/>
                    <a:pt x="199" y="197"/>
                    <a:pt x="199" y="197"/>
                  </a:cubicBezTo>
                  <a:cubicBezTo>
                    <a:pt x="199" y="197"/>
                    <a:pt x="211" y="199"/>
                    <a:pt x="211" y="195"/>
                  </a:cubicBezTo>
                  <a:cubicBezTo>
                    <a:pt x="211" y="191"/>
                    <a:pt x="200" y="178"/>
                    <a:pt x="199" y="175"/>
                  </a:cubicBezTo>
                  <a:cubicBezTo>
                    <a:pt x="198" y="172"/>
                    <a:pt x="231" y="157"/>
                    <a:pt x="231" y="157"/>
                  </a:cubicBezTo>
                  <a:cubicBezTo>
                    <a:pt x="231" y="147"/>
                    <a:pt x="231" y="147"/>
                    <a:pt x="231" y="147"/>
                  </a:cubicBezTo>
                  <a:cubicBezTo>
                    <a:pt x="250" y="145"/>
                    <a:pt x="250" y="145"/>
                    <a:pt x="250" y="145"/>
                  </a:cubicBezTo>
                  <a:cubicBezTo>
                    <a:pt x="250" y="145"/>
                    <a:pt x="255" y="136"/>
                    <a:pt x="261" y="136"/>
                  </a:cubicBezTo>
                  <a:cubicBezTo>
                    <a:pt x="267" y="136"/>
                    <a:pt x="278" y="155"/>
                    <a:pt x="278" y="155"/>
                  </a:cubicBezTo>
                  <a:cubicBezTo>
                    <a:pt x="285" y="148"/>
                    <a:pt x="285" y="148"/>
                    <a:pt x="285" y="148"/>
                  </a:cubicBezTo>
                  <a:cubicBezTo>
                    <a:pt x="304" y="153"/>
                    <a:pt x="304" y="153"/>
                    <a:pt x="304" y="153"/>
                  </a:cubicBezTo>
                  <a:cubicBezTo>
                    <a:pt x="304" y="153"/>
                    <a:pt x="309" y="144"/>
                    <a:pt x="310" y="135"/>
                  </a:cubicBezTo>
                  <a:cubicBezTo>
                    <a:pt x="311" y="126"/>
                    <a:pt x="319" y="113"/>
                    <a:pt x="327" y="112"/>
                  </a:cubicBezTo>
                  <a:cubicBezTo>
                    <a:pt x="335" y="111"/>
                    <a:pt x="354" y="119"/>
                    <a:pt x="366" y="119"/>
                  </a:cubicBezTo>
                  <a:cubicBezTo>
                    <a:pt x="378" y="119"/>
                    <a:pt x="378" y="101"/>
                    <a:pt x="378" y="98"/>
                  </a:cubicBezTo>
                  <a:cubicBezTo>
                    <a:pt x="378" y="95"/>
                    <a:pt x="397" y="78"/>
                    <a:pt x="397" y="78"/>
                  </a:cubicBezTo>
                  <a:cubicBezTo>
                    <a:pt x="429" y="65"/>
                    <a:pt x="429" y="65"/>
                    <a:pt x="429" y="65"/>
                  </a:cubicBezTo>
                  <a:cubicBezTo>
                    <a:pt x="429" y="65"/>
                    <a:pt x="443" y="65"/>
                    <a:pt x="446" y="64"/>
                  </a:cubicBezTo>
                  <a:cubicBezTo>
                    <a:pt x="449" y="63"/>
                    <a:pt x="447" y="51"/>
                    <a:pt x="443" y="46"/>
                  </a:cubicBezTo>
                  <a:cubicBezTo>
                    <a:pt x="429" y="41"/>
                    <a:pt x="429" y="41"/>
                    <a:pt x="429" y="41"/>
                  </a:cubicBezTo>
                  <a:cubicBezTo>
                    <a:pt x="401" y="41"/>
                    <a:pt x="401" y="41"/>
                    <a:pt x="401" y="41"/>
                  </a:cubicBezTo>
                  <a:cubicBezTo>
                    <a:pt x="384" y="23"/>
                    <a:pt x="384" y="23"/>
                    <a:pt x="384" y="23"/>
                  </a:cubicBezTo>
                  <a:cubicBezTo>
                    <a:pt x="372" y="23"/>
                    <a:pt x="372" y="23"/>
                    <a:pt x="372" y="23"/>
                  </a:cubicBezTo>
                  <a:cubicBezTo>
                    <a:pt x="364" y="15"/>
                    <a:pt x="364" y="15"/>
                    <a:pt x="364" y="15"/>
                  </a:cubicBezTo>
                  <a:cubicBezTo>
                    <a:pt x="332" y="16"/>
                    <a:pt x="332" y="16"/>
                    <a:pt x="332" y="16"/>
                  </a:cubicBezTo>
                  <a:cubicBezTo>
                    <a:pt x="332" y="16"/>
                    <a:pt x="302" y="12"/>
                    <a:pt x="294" y="13"/>
                  </a:cubicBezTo>
                  <a:cubicBezTo>
                    <a:pt x="286" y="14"/>
                    <a:pt x="238" y="14"/>
                    <a:pt x="238" y="14"/>
                  </a:cubicBezTo>
                  <a:cubicBezTo>
                    <a:pt x="226" y="18"/>
                    <a:pt x="226" y="18"/>
                    <a:pt x="226" y="18"/>
                  </a:cubicBezTo>
                  <a:cubicBezTo>
                    <a:pt x="226" y="18"/>
                    <a:pt x="198" y="12"/>
                    <a:pt x="194" y="12"/>
                  </a:cubicBezTo>
                  <a:cubicBezTo>
                    <a:pt x="190" y="12"/>
                    <a:pt x="180" y="0"/>
                    <a:pt x="170" y="0"/>
                  </a:cubicBezTo>
                  <a:cubicBezTo>
                    <a:pt x="160" y="0"/>
                    <a:pt x="147" y="2"/>
                    <a:pt x="144" y="5"/>
                  </a:cubicBezTo>
                  <a:cubicBezTo>
                    <a:pt x="141" y="8"/>
                    <a:pt x="149" y="43"/>
                    <a:pt x="149" y="43"/>
                  </a:cubicBezTo>
                  <a:cubicBezTo>
                    <a:pt x="138" y="37"/>
                    <a:pt x="138" y="37"/>
                    <a:pt x="138" y="37"/>
                  </a:cubicBezTo>
                  <a:cubicBezTo>
                    <a:pt x="115" y="37"/>
                    <a:pt x="115" y="37"/>
                    <a:pt x="115" y="37"/>
                  </a:cubicBezTo>
                  <a:cubicBezTo>
                    <a:pt x="115" y="37"/>
                    <a:pt x="84" y="17"/>
                    <a:pt x="61" y="18"/>
                  </a:cubicBezTo>
                  <a:cubicBezTo>
                    <a:pt x="38" y="19"/>
                    <a:pt x="37" y="48"/>
                    <a:pt x="37" y="48"/>
                  </a:cubicBezTo>
                  <a:cubicBezTo>
                    <a:pt x="37" y="48"/>
                    <a:pt x="55" y="49"/>
                    <a:pt x="57" y="54"/>
                  </a:cubicBezTo>
                  <a:cubicBezTo>
                    <a:pt x="59" y="59"/>
                    <a:pt x="23" y="88"/>
                    <a:pt x="23" y="88"/>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92" name="Freeform 53"/>
            <p:cNvSpPr>
              <a:spLocks/>
            </p:cNvSpPr>
            <p:nvPr/>
          </p:nvSpPr>
          <p:spPr bwMode="gray">
            <a:xfrm>
              <a:off x="5535613" y="2689225"/>
              <a:ext cx="377825" cy="227013"/>
            </a:xfrm>
            <a:custGeom>
              <a:avLst/>
              <a:gdLst>
                <a:gd name="T0" fmla="*/ 24 w 674"/>
                <a:gd name="T1" fmla="*/ 120 h 406"/>
                <a:gd name="T2" fmla="*/ 60 w 674"/>
                <a:gd name="T3" fmla="*/ 148 h 406"/>
                <a:gd name="T4" fmla="*/ 75 w 674"/>
                <a:gd name="T5" fmla="*/ 172 h 406"/>
                <a:gd name="T6" fmla="*/ 71 w 674"/>
                <a:gd name="T7" fmla="*/ 187 h 406"/>
                <a:gd name="T8" fmla="*/ 94 w 674"/>
                <a:gd name="T9" fmla="*/ 238 h 406"/>
                <a:gd name="T10" fmla="*/ 96 w 674"/>
                <a:gd name="T11" fmla="*/ 262 h 406"/>
                <a:gd name="T12" fmla="*/ 126 w 674"/>
                <a:gd name="T13" fmla="*/ 291 h 406"/>
                <a:gd name="T14" fmla="*/ 141 w 674"/>
                <a:gd name="T15" fmla="*/ 273 h 406"/>
                <a:gd name="T16" fmla="*/ 205 w 674"/>
                <a:gd name="T17" fmla="*/ 251 h 406"/>
                <a:gd name="T18" fmla="*/ 234 w 674"/>
                <a:gd name="T19" fmla="*/ 244 h 406"/>
                <a:gd name="T20" fmla="*/ 256 w 674"/>
                <a:gd name="T21" fmla="*/ 261 h 406"/>
                <a:gd name="T22" fmla="*/ 299 w 674"/>
                <a:gd name="T23" fmla="*/ 278 h 406"/>
                <a:gd name="T24" fmla="*/ 345 w 674"/>
                <a:gd name="T25" fmla="*/ 279 h 406"/>
                <a:gd name="T26" fmla="*/ 377 w 674"/>
                <a:gd name="T27" fmla="*/ 307 h 406"/>
                <a:gd name="T28" fmla="*/ 439 w 674"/>
                <a:gd name="T29" fmla="*/ 325 h 406"/>
                <a:gd name="T30" fmla="*/ 447 w 674"/>
                <a:gd name="T31" fmla="*/ 350 h 406"/>
                <a:gd name="T32" fmla="*/ 453 w 674"/>
                <a:gd name="T33" fmla="*/ 383 h 406"/>
                <a:gd name="T34" fmla="*/ 484 w 674"/>
                <a:gd name="T35" fmla="*/ 390 h 406"/>
                <a:gd name="T36" fmla="*/ 530 w 674"/>
                <a:gd name="T37" fmla="*/ 396 h 406"/>
                <a:gd name="T38" fmla="*/ 560 w 674"/>
                <a:gd name="T39" fmla="*/ 365 h 406"/>
                <a:gd name="T40" fmla="*/ 589 w 674"/>
                <a:gd name="T41" fmla="*/ 345 h 406"/>
                <a:gd name="T42" fmla="*/ 623 w 674"/>
                <a:gd name="T43" fmla="*/ 296 h 406"/>
                <a:gd name="T44" fmla="*/ 652 w 674"/>
                <a:gd name="T45" fmla="*/ 292 h 406"/>
                <a:gd name="T46" fmla="*/ 667 w 674"/>
                <a:gd name="T47" fmla="*/ 280 h 406"/>
                <a:gd name="T48" fmla="*/ 635 w 674"/>
                <a:gd name="T49" fmla="*/ 242 h 406"/>
                <a:gd name="T50" fmla="*/ 595 w 674"/>
                <a:gd name="T51" fmla="*/ 231 h 406"/>
                <a:gd name="T52" fmla="*/ 563 w 674"/>
                <a:gd name="T53" fmla="*/ 212 h 406"/>
                <a:gd name="T54" fmla="*/ 536 w 674"/>
                <a:gd name="T55" fmla="*/ 203 h 406"/>
                <a:gd name="T56" fmla="*/ 500 w 674"/>
                <a:gd name="T57" fmla="*/ 174 h 406"/>
                <a:gd name="T58" fmla="*/ 455 w 674"/>
                <a:gd name="T59" fmla="*/ 148 h 406"/>
                <a:gd name="T60" fmla="*/ 431 w 674"/>
                <a:gd name="T61" fmla="*/ 111 h 406"/>
                <a:gd name="T62" fmla="*/ 398 w 674"/>
                <a:gd name="T63" fmla="*/ 80 h 406"/>
                <a:gd name="T64" fmla="*/ 362 w 674"/>
                <a:gd name="T65" fmla="*/ 82 h 406"/>
                <a:gd name="T66" fmla="*/ 338 w 674"/>
                <a:gd name="T67" fmla="*/ 52 h 406"/>
                <a:gd name="T68" fmla="*/ 320 w 674"/>
                <a:gd name="T69" fmla="*/ 28 h 406"/>
                <a:gd name="T70" fmla="*/ 288 w 674"/>
                <a:gd name="T71" fmla="*/ 23 h 406"/>
                <a:gd name="T72" fmla="*/ 274 w 674"/>
                <a:gd name="T73" fmla="*/ 16 h 406"/>
                <a:gd name="T74" fmla="*/ 258 w 674"/>
                <a:gd name="T75" fmla="*/ 7 h 406"/>
                <a:gd name="T76" fmla="*/ 258 w 674"/>
                <a:gd name="T77" fmla="*/ 24 h 406"/>
                <a:gd name="T78" fmla="*/ 231 w 674"/>
                <a:gd name="T79" fmla="*/ 30 h 406"/>
                <a:gd name="T80" fmla="*/ 211 w 674"/>
                <a:gd name="T81" fmla="*/ 79 h 406"/>
                <a:gd name="T82" fmla="*/ 156 w 674"/>
                <a:gd name="T83" fmla="*/ 72 h 406"/>
                <a:gd name="T84" fmla="*/ 112 w 674"/>
                <a:gd name="T85" fmla="*/ 51 h 406"/>
                <a:gd name="T86" fmla="*/ 51 w 674"/>
                <a:gd name="T87" fmla="*/ 22 h 406"/>
                <a:gd name="T88" fmla="*/ 60 w 674"/>
                <a:gd name="T89" fmla="*/ 42 h 406"/>
                <a:gd name="T90" fmla="*/ 110 w 674"/>
                <a:gd name="T91" fmla="*/ 90 h 406"/>
                <a:gd name="T92" fmla="*/ 82 w 674"/>
                <a:gd name="T93" fmla="*/ 94 h 406"/>
                <a:gd name="T94" fmla="*/ 52 w 674"/>
                <a:gd name="T95" fmla="*/ 108 h 406"/>
                <a:gd name="T96" fmla="*/ 40 w 674"/>
                <a:gd name="T97" fmla="*/ 100 h 406"/>
                <a:gd name="T98" fmla="*/ 19 w 674"/>
                <a:gd name="T99" fmla="*/ 55 h 406"/>
                <a:gd name="T100" fmla="*/ 14 w 674"/>
                <a:gd name="T101" fmla="*/ 72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74" h="406">
                  <a:moveTo>
                    <a:pt x="34" y="100"/>
                  </a:moveTo>
                  <a:cubicBezTo>
                    <a:pt x="34" y="104"/>
                    <a:pt x="24" y="115"/>
                    <a:pt x="24" y="120"/>
                  </a:cubicBezTo>
                  <a:cubicBezTo>
                    <a:pt x="24" y="126"/>
                    <a:pt x="40" y="151"/>
                    <a:pt x="40" y="151"/>
                  </a:cubicBezTo>
                  <a:cubicBezTo>
                    <a:pt x="60" y="148"/>
                    <a:pt x="60" y="148"/>
                    <a:pt x="60" y="148"/>
                  </a:cubicBezTo>
                  <a:cubicBezTo>
                    <a:pt x="62" y="166"/>
                    <a:pt x="62" y="166"/>
                    <a:pt x="62" y="166"/>
                  </a:cubicBezTo>
                  <a:cubicBezTo>
                    <a:pt x="75" y="172"/>
                    <a:pt x="75" y="172"/>
                    <a:pt x="75" y="172"/>
                  </a:cubicBezTo>
                  <a:cubicBezTo>
                    <a:pt x="75" y="172"/>
                    <a:pt x="46" y="171"/>
                    <a:pt x="50" y="180"/>
                  </a:cubicBezTo>
                  <a:cubicBezTo>
                    <a:pt x="54" y="190"/>
                    <a:pt x="64" y="184"/>
                    <a:pt x="71" y="187"/>
                  </a:cubicBezTo>
                  <a:cubicBezTo>
                    <a:pt x="78" y="190"/>
                    <a:pt x="90" y="203"/>
                    <a:pt x="90" y="203"/>
                  </a:cubicBezTo>
                  <a:cubicBezTo>
                    <a:pt x="94" y="238"/>
                    <a:pt x="94" y="238"/>
                    <a:pt x="94" y="238"/>
                  </a:cubicBezTo>
                  <a:cubicBezTo>
                    <a:pt x="99" y="240"/>
                    <a:pt x="99" y="240"/>
                    <a:pt x="99" y="240"/>
                  </a:cubicBezTo>
                  <a:cubicBezTo>
                    <a:pt x="99" y="240"/>
                    <a:pt x="96" y="254"/>
                    <a:pt x="96" y="262"/>
                  </a:cubicBezTo>
                  <a:cubicBezTo>
                    <a:pt x="96" y="270"/>
                    <a:pt x="106" y="291"/>
                    <a:pt x="106" y="291"/>
                  </a:cubicBezTo>
                  <a:cubicBezTo>
                    <a:pt x="106" y="291"/>
                    <a:pt x="122" y="292"/>
                    <a:pt x="126" y="291"/>
                  </a:cubicBezTo>
                  <a:cubicBezTo>
                    <a:pt x="130" y="290"/>
                    <a:pt x="141" y="281"/>
                    <a:pt x="141" y="281"/>
                  </a:cubicBezTo>
                  <a:cubicBezTo>
                    <a:pt x="141" y="273"/>
                    <a:pt x="141" y="273"/>
                    <a:pt x="141" y="273"/>
                  </a:cubicBezTo>
                  <a:cubicBezTo>
                    <a:pt x="141" y="273"/>
                    <a:pt x="167" y="250"/>
                    <a:pt x="178" y="248"/>
                  </a:cubicBezTo>
                  <a:cubicBezTo>
                    <a:pt x="189" y="246"/>
                    <a:pt x="205" y="251"/>
                    <a:pt x="205" y="251"/>
                  </a:cubicBezTo>
                  <a:cubicBezTo>
                    <a:pt x="205" y="251"/>
                    <a:pt x="207" y="245"/>
                    <a:pt x="210" y="243"/>
                  </a:cubicBezTo>
                  <a:cubicBezTo>
                    <a:pt x="213" y="241"/>
                    <a:pt x="234" y="244"/>
                    <a:pt x="234" y="244"/>
                  </a:cubicBezTo>
                  <a:cubicBezTo>
                    <a:pt x="234" y="244"/>
                    <a:pt x="243" y="239"/>
                    <a:pt x="249" y="243"/>
                  </a:cubicBezTo>
                  <a:cubicBezTo>
                    <a:pt x="255" y="247"/>
                    <a:pt x="256" y="261"/>
                    <a:pt x="256" y="261"/>
                  </a:cubicBezTo>
                  <a:cubicBezTo>
                    <a:pt x="256" y="261"/>
                    <a:pt x="268" y="261"/>
                    <a:pt x="273" y="261"/>
                  </a:cubicBezTo>
                  <a:cubicBezTo>
                    <a:pt x="278" y="261"/>
                    <a:pt x="299" y="278"/>
                    <a:pt x="299" y="278"/>
                  </a:cubicBezTo>
                  <a:cubicBezTo>
                    <a:pt x="302" y="274"/>
                    <a:pt x="302" y="274"/>
                    <a:pt x="302" y="274"/>
                  </a:cubicBezTo>
                  <a:cubicBezTo>
                    <a:pt x="302" y="274"/>
                    <a:pt x="340" y="275"/>
                    <a:pt x="345" y="279"/>
                  </a:cubicBezTo>
                  <a:cubicBezTo>
                    <a:pt x="350" y="283"/>
                    <a:pt x="358" y="301"/>
                    <a:pt x="358" y="301"/>
                  </a:cubicBezTo>
                  <a:cubicBezTo>
                    <a:pt x="358" y="301"/>
                    <a:pt x="371" y="303"/>
                    <a:pt x="377" y="307"/>
                  </a:cubicBezTo>
                  <a:cubicBezTo>
                    <a:pt x="383" y="311"/>
                    <a:pt x="397" y="327"/>
                    <a:pt x="397" y="327"/>
                  </a:cubicBezTo>
                  <a:cubicBezTo>
                    <a:pt x="439" y="325"/>
                    <a:pt x="439" y="325"/>
                    <a:pt x="439" y="325"/>
                  </a:cubicBezTo>
                  <a:cubicBezTo>
                    <a:pt x="440" y="347"/>
                    <a:pt x="440" y="347"/>
                    <a:pt x="440" y="347"/>
                  </a:cubicBezTo>
                  <a:cubicBezTo>
                    <a:pt x="447" y="350"/>
                    <a:pt x="447" y="350"/>
                    <a:pt x="447" y="350"/>
                  </a:cubicBezTo>
                  <a:cubicBezTo>
                    <a:pt x="446" y="365"/>
                    <a:pt x="446" y="365"/>
                    <a:pt x="446" y="365"/>
                  </a:cubicBezTo>
                  <a:cubicBezTo>
                    <a:pt x="453" y="383"/>
                    <a:pt x="453" y="383"/>
                    <a:pt x="453" y="383"/>
                  </a:cubicBezTo>
                  <a:cubicBezTo>
                    <a:pt x="453" y="383"/>
                    <a:pt x="467" y="393"/>
                    <a:pt x="472" y="393"/>
                  </a:cubicBezTo>
                  <a:cubicBezTo>
                    <a:pt x="477" y="393"/>
                    <a:pt x="484" y="390"/>
                    <a:pt x="484" y="390"/>
                  </a:cubicBezTo>
                  <a:cubicBezTo>
                    <a:pt x="500" y="406"/>
                    <a:pt x="500" y="406"/>
                    <a:pt x="500" y="406"/>
                  </a:cubicBezTo>
                  <a:cubicBezTo>
                    <a:pt x="500" y="406"/>
                    <a:pt x="525" y="405"/>
                    <a:pt x="530" y="396"/>
                  </a:cubicBezTo>
                  <a:cubicBezTo>
                    <a:pt x="535" y="387"/>
                    <a:pt x="535" y="371"/>
                    <a:pt x="535" y="371"/>
                  </a:cubicBezTo>
                  <a:cubicBezTo>
                    <a:pt x="535" y="371"/>
                    <a:pt x="553" y="372"/>
                    <a:pt x="560" y="365"/>
                  </a:cubicBezTo>
                  <a:cubicBezTo>
                    <a:pt x="567" y="358"/>
                    <a:pt x="580" y="349"/>
                    <a:pt x="580" y="349"/>
                  </a:cubicBezTo>
                  <a:cubicBezTo>
                    <a:pt x="580" y="349"/>
                    <a:pt x="589" y="351"/>
                    <a:pt x="589" y="345"/>
                  </a:cubicBezTo>
                  <a:cubicBezTo>
                    <a:pt x="589" y="339"/>
                    <a:pt x="584" y="311"/>
                    <a:pt x="594" y="301"/>
                  </a:cubicBezTo>
                  <a:cubicBezTo>
                    <a:pt x="604" y="291"/>
                    <a:pt x="623" y="296"/>
                    <a:pt x="623" y="296"/>
                  </a:cubicBezTo>
                  <a:cubicBezTo>
                    <a:pt x="623" y="296"/>
                    <a:pt x="622" y="279"/>
                    <a:pt x="630" y="279"/>
                  </a:cubicBezTo>
                  <a:cubicBezTo>
                    <a:pt x="638" y="279"/>
                    <a:pt x="652" y="292"/>
                    <a:pt x="652" y="292"/>
                  </a:cubicBezTo>
                  <a:cubicBezTo>
                    <a:pt x="674" y="292"/>
                    <a:pt x="674" y="292"/>
                    <a:pt x="674" y="292"/>
                  </a:cubicBezTo>
                  <a:cubicBezTo>
                    <a:pt x="674" y="289"/>
                    <a:pt x="673" y="285"/>
                    <a:pt x="667" y="280"/>
                  </a:cubicBezTo>
                  <a:cubicBezTo>
                    <a:pt x="656" y="272"/>
                    <a:pt x="668" y="260"/>
                    <a:pt x="668" y="260"/>
                  </a:cubicBezTo>
                  <a:cubicBezTo>
                    <a:pt x="635" y="242"/>
                    <a:pt x="635" y="242"/>
                    <a:pt x="635" y="242"/>
                  </a:cubicBezTo>
                  <a:cubicBezTo>
                    <a:pt x="620" y="244"/>
                    <a:pt x="620" y="244"/>
                    <a:pt x="620" y="244"/>
                  </a:cubicBezTo>
                  <a:cubicBezTo>
                    <a:pt x="620" y="244"/>
                    <a:pt x="602" y="236"/>
                    <a:pt x="595" y="231"/>
                  </a:cubicBezTo>
                  <a:cubicBezTo>
                    <a:pt x="588" y="226"/>
                    <a:pt x="574" y="215"/>
                    <a:pt x="574" y="215"/>
                  </a:cubicBezTo>
                  <a:cubicBezTo>
                    <a:pt x="563" y="212"/>
                    <a:pt x="563" y="212"/>
                    <a:pt x="563" y="212"/>
                  </a:cubicBezTo>
                  <a:cubicBezTo>
                    <a:pt x="554" y="204"/>
                    <a:pt x="554" y="204"/>
                    <a:pt x="554" y="204"/>
                  </a:cubicBezTo>
                  <a:cubicBezTo>
                    <a:pt x="536" y="203"/>
                    <a:pt x="536" y="203"/>
                    <a:pt x="536" y="203"/>
                  </a:cubicBezTo>
                  <a:cubicBezTo>
                    <a:pt x="516" y="191"/>
                    <a:pt x="516" y="191"/>
                    <a:pt x="516" y="191"/>
                  </a:cubicBezTo>
                  <a:cubicBezTo>
                    <a:pt x="516" y="191"/>
                    <a:pt x="504" y="175"/>
                    <a:pt x="500" y="174"/>
                  </a:cubicBezTo>
                  <a:cubicBezTo>
                    <a:pt x="496" y="172"/>
                    <a:pt x="483" y="170"/>
                    <a:pt x="476" y="167"/>
                  </a:cubicBezTo>
                  <a:cubicBezTo>
                    <a:pt x="470" y="164"/>
                    <a:pt x="458" y="159"/>
                    <a:pt x="455" y="148"/>
                  </a:cubicBezTo>
                  <a:cubicBezTo>
                    <a:pt x="452" y="138"/>
                    <a:pt x="444" y="126"/>
                    <a:pt x="444" y="126"/>
                  </a:cubicBezTo>
                  <a:cubicBezTo>
                    <a:pt x="431" y="111"/>
                    <a:pt x="431" y="111"/>
                    <a:pt x="431" y="111"/>
                  </a:cubicBezTo>
                  <a:cubicBezTo>
                    <a:pt x="422" y="92"/>
                    <a:pt x="422" y="92"/>
                    <a:pt x="422" y="92"/>
                  </a:cubicBezTo>
                  <a:cubicBezTo>
                    <a:pt x="398" y="80"/>
                    <a:pt x="398" y="80"/>
                    <a:pt x="398" y="80"/>
                  </a:cubicBezTo>
                  <a:cubicBezTo>
                    <a:pt x="398" y="86"/>
                    <a:pt x="398" y="86"/>
                    <a:pt x="398" y="86"/>
                  </a:cubicBezTo>
                  <a:cubicBezTo>
                    <a:pt x="362" y="82"/>
                    <a:pt x="362" y="82"/>
                    <a:pt x="362" y="82"/>
                  </a:cubicBezTo>
                  <a:cubicBezTo>
                    <a:pt x="362" y="82"/>
                    <a:pt x="336" y="83"/>
                    <a:pt x="331" y="74"/>
                  </a:cubicBezTo>
                  <a:cubicBezTo>
                    <a:pt x="326" y="64"/>
                    <a:pt x="338" y="52"/>
                    <a:pt x="338" y="52"/>
                  </a:cubicBezTo>
                  <a:cubicBezTo>
                    <a:pt x="328" y="47"/>
                    <a:pt x="328" y="47"/>
                    <a:pt x="328" y="47"/>
                  </a:cubicBezTo>
                  <a:cubicBezTo>
                    <a:pt x="328" y="47"/>
                    <a:pt x="330" y="32"/>
                    <a:pt x="320" y="28"/>
                  </a:cubicBezTo>
                  <a:cubicBezTo>
                    <a:pt x="311" y="24"/>
                    <a:pt x="298" y="27"/>
                    <a:pt x="298" y="27"/>
                  </a:cubicBezTo>
                  <a:cubicBezTo>
                    <a:pt x="288" y="23"/>
                    <a:pt x="288" y="23"/>
                    <a:pt x="288" y="23"/>
                  </a:cubicBezTo>
                  <a:cubicBezTo>
                    <a:pt x="290" y="15"/>
                    <a:pt x="290" y="15"/>
                    <a:pt x="290" y="15"/>
                  </a:cubicBezTo>
                  <a:cubicBezTo>
                    <a:pt x="274" y="16"/>
                    <a:pt x="274" y="16"/>
                    <a:pt x="274" y="16"/>
                  </a:cubicBezTo>
                  <a:cubicBezTo>
                    <a:pt x="262" y="0"/>
                    <a:pt x="262" y="0"/>
                    <a:pt x="262" y="0"/>
                  </a:cubicBezTo>
                  <a:cubicBezTo>
                    <a:pt x="258" y="7"/>
                    <a:pt x="258" y="7"/>
                    <a:pt x="258" y="7"/>
                  </a:cubicBezTo>
                  <a:cubicBezTo>
                    <a:pt x="238" y="6"/>
                    <a:pt x="238" y="6"/>
                    <a:pt x="238" y="6"/>
                  </a:cubicBezTo>
                  <a:cubicBezTo>
                    <a:pt x="258" y="24"/>
                    <a:pt x="258" y="24"/>
                    <a:pt x="258" y="24"/>
                  </a:cubicBezTo>
                  <a:cubicBezTo>
                    <a:pt x="258" y="24"/>
                    <a:pt x="239" y="16"/>
                    <a:pt x="235" y="18"/>
                  </a:cubicBezTo>
                  <a:cubicBezTo>
                    <a:pt x="231" y="19"/>
                    <a:pt x="231" y="30"/>
                    <a:pt x="231" y="30"/>
                  </a:cubicBezTo>
                  <a:cubicBezTo>
                    <a:pt x="231" y="30"/>
                    <a:pt x="199" y="36"/>
                    <a:pt x="198" y="50"/>
                  </a:cubicBezTo>
                  <a:cubicBezTo>
                    <a:pt x="196" y="63"/>
                    <a:pt x="211" y="79"/>
                    <a:pt x="211" y="79"/>
                  </a:cubicBezTo>
                  <a:cubicBezTo>
                    <a:pt x="167" y="79"/>
                    <a:pt x="167" y="79"/>
                    <a:pt x="167" y="79"/>
                  </a:cubicBezTo>
                  <a:cubicBezTo>
                    <a:pt x="167" y="79"/>
                    <a:pt x="163" y="72"/>
                    <a:pt x="156" y="72"/>
                  </a:cubicBezTo>
                  <a:cubicBezTo>
                    <a:pt x="150" y="72"/>
                    <a:pt x="151" y="87"/>
                    <a:pt x="140" y="82"/>
                  </a:cubicBezTo>
                  <a:cubicBezTo>
                    <a:pt x="130" y="76"/>
                    <a:pt x="112" y="51"/>
                    <a:pt x="112" y="51"/>
                  </a:cubicBezTo>
                  <a:cubicBezTo>
                    <a:pt x="112" y="51"/>
                    <a:pt x="102" y="38"/>
                    <a:pt x="94" y="34"/>
                  </a:cubicBezTo>
                  <a:cubicBezTo>
                    <a:pt x="86" y="30"/>
                    <a:pt x="54" y="18"/>
                    <a:pt x="51" y="22"/>
                  </a:cubicBezTo>
                  <a:cubicBezTo>
                    <a:pt x="48" y="26"/>
                    <a:pt x="50" y="32"/>
                    <a:pt x="50" y="32"/>
                  </a:cubicBezTo>
                  <a:cubicBezTo>
                    <a:pt x="50" y="32"/>
                    <a:pt x="60" y="38"/>
                    <a:pt x="60" y="42"/>
                  </a:cubicBezTo>
                  <a:cubicBezTo>
                    <a:pt x="60" y="46"/>
                    <a:pt x="63" y="46"/>
                    <a:pt x="70" y="58"/>
                  </a:cubicBezTo>
                  <a:cubicBezTo>
                    <a:pt x="76" y="70"/>
                    <a:pt x="112" y="79"/>
                    <a:pt x="110" y="90"/>
                  </a:cubicBezTo>
                  <a:cubicBezTo>
                    <a:pt x="107" y="100"/>
                    <a:pt x="107" y="106"/>
                    <a:pt x="100" y="104"/>
                  </a:cubicBezTo>
                  <a:cubicBezTo>
                    <a:pt x="94" y="103"/>
                    <a:pt x="79" y="90"/>
                    <a:pt x="82" y="94"/>
                  </a:cubicBezTo>
                  <a:cubicBezTo>
                    <a:pt x="84" y="98"/>
                    <a:pt x="79" y="107"/>
                    <a:pt x="79" y="107"/>
                  </a:cubicBezTo>
                  <a:cubicBezTo>
                    <a:pt x="52" y="108"/>
                    <a:pt x="52" y="108"/>
                    <a:pt x="52" y="108"/>
                  </a:cubicBezTo>
                  <a:cubicBezTo>
                    <a:pt x="44" y="95"/>
                    <a:pt x="44" y="95"/>
                    <a:pt x="44" y="95"/>
                  </a:cubicBezTo>
                  <a:cubicBezTo>
                    <a:pt x="40" y="100"/>
                    <a:pt x="40" y="100"/>
                    <a:pt x="40" y="100"/>
                  </a:cubicBezTo>
                  <a:cubicBezTo>
                    <a:pt x="40" y="100"/>
                    <a:pt x="30" y="90"/>
                    <a:pt x="24" y="80"/>
                  </a:cubicBezTo>
                  <a:cubicBezTo>
                    <a:pt x="19" y="71"/>
                    <a:pt x="23" y="56"/>
                    <a:pt x="19" y="55"/>
                  </a:cubicBezTo>
                  <a:cubicBezTo>
                    <a:pt x="15" y="54"/>
                    <a:pt x="3" y="47"/>
                    <a:pt x="2" y="52"/>
                  </a:cubicBezTo>
                  <a:cubicBezTo>
                    <a:pt x="0" y="58"/>
                    <a:pt x="14" y="72"/>
                    <a:pt x="14" y="72"/>
                  </a:cubicBezTo>
                  <a:cubicBezTo>
                    <a:pt x="14" y="72"/>
                    <a:pt x="34" y="96"/>
                    <a:pt x="34" y="100"/>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93" name="Freeform 54"/>
            <p:cNvSpPr>
              <a:spLocks/>
            </p:cNvSpPr>
            <p:nvPr/>
          </p:nvSpPr>
          <p:spPr bwMode="gray">
            <a:xfrm>
              <a:off x="5772150" y="2817813"/>
              <a:ext cx="339725" cy="274638"/>
            </a:xfrm>
            <a:custGeom>
              <a:avLst/>
              <a:gdLst>
                <a:gd name="T0" fmla="*/ 607 w 607"/>
                <a:gd name="T1" fmla="*/ 64 h 492"/>
                <a:gd name="T2" fmla="*/ 587 w 607"/>
                <a:gd name="T3" fmla="*/ 59 h 492"/>
                <a:gd name="T4" fmla="*/ 561 w 607"/>
                <a:gd name="T5" fmla="*/ 57 h 492"/>
                <a:gd name="T6" fmla="*/ 516 w 607"/>
                <a:gd name="T7" fmla="*/ 81 h 492"/>
                <a:gd name="T8" fmla="*/ 485 w 607"/>
                <a:gd name="T9" fmla="*/ 100 h 492"/>
                <a:gd name="T10" fmla="*/ 455 w 607"/>
                <a:gd name="T11" fmla="*/ 33 h 492"/>
                <a:gd name="T12" fmla="*/ 441 w 607"/>
                <a:gd name="T13" fmla="*/ 14 h 492"/>
                <a:gd name="T14" fmla="*/ 413 w 607"/>
                <a:gd name="T15" fmla="*/ 19 h 492"/>
                <a:gd name="T16" fmla="*/ 407 w 607"/>
                <a:gd name="T17" fmla="*/ 40 h 492"/>
                <a:gd name="T18" fmla="*/ 395 w 607"/>
                <a:gd name="T19" fmla="*/ 48 h 492"/>
                <a:gd name="T20" fmla="*/ 364 w 607"/>
                <a:gd name="T21" fmla="*/ 79 h 492"/>
                <a:gd name="T22" fmla="*/ 315 w 607"/>
                <a:gd name="T23" fmla="*/ 83 h 492"/>
                <a:gd name="T24" fmla="*/ 287 w 607"/>
                <a:gd name="T25" fmla="*/ 66 h 492"/>
                <a:gd name="T26" fmla="*/ 267 w 607"/>
                <a:gd name="T27" fmla="*/ 57 h 492"/>
                <a:gd name="T28" fmla="*/ 229 w 607"/>
                <a:gd name="T29" fmla="*/ 63 h 492"/>
                <a:gd name="T30" fmla="*/ 200 w 607"/>
                <a:gd name="T31" fmla="*/ 67 h 492"/>
                <a:gd name="T32" fmla="*/ 166 w 607"/>
                <a:gd name="T33" fmla="*/ 116 h 492"/>
                <a:gd name="T34" fmla="*/ 137 w 607"/>
                <a:gd name="T35" fmla="*/ 136 h 492"/>
                <a:gd name="T36" fmla="*/ 107 w 607"/>
                <a:gd name="T37" fmla="*/ 167 h 492"/>
                <a:gd name="T38" fmla="*/ 61 w 607"/>
                <a:gd name="T39" fmla="*/ 161 h 492"/>
                <a:gd name="T40" fmla="*/ 30 w 607"/>
                <a:gd name="T41" fmla="*/ 154 h 492"/>
                <a:gd name="T42" fmla="*/ 29 w 607"/>
                <a:gd name="T43" fmla="*/ 205 h 492"/>
                <a:gd name="T44" fmla="*/ 20 w 607"/>
                <a:gd name="T45" fmla="*/ 220 h 492"/>
                <a:gd name="T46" fmla="*/ 11 w 607"/>
                <a:gd name="T47" fmla="*/ 244 h 492"/>
                <a:gd name="T48" fmla="*/ 31 w 607"/>
                <a:gd name="T49" fmla="*/ 266 h 492"/>
                <a:gd name="T50" fmla="*/ 40 w 607"/>
                <a:gd name="T51" fmla="*/ 341 h 492"/>
                <a:gd name="T52" fmla="*/ 70 w 607"/>
                <a:gd name="T53" fmla="*/ 382 h 492"/>
                <a:gd name="T54" fmla="*/ 79 w 607"/>
                <a:gd name="T55" fmla="*/ 434 h 492"/>
                <a:gd name="T56" fmla="*/ 61 w 607"/>
                <a:gd name="T57" fmla="*/ 467 h 492"/>
                <a:gd name="T58" fmla="*/ 142 w 607"/>
                <a:gd name="T59" fmla="*/ 490 h 492"/>
                <a:gd name="T60" fmla="*/ 196 w 607"/>
                <a:gd name="T61" fmla="*/ 484 h 492"/>
                <a:gd name="T62" fmla="*/ 218 w 607"/>
                <a:gd name="T63" fmla="*/ 482 h 492"/>
                <a:gd name="T64" fmla="*/ 307 w 607"/>
                <a:gd name="T65" fmla="*/ 459 h 492"/>
                <a:gd name="T66" fmla="*/ 298 w 607"/>
                <a:gd name="T67" fmla="*/ 403 h 492"/>
                <a:gd name="T68" fmla="*/ 327 w 607"/>
                <a:gd name="T69" fmla="*/ 390 h 492"/>
                <a:gd name="T70" fmla="*/ 348 w 607"/>
                <a:gd name="T71" fmla="*/ 376 h 492"/>
                <a:gd name="T72" fmla="*/ 381 w 607"/>
                <a:gd name="T73" fmla="*/ 361 h 492"/>
                <a:gd name="T74" fmla="*/ 409 w 607"/>
                <a:gd name="T75" fmla="*/ 371 h 492"/>
                <a:gd name="T76" fmla="*/ 417 w 607"/>
                <a:gd name="T77" fmla="*/ 325 h 492"/>
                <a:gd name="T78" fmla="*/ 425 w 607"/>
                <a:gd name="T79" fmla="*/ 291 h 492"/>
                <a:gd name="T80" fmla="*/ 462 w 607"/>
                <a:gd name="T81" fmla="*/ 275 h 492"/>
                <a:gd name="T82" fmla="*/ 447 w 607"/>
                <a:gd name="T83" fmla="*/ 258 h 492"/>
                <a:gd name="T84" fmla="*/ 434 w 607"/>
                <a:gd name="T85" fmla="*/ 238 h 492"/>
                <a:gd name="T86" fmla="*/ 456 w 607"/>
                <a:gd name="T87" fmla="*/ 246 h 492"/>
                <a:gd name="T88" fmla="*/ 467 w 607"/>
                <a:gd name="T89" fmla="*/ 242 h 492"/>
                <a:gd name="T90" fmla="*/ 479 w 607"/>
                <a:gd name="T91" fmla="*/ 222 h 492"/>
                <a:gd name="T92" fmla="*/ 494 w 607"/>
                <a:gd name="T93" fmla="*/ 188 h 492"/>
                <a:gd name="T94" fmla="*/ 479 w 607"/>
                <a:gd name="T95" fmla="*/ 144 h 492"/>
                <a:gd name="T96" fmla="*/ 486 w 607"/>
                <a:gd name="T97" fmla="*/ 109 h 492"/>
                <a:gd name="T98" fmla="*/ 540 w 607"/>
                <a:gd name="T99" fmla="*/ 88 h 492"/>
                <a:gd name="T100" fmla="*/ 584 w 607"/>
                <a:gd name="T101" fmla="*/ 88 h 492"/>
                <a:gd name="T102" fmla="*/ 602 w 607"/>
                <a:gd name="T103" fmla="*/ 78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607" h="492">
                  <a:moveTo>
                    <a:pt x="596" y="71"/>
                  </a:moveTo>
                  <a:cubicBezTo>
                    <a:pt x="594" y="65"/>
                    <a:pt x="600" y="65"/>
                    <a:pt x="607" y="64"/>
                  </a:cubicBezTo>
                  <a:cubicBezTo>
                    <a:pt x="600" y="59"/>
                    <a:pt x="600" y="59"/>
                    <a:pt x="600" y="59"/>
                  </a:cubicBezTo>
                  <a:cubicBezTo>
                    <a:pt x="587" y="59"/>
                    <a:pt x="587" y="59"/>
                    <a:pt x="587" y="59"/>
                  </a:cubicBezTo>
                  <a:cubicBezTo>
                    <a:pt x="563" y="67"/>
                    <a:pt x="563" y="67"/>
                    <a:pt x="563" y="67"/>
                  </a:cubicBezTo>
                  <a:cubicBezTo>
                    <a:pt x="561" y="57"/>
                    <a:pt x="561" y="57"/>
                    <a:pt x="561" y="57"/>
                  </a:cubicBezTo>
                  <a:cubicBezTo>
                    <a:pt x="561" y="57"/>
                    <a:pt x="537" y="54"/>
                    <a:pt x="530" y="62"/>
                  </a:cubicBezTo>
                  <a:cubicBezTo>
                    <a:pt x="523" y="70"/>
                    <a:pt x="516" y="81"/>
                    <a:pt x="516" y="81"/>
                  </a:cubicBezTo>
                  <a:cubicBezTo>
                    <a:pt x="506" y="81"/>
                    <a:pt x="506" y="81"/>
                    <a:pt x="506" y="81"/>
                  </a:cubicBezTo>
                  <a:cubicBezTo>
                    <a:pt x="506" y="81"/>
                    <a:pt x="492" y="97"/>
                    <a:pt x="485" y="100"/>
                  </a:cubicBezTo>
                  <a:cubicBezTo>
                    <a:pt x="478" y="103"/>
                    <a:pt x="462" y="75"/>
                    <a:pt x="462" y="75"/>
                  </a:cubicBezTo>
                  <a:cubicBezTo>
                    <a:pt x="455" y="33"/>
                    <a:pt x="455" y="33"/>
                    <a:pt x="455" y="33"/>
                  </a:cubicBezTo>
                  <a:cubicBezTo>
                    <a:pt x="441" y="33"/>
                    <a:pt x="441" y="33"/>
                    <a:pt x="441" y="33"/>
                  </a:cubicBezTo>
                  <a:cubicBezTo>
                    <a:pt x="441" y="33"/>
                    <a:pt x="441" y="19"/>
                    <a:pt x="441" y="14"/>
                  </a:cubicBezTo>
                  <a:cubicBezTo>
                    <a:pt x="441" y="9"/>
                    <a:pt x="430" y="0"/>
                    <a:pt x="421" y="0"/>
                  </a:cubicBezTo>
                  <a:cubicBezTo>
                    <a:pt x="412" y="0"/>
                    <a:pt x="413" y="15"/>
                    <a:pt x="413" y="19"/>
                  </a:cubicBezTo>
                  <a:cubicBezTo>
                    <a:pt x="413" y="23"/>
                    <a:pt x="399" y="26"/>
                    <a:pt x="399" y="33"/>
                  </a:cubicBezTo>
                  <a:cubicBezTo>
                    <a:pt x="399" y="40"/>
                    <a:pt x="407" y="40"/>
                    <a:pt x="407" y="40"/>
                  </a:cubicBezTo>
                  <a:cubicBezTo>
                    <a:pt x="402" y="54"/>
                    <a:pt x="402" y="54"/>
                    <a:pt x="402" y="54"/>
                  </a:cubicBezTo>
                  <a:cubicBezTo>
                    <a:pt x="395" y="48"/>
                    <a:pt x="395" y="48"/>
                    <a:pt x="395" y="48"/>
                  </a:cubicBezTo>
                  <a:cubicBezTo>
                    <a:pt x="395" y="48"/>
                    <a:pt x="373" y="49"/>
                    <a:pt x="368" y="54"/>
                  </a:cubicBezTo>
                  <a:cubicBezTo>
                    <a:pt x="363" y="59"/>
                    <a:pt x="368" y="77"/>
                    <a:pt x="364" y="79"/>
                  </a:cubicBezTo>
                  <a:cubicBezTo>
                    <a:pt x="360" y="81"/>
                    <a:pt x="349" y="64"/>
                    <a:pt x="346" y="64"/>
                  </a:cubicBezTo>
                  <a:cubicBezTo>
                    <a:pt x="343" y="64"/>
                    <a:pt x="318" y="84"/>
                    <a:pt x="315" y="83"/>
                  </a:cubicBezTo>
                  <a:cubicBezTo>
                    <a:pt x="312" y="82"/>
                    <a:pt x="292" y="66"/>
                    <a:pt x="292" y="66"/>
                  </a:cubicBezTo>
                  <a:cubicBezTo>
                    <a:pt x="287" y="66"/>
                    <a:pt x="287" y="66"/>
                    <a:pt x="287" y="66"/>
                  </a:cubicBezTo>
                  <a:cubicBezTo>
                    <a:pt x="276" y="71"/>
                    <a:pt x="276" y="71"/>
                    <a:pt x="276" y="71"/>
                  </a:cubicBezTo>
                  <a:cubicBezTo>
                    <a:pt x="267" y="57"/>
                    <a:pt x="267" y="57"/>
                    <a:pt x="267" y="57"/>
                  </a:cubicBezTo>
                  <a:cubicBezTo>
                    <a:pt x="259" y="63"/>
                    <a:pt x="259" y="63"/>
                    <a:pt x="259" y="63"/>
                  </a:cubicBezTo>
                  <a:cubicBezTo>
                    <a:pt x="229" y="63"/>
                    <a:pt x="229" y="63"/>
                    <a:pt x="229" y="63"/>
                  </a:cubicBezTo>
                  <a:cubicBezTo>
                    <a:pt x="229" y="63"/>
                    <a:pt x="215" y="50"/>
                    <a:pt x="207" y="50"/>
                  </a:cubicBezTo>
                  <a:cubicBezTo>
                    <a:pt x="199" y="50"/>
                    <a:pt x="200" y="67"/>
                    <a:pt x="200" y="67"/>
                  </a:cubicBezTo>
                  <a:cubicBezTo>
                    <a:pt x="200" y="67"/>
                    <a:pt x="181" y="62"/>
                    <a:pt x="171" y="72"/>
                  </a:cubicBezTo>
                  <a:cubicBezTo>
                    <a:pt x="161" y="82"/>
                    <a:pt x="166" y="110"/>
                    <a:pt x="166" y="116"/>
                  </a:cubicBezTo>
                  <a:cubicBezTo>
                    <a:pt x="166" y="122"/>
                    <a:pt x="157" y="120"/>
                    <a:pt x="157" y="120"/>
                  </a:cubicBezTo>
                  <a:cubicBezTo>
                    <a:pt x="157" y="120"/>
                    <a:pt x="144" y="129"/>
                    <a:pt x="137" y="136"/>
                  </a:cubicBezTo>
                  <a:cubicBezTo>
                    <a:pt x="130" y="143"/>
                    <a:pt x="112" y="142"/>
                    <a:pt x="112" y="142"/>
                  </a:cubicBezTo>
                  <a:cubicBezTo>
                    <a:pt x="112" y="142"/>
                    <a:pt x="112" y="158"/>
                    <a:pt x="107" y="167"/>
                  </a:cubicBezTo>
                  <a:cubicBezTo>
                    <a:pt x="102" y="176"/>
                    <a:pt x="77" y="177"/>
                    <a:pt x="77" y="177"/>
                  </a:cubicBezTo>
                  <a:cubicBezTo>
                    <a:pt x="61" y="161"/>
                    <a:pt x="61" y="161"/>
                    <a:pt x="61" y="161"/>
                  </a:cubicBezTo>
                  <a:cubicBezTo>
                    <a:pt x="61" y="161"/>
                    <a:pt x="54" y="164"/>
                    <a:pt x="49" y="164"/>
                  </a:cubicBezTo>
                  <a:cubicBezTo>
                    <a:pt x="44" y="164"/>
                    <a:pt x="30" y="154"/>
                    <a:pt x="30" y="154"/>
                  </a:cubicBezTo>
                  <a:cubicBezTo>
                    <a:pt x="30" y="154"/>
                    <a:pt x="24" y="161"/>
                    <a:pt x="23" y="168"/>
                  </a:cubicBezTo>
                  <a:cubicBezTo>
                    <a:pt x="22" y="175"/>
                    <a:pt x="29" y="205"/>
                    <a:pt x="29" y="205"/>
                  </a:cubicBezTo>
                  <a:cubicBezTo>
                    <a:pt x="15" y="209"/>
                    <a:pt x="15" y="209"/>
                    <a:pt x="15" y="209"/>
                  </a:cubicBezTo>
                  <a:cubicBezTo>
                    <a:pt x="20" y="220"/>
                    <a:pt x="20" y="220"/>
                    <a:pt x="20" y="220"/>
                  </a:cubicBezTo>
                  <a:cubicBezTo>
                    <a:pt x="20" y="220"/>
                    <a:pt x="6" y="225"/>
                    <a:pt x="3" y="230"/>
                  </a:cubicBezTo>
                  <a:cubicBezTo>
                    <a:pt x="0" y="235"/>
                    <a:pt x="11" y="244"/>
                    <a:pt x="11" y="244"/>
                  </a:cubicBezTo>
                  <a:cubicBezTo>
                    <a:pt x="9" y="263"/>
                    <a:pt x="9" y="263"/>
                    <a:pt x="9" y="263"/>
                  </a:cubicBezTo>
                  <a:cubicBezTo>
                    <a:pt x="9" y="263"/>
                    <a:pt x="30" y="260"/>
                    <a:pt x="31" y="266"/>
                  </a:cubicBezTo>
                  <a:cubicBezTo>
                    <a:pt x="32" y="272"/>
                    <a:pt x="17" y="280"/>
                    <a:pt x="15" y="293"/>
                  </a:cubicBezTo>
                  <a:cubicBezTo>
                    <a:pt x="13" y="306"/>
                    <a:pt x="40" y="330"/>
                    <a:pt x="40" y="341"/>
                  </a:cubicBezTo>
                  <a:cubicBezTo>
                    <a:pt x="40" y="352"/>
                    <a:pt x="40" y="366"/>
                    <a:pt x="40" y="374"/>
                  </a:cubicBezTo>
                  <a:cubicBezTo>
                    <a:pt x="40" y="382"/>
                    <a:pt x="70" y="382"/>
                    <a:pt x="70" y="382"/>
                  </a:cubicBezTo>
                  <a:cubicBezTo>
                    <a:pt x="70" y="382"/>
                    <a:pt x="85" y="377"/>
                    <a:pt x="91" y="394"/>
                  </a:cubicBezTo>
                  <a:cubicBezTo>
                    <a:pt x="97" y="411"/>
                    <a:pt x="86" y="424"/>
                    <a:pt x="79" y="434"/>
                  </a:cubicBezTo>
                  <a:cubicBezTo>
                    <a:pt x="72" y="444"/>
                    <a:pt x="56" y="458"/>
                    <a:pt x="56" y="462"/>
                  </a:cubicBezTo>
                  <a:cubicBezTo>
                    <a:pt x="56" y="466"/>
                    <a:pt x="61" y="467"/>
                    <a:pt x="61" y="467"/>
                  </a:cubicBezTo>
                  <a:cubicBezTo>
                    <a:pt x="61" y="467"/>
                    <a:pt x="73" y="464"/>
                    <a:pt x="82" y="469"/>
                  </a:cubicBezTo>
                  <a:cubicBezTo>
                    <a:pt x="91" y="474"/>
                    <a:pt x="121" y="492"/>
                    <a:pt x="142" y="490"/>
                  </a:cubicBezTo>
                  <a:cubicBezTo>
                    <a:pt x="163" y="488"/>
                    <a:pt x="161" y="483"/>
                    <a:pt x="161" y="483"/>
                  </a:cubicBezTo>
                  <a:cubicBezTo>
                    <a:pt x="196" y="484"/>
                    <a:pt x="196" y="484"/>
                    <a:pt x="196" y="484"/>
                  </a:cubicBezTo>
                  <a:cubicBezTo>
                    <a:pt x="196" y="484"/>
                    <a:pt x="193" y="488"/>
                    <a:pt x="205" y="488"/>
                  </a:cubicBezTo>
                  <a:cubicBezTo>
                    <a:pt x="217" y="488"/>
                    <a:pt x="218" y="482"/>
                    <a:pt x="218" y="482"/>
                  </a:cubicBezTo>
                  <a:cubicBezTo>
                    <a:pt x="218" y="482"/>
                    <a:pt x="260" y="480"/>
                    <a:pt x="263" y="479"/>
                  </a:cubicBezTo>
                  <a:cubicBezTo>
                    <a:pt x="266" y="478"/>
                    <a:pt x="305" y="465"/>
                    <a:pt x="307" y="459"/>
                  </a:cubicBezTo>
                  <a:cubicBezTo>
                    <a:pt x="309" y="453"/>
                    <a:pt x="303" y="433"/>
                    <a:pt x="303" y="433"/>
                  </a:cubicBezTo>
                  <a:cubicBezTo>
                    <a:pt x="303" y="433"/>
                    <a:pt x="296" y="409"/>
                    <a:pt x="298" y="403"/>
                  </a:cubicBezTo>
                  <a:cubicBezTo>
                    <a:pt x="300" y="397"/>
                    <a:pt x="315" y="384"/>
                    <a:pt x="323" y="384"/>
                  </a:cubicBezTo>
                  <a:cubicBezTo>
                    <a:pt x="331" y="384"/>
                    <a:pt x="327" y="390"/>
                    <a:pt x="327" y="390"/>
                  </a:cubicBezTo>
                  <a:cubicBezTo>
                    <a:pt x="327" y="390"/>
                    <a:pt x="357" y="395"/>
                    <a:pt x="359" y="389"/>
                  </a:cubicBezTo>
                  <a:cubicBezTo>
                    <a:pt x="361" y="383"/>
                    <a:pt x="344" y="381"/>
                    <a:pt x="348" y="376"/>
                  </a:cubicBezTo>
                  <a:cubicBezTo>
                    <a:pt x="352" y="371"/>
                    <a:pt x="366" y="367"/>
                    <a:pt x="366" y="367"/>
                  </a:cubicBezTo>
                  <a:cubicBezTo>
                    <a:pt x="366" y="367"/>
                    <a:pt x="373" y="361"/>
                    <a:pt x="381" y="361"/>
                  </a:cubicBezTo>
                  <a:cubicBezTo>
                    <a:pt x="389" y="361"/>
                    <a:pt x="399" y="359"/>
                    <a:pt x="399" y="359"/>
                  </a:cubicBezTo>
                  <a:cubicBezTo>
                    <a:pt x="399" y="359"/>
                    <a:pt x="396" y="378"/>
                    <a:pt x="409" y="371"/>
                  </a:cubicBezTo>
                  <a:cubicBezTo>
                    <a:pt x="422" y="364"/>
                    <a:pt x="425" y="355"/>
                    <a:pt x="425" y="355"/>
                  </a:cubicBezTo>
                  <a:cubicBezTo>
                    <a:pt x="425" y="355"/>
                    <a:pt x="416" y="337"/>
                    <a:pt x="417" y="325"/>
                  </a:cubicBezTo>
                  <a:cubicBezTo>
                    <a:pt x="418" y="313"/>
                    <a:pt x="424" y="316"/>
                    <a:pt x="424" y="316"/>
                  </a:cubicBezTo>
                  <a:cubicBezTo>
                    <a:pt x="424" y="316"/>
                    <a:pt x="421" y="294"/>
                    <a:pt x="425" y="291"/>
                  </a:cubicBezTo>
                  <a:cubicBezTo>
                    <a:pt x="429" y="288"/>
                    <a:pt x="442" y="289"/>
                    <a:pt x="442" y="289"/>
                  </a:cubicBezTo>
                  <a:cubicBezTo>
                    <a:pt x="462" y="275"/>
                    <a:pt x="462" y="275"/>
                    <a:pt x="462" y="275"/>
                  </a:cubicBezTo>
                  <a:cubicBezTo>
                    <a:pt x="462" y="275"/>
                    <a:pt x="451" y="276"/>
                    <a:pt x="449" y="269"/>
                  </a:cubicBezTo>
                  <a:cubicBezTo>
                    <a:pt x="447" y="262"/>
                    <a:pt x="447" y="258"/>
                    <a:pt x="447" y="258"/>
                  </a:cubicBezTo>
                  <a:cubicBezTo>
                    <a:pt x="447" y="258"/>
                    <a:pt x="432" y="254"/>
                    <a:pt x="431" y="249"/>
                  </a:cubicBezTo>
                  <a:cubicBezTo>
                    <a:pt x="430" y="244"/>
                    <a:pt x="430" y="239"/>
                    <a:pt x="434" y="238"/>
                  </a:cubicBezTo>
                  <a:cubicBezTo>
                    <a:pt x="438" y="237"/>
                    <a:pt x="445" y="245"/>
                    <a:pt x="445" y="245"/>
                  </a:cubicBezTo>
                  <a:cubicBezTo>
                    <a:pt x="456" y="246"/>
                    <a:pt x="456" y="246"/>
                    <a:pt x="456" y="246"/>
                  </a:cubicBezTo>
                  <a:cubicBezTo>
                    <a:pt x="463" y="249"/>
                    <a:pt x="463" y="249"/>
                    <a:pt x="463" y="249"/>
                  </a:cubicBezTo>
                  <a:cubicBezTo>
                    <a:pt x="467" y="242"/>
                    <a:pt x="467" y="242"/>
                    <a:pt x="467" y="242"/>
                  </a:cubicBezTo>
                  <a:cubicBezTo>
                    <a:pt x="467" y="242"/>
                    <a:pt x="478" y="245"/>
                    <a:pt x="479" y="238"/>
                  </a:cubicBezTo>
                  <a:cubicBezTo>
                    <a:pt x="480" y="231"/>
                    <a:pt x="479" y="222"/>
                    <a:pt x="479" y="222"/>
                  </a:cubicBezTo>
                  <a:cubicBezTo>
                    <a:pt x="479" y="222"/>
                    <a:pt x="472" y="221"/>
                    <a:pt x="473" y="212"/>
                  </a:cubicBezTo>
                  <a:cubicBezTo>
                    <a:pt x="474" y="203"/>
                    <a:pt x="491" y="195"/>
                    <a:pt x="494" y="188"/>
                  </a:cubicBezTo>
                  <a:cubicBezTo>
                    <a:pt x="497" y="181"/>
                    <a:pt x="487" y="173"/>
                    <a:pt x="487" y="173"/>
                  </a:cubicBezTo>
                  <a:cubicBezTo>
                    <a:pt x="487" y="173"/>
                    <a:pt x="490" y="156"/>
                    <a:pt x="479" y="144"/>
                  </a:cubicBezTo>
                  <a:cubicBezTo>
                    <a:pt x="468" y="132"/>
                    <a:pt x="463" y="136"/>
                    <a:pt x="469" y="124"/>
                  </a:cubicBezTo>
                  <a:cubicBezTo>
                    <a:pt x="475" y="112"/>
                    <a:pt x="486" y="109"/>
                    <a:pt x="486" y="109"/>
                  </a:cubicBezTo>
                  <a:cubicBezTo>
                    <a:pt x="486" y="109"/>
                    <a:pt x="509" y="93"/>
                    <a:pt x="516" y="90"/>
                  </a:cubicBezTo>
                  <a:cubicBezTo>
                    <a:pt x="523" y="87"/>
                    <a:pt x="540" y="88"/>
                    <a:pt x="540" y="88"/>
                  </a:cubicBezTo>
                  <a:cubicBezTo>
                    <a:pt x="540" y="88"/>
                    <a:pt x="563" y="83"/>
                    <a:pt x="566" y="83"/>
                  </a:cubicBezTo>
                  <a:cubicBezTo>
                    <a:pt x="569" y="83"/>
                    <a:pt x="579" y="89"/>
                    <a:pt x="584" y="88"/>
                  </a:cubicBezTo>
                  <a:cubicBezTo>
                    <a:pt x="587" y="87"/>
                    <a:pt x="596" y="82"/>
                    <a:pt x="602" y="78"/>
                  </a:cubicBezTo>
                  <a:cubicBezTo>
                    <a:pt x="602" y="78"/>
                    <a:pt x="602" y="78"/>
                    <a:pt x="602" y="78"/>
                  </a:cubicBezTo>
                  <a:cubicBezTo>
                    <a:pt x="599" y="76"/>
                    <a:pt x="597" y="74"/>
                    <a:pt x="596" y="71"/>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94" name="Freeform 55"/>
            <p:cNvSpPr>
              <a:spLocks/>
            </p:cNvSpPr>
            <p:nvPr/>
          </p:nvSpPr>
          <p:spPr bwMode="gray">
            <a:xfrm>
              <a:off x="5137150" y="3008313"/>
              <a:ext cx="558800" cy="476250"/>
            </a:xfrm>
            <a:custGeom>
              <a:avLst/>
              <a:gdLst>
                <a:gd name="T0" fmla="*/ 976 w 998"/>
                <a:gd name="T1" fmla="*/ 516 h 851"/>
                <a:gd name="T2" fmla="*/ 804 w 998"/>
                <a:gd name="T3" fmla="*/ 446 h 851"/>
                <a:gd name="T4" fmla="*/ 794 w 998"/>
                <a:gd name="T5" fmla="*/ 413 h 851"/>
                <a:gd name="T6" fmla="*/ 780 w 998"/>
                <a:gd name="T7" fmla="*/ 407 h 851"/>
                <a:gd name="T8" fmla="*/ 764 w 998"/>
                <a:gd name="T9" fmla="*/ 400 h 851"/>
                <a:gd name="T10" fmla="*/ 719 w 998"/>
                <a:gd name="T11" fmla="*/ 332 h 851"/>
                <a:gd name="T12" fmla="*/ 669 w 998"/>
                <a:gd name="T13" fmla="*/ 265 h 851"/>
                <a:gd name="T14" fmla="*/ 646 w 998"/>
                <a:gd name="T15" fmla="*/ 218 h 851"/>
                <a:gd name="T16" fmla="*/ 637 w 998"/>
                <a:gd name="T17" fmla="*/ 195 h 851"/>
                <a:gd name="T18" fmla="*/ 588 w 998"/>
                <a:gd name="T19" fmla="*/ 170 h 851"/>
                <a:gd name="T20" fmla="*/ 332 w 998"/>
                <a:gd name="T21" fmla="*/ 63 h 851"/>
                <a:gd name="T22" fmla="*/ 250 w 998"/>
                <a:gd name="T23" fmla="*/ 9 h 851"/>
                <a:gd name="T24" fmla="*/ 200 w 998"/>
                <a:gd name="T25" fmla="*/ 0 h 851"/>
                <a:gd name="T26" fmla="*/ 147 w 998"/>
                <a:gd name="T27" fmla="*/ 18 h 851"/>
                <a:gd name="T28" fmla="*/ 111 w 998"/>
                <a:gd name="T29" fmla="*/ 32 h 851"/>
                <a:gd name="T30" fmla="*/ 111 w 998"/>
                <a:gd name="T31" fmla="*/ 46 h 851"/>
                <a:gd name="T32" fmla="*/ 123 w 998"/>
                <a:gd name="T33" fmla="*/ 118 h 851"/>
                <a:gd name="T34" fmla="*/ 70 w 998"/>
                <a:gd name="T35" fmla="*/ 163 h 851"/>
                <a:gd name="T36" fmla="*/ 12 w 998"/>
                <a:gd name="T37" fmla="*/ 161 h 851"/>
                <a:gd name="T38" fmla="*/ 12 w 998"/>
                <a:gd name="T39" fmla="*/ 249 h 851"/>
                <a:gd name="T40" fmla="*/ 85 w 998"/>
                <a:gd name="T41" fmla="*/ 334 h 851"/>
                <a:gd name="T42" fmla="*/ 145 w 998"/>
                <a:gd name="T43" fmla="*/ 433 h 851"/>
                <a:gd name="T44" fmla="*/ 232 w 998"/>
                <a:gd name="T45" fmla="*/ 560 h 851"/>
                <a:gd name="T46" fmla="*/ 300 w 998"/>
                <a:gd name="T47" fmla="*/ 631 h 851"/>
                <a:gd name="T48" fmla="*/ 419 w 998"/>
                <a:gd name="T49" fmla="*/ 826 h 851"/>
                <a:gd name="T50" fmla="*/ 427 w 998"/>
                <a:gd name="T51" fmla="*/ 837 h 851"/>
                <a:gd name="T52" fmla="*/ 437 w 998"/>
                <a:gd name="T53" fmla="*/ 790 h 851"/>
                <a:gd name="T54" fmla="*/ 470 w 998"/>
                <a:gd name="T55" fmla="*/ 798 h 851"/>
                <a:gd name="T56" fmla="*/ 522 w 998"/>
                <a:gd name="T57" fmla="*/ 791 h 851"/>
                <a:gd name="T58" fmla="*/ 593 w 998"/>
                <a:gd name="T59" fmla="*/ 799 h 851"/>
                <a:gd name="T60" fmla="*/ 628 w 998"/>
                <a:gd name="T61" fmla="*/ 804 h 851"/>
                <a:gd name="T62" fmla="*/ 653 w 998"/>
                <a:gd name="T63" fmla="*/ 755 h 851"/>
                <a:gd name="T64" fmla="*/ 839 w 998"/>
                <a:gd name="T65" fmla="*/ 710 h 851"/>
                <a:gd name="T66" fmla="*/ 998 w 998"/>
                <a:gd name="T67" fmla="*/ 546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98" h="851">
                  <a:moveTo>
                    <a:pt x="980" y="527"/>
                  </a:moveTo>
                  <a:cubicBezTo>
                    <a:pt x="980" y="525"/>
                    <a:pt x="978" y="521"/>
                    <a:pt x="976" y="516"/>
                  </a:cubicBezTo>
                  <a:cubicBezTo>
                    <a:pt x="942" y="512"/>
                    <a:pt x="853" y="501"/>
                    <a:pt x="851" y="501"/>
                  </a:cubicBezTo>
                  <a:cubicBezTo>
                    <a:pt x="848" y="501"/>
                    <a:pt x="811" y="453"/>
                    <a:pt x="804" y="446"/>
                  </a:cubicBezTo>
                  <a:cubicBezTo>
                    <a:pt x="799" y="441"/>
                    <a:pt x="799" y="433"/>
                    <a:pt x="800" y="428"/>
                  </a:cubicBezTo>
                  <a:cubicBezTo>
                    <a:pt x="796" y="423"/>
                    <a:pt x="793" y="417"/>
                    <a:pt x="794" y="413"/>
                  </a:cubicBezTo>
                  <a:cubicBezTo>
                    <a:pt x="788" y="415"/>
                    <a:pt x="788" y="415"/>
                    <a:pt x="788" y="415"/>
                  </a:cubicBezTo>
                  <a:cubicBezTo>
                    <a:pt x="780" y="407"/>
                    <a:pt x="780" y="407"/>
                    <a:pt x="780" y="407"/>
                  </a:cubicBezTo>
                  <a:cubicBezTo>
                    <a:pt x="770" y="410"/>
                    <a:pt x="770" y="410"/>
                    <a:pt x="770" y="410"/>
                  </a:cubicBezTo>
                  <a:cubicBezTo>
                    <a:pt x="764" y="400"/>
                    <a:pt x="764" y="400"/>
                    <a:pt x="764" y="400"/>
                  </a:cubicBezTo>
                  <a:cubicBezTo>
                    <a:pt x="757" y="398"/>
                    <a:pt x="750" y="359"/>
                    <a:pt x="744" y="354"/>
                  </a:cubicBezTo>
                  <a:cubicBezTo>
                    <a:pt x="738" y="349"/>
                    <a:pt x="722" y="346"/>
                    <a:pt x="719" y="332"/>
                  </a:cubicBezTo>
                  <a:cubicBezTo>
                    <a:pt x="715" y="318"/>
                    <a:pt x="720" y="296"/>
                    <a:pt x="707" y="286"/>
                  </a:cubicBezTo>
                  <a:cubicBezTo>
                    <a:pt x="693" y="275"/>
                    <a:pt x="675" y="277"/>
                    <a:pt x="669" y="265"/>
                  </a:cubicBezTo>
                  <a:cubicBezTo>
                    <a:pt x="663" y="252"/>
                    <a:pt x="670" y="239"/>
                    <a:pt x="664" y="235"/>
                  </a:cubicBezTo>
                  <a:cubicBezTo>
                    <a:pt x="658" y="231"/>
                    <a:pt x="646" y="218"/>
                    <a:pt x="646" y="218"/>
                  </a:cubicBezTo>
                  <a:cubicBezTo>
                    <a:pt x="645" y="201"/>
                    <a:pt x="645" y="201"/>
                    <a:pt x="645" y="201"/>
                  </a:cubicBezTo>
                  <a:cubicBezTo>
                    <a:pt x="645" y="201"/>
                    <a:pt x="642" y="198"/>
                    <a:pt x="637" y="195"/>
                  </a:cubicBezTo>
                  <a:cubicBezTo>
                    <a:pt x="624" y="196"/>
                    <a:pt x="606" y="196"/>
                    <a:pt x="598" y="196"/>
                  </a:cubicBezTo>
                  <a:cubicBezTo>
                    <a:pt x="584" y="195"/>
                    <a:pt x="594" y="177"/>
                    <a:pt x="588" y="170"/>
                  </a:cubicBezTo>
                  <a:cubicBezTo>
                    <a:pt x="582" y="163"/>
                    <a:pt x="460" y="160"/>
                    <a:pt x="460" y="160"/>
                  </a:cubicBezTo>
                  <a:cubicBezTo>
                    <a:pt x="332" y="63"/>
                    <a:pt x="332" y="63"/>
                    <a:pt x="332" y="63"/>
                  </a:cubicBezTo>
                  <a:cubicBezTo>
                    <a:pt x="332" y="63"/>
                    <a:pt x="311" y="49"/>
                    <a:pt x="299" y="43"/>
                  </a:cubicBezTo>
                  <a:cubicBezTo>
                    <a:pt x="287" y="37"/>
                    <a:pt x="250" y="9"/>
                    <a:pt x="250" y="9"/>
                  </a:cubicBezTo>
                  <a:cubicBezTo>
                    <a:pt x="250" y="9"/>
                    <a:pt x="225" y="8"/>
                    <a:pt x="216" y="9"/>
                  </a:cubicBezTo>
                  <a:cubicBezTo>
                    <a:pt x="207" y="10"/>
                    <a:pt x="200" y="0"/>
                    <a:pt x="200" y="0"/>
                  </a:cubicBezTo>
                  <a:cubicBezTo>
                    <a:pt x="200" y="0"/>
                    <a:pt x="187" y="8"/>
                    <a:pt x="181" y="14"/>
                  </a:cubicBezTo>
                  <a:cubicBezTo>
                    <a:pt x="175" y="20"/>
                    <a:pt x="147" y="18"/>
                    <a:pt x="147" y="18"/>
                  </a:cubicBezTo>
                  <a:cubicBezTo>
                    <a:pt x="139" y="32"/>
                    <a:pt x="139" y="32"/>
                    <a:pt x="139" y="32"/>
                  </a:cubicBezTo>
                  <a:cubicBezTo>
                    <a:pt x="111" y="32"/>
                    <a:pt x="111" y="32"/>
                    <a:pt x="111" y="32"/>
                  </a:cubicBezTo>
                  <a:cubicBezTo>
                    <a:pt x="111" y="32"/>
                    <a:pt x="86" y="31"/>
                    <a:pt x="79" y="38"/>
                  </a:cubicBezTo>
                  <a:cubicBezTo>
                    <a:pt x="72" y="45"/>
                    <a:pt x="104" y="42"/>
                    <a:pt x="111" y="46"/>
                  </a:cubicBezTo>
                  <a:cubicBezTo>
                    <a:pt x="118" y="50"/>
                    <a:pt x="137" y="85"/>
                    <a:pt x="137" y="85"/>
                  </a:cubicBezTo>
                  <a:cubicBezTo>
                    <a:pt x="137" y="85"/>
                    <a:pt x="131" y="111"/>
                    <a:pt x="123" y="118"/>
                  </a:cubicBezTo>
                  <a:cubicBezTo>
                    <a:pt x="115" y="125"/>
                    <a:pt x="98" y="121"/>
                    <a:pt x="92" y="123"/>
                  </a:cubicBezTo>
                  <a:cubicBezTo>
                    <a:pt x="86" y="125"/>
                    <a:pt x="84" y="152"/>
                    <a:pt x="70" y="163"/>
                  </a:cubicBezTo>
                  <a:cubicBezTo>
                    <a:pt x="56" y="174"/>
                    <a:pt x="25" y="154"/>
                    <a:pt x="18" y="155"/>
                  </a:cubicBezTo>
                  <a:cubicBezTo>
                    <a:pt x="12" y="156"/>
                    <a:pt x="12" y="160"/>
                    <a:pt x="12" y="161"/>
                  </a:cubicBezTo>
                  <a:cubicBezTo>
                    <a:pt x="12" y="161"/>
                    <a:pt x="12" y="161"/>
                    <a:pt x="12" y="161"/>
                  </a:cubicBezTo>
                  <a:cubicBezTo>
                    <a:pt x="12" y="170"/>
                    <a:pt x="0" y="237"/>
                    <a:pt x="12" y="249"/>
                  </a:cubicBezTo>
                  <a:cubicBezTo>
                    <a:pt x="24" y="260"/>
                    <a:pt x="49" y="260"/>
                    <a:pt x="54" y="274"/>
                  </a:cubicBezTo>
                  <a:cubicBezTo>
                    <a:pt x="60" y="288"/>
                    <a:pt x="76" y="325"/>
                    <a:pt x="85" y="334"/>
                  </a:cubicBezTo>
                  <a:cubicBezTo>
                    <a:pt x="94" y="343"/>
                    <a:pt x="113" y="358"/>
                    <a:pt x="120" y="370"/>
                  </a:cubicBezTo>
                  <a:cubicBezTo>
                    <a:pt x="128" y="383"/>
                    <a:pt x="132" y="421"/>
                    <a:pt x="145" y="433"/>
                  </a:cubicBezTo>
                  <a:cubicBezTo>
                    <a:pt x="157" y="445"/>
                    <a:pt x="184" y="434"/>
                    <a:pt x="201" y="453"/>
                  </a:cubicBezTo>
                  <a:cubicBezTo>
                    <a:pt x="218" y="472"/>
                    <a:pt x="232" y="531"/>
                    <a:pt x="232" y="560"/>
                  </a:cubicBezTo>
                  <a:cubicBezTo>
                    <a:pt x="232" y="590"/>
                    <a:pt x="267" y="626"/>
                    <a:pt x="267" y="626"/>
                  </a:cubicBezTo>
                  <a:cubicBezTo>
                    <a:pt x="267" y="626"/>
                    <a:pt x="291" y="623"/>
                    <a:pt x="300" y="631"/>
                  </a:cubicBezTo>
                  <a:cubicBezTo>
                    <a:pt x="308" y="639"/>
                    <a:pt x="344" y="704"/>
                    <a:pt x="358" y="728"/>
                  </a:cubicBezTo>
                  <a:cubicBezTo>
                    <a:pt x="372" y="752"/>
                    <a:pt x="420" y="810"/>
                    <a:pt x="419" y="826"/>
                  </a:cubicBezTo>
                  <a:cubicBezTo>
                    <a:pt x="419" y="833"/>
                    <a:pt x="417" y="842"/>
                    <a:pt x="414" y="851"/>
                  </a:cubicBezTo>
                  <a:cubicBezTo>
                    <a:pt x="418" y="848"/>
                    <a:pt x="423" y="844"/>
                    <a:pt x="427" y="837"/>
                  </a:cubicBezTo>
                  <a:cubicBezTo>
                    <a:pt x="434" y="826"/>
                    <a:pt x="428" y="824"/>
                    <a:pt x="428" y="824"/>
                  </a:cubicBezTo>
                  <a:cubicBezTo>
                    <a:pt x="428" y="824"/>
                    <a:pt x="427" y="795"/>
                    <a:pt x="437" y="790"/>
                  </a:cubicBezTo>
                  <a:cubicBezTo>
                    <a:pt x="447" y="785"/>
                    <a:pt x="452" y="799"/>
                    <a:pt x="452" y="799"/>
                  </a:cubicBezTo>
                  <a:cubicBezTo>
                    <a:pt x="470" y="798"/>
                    <a:pt x="470" y="798"/>
                    <a:pt x="470" y="798"/>
                  </a:cubicBezTo>
                  <a:cubicBezTo>
                    <a:pt x="470" y="798"/>
                    <a:pt x="477" y="792"/>
                    <a:pt x="482" y="792"/>
                  </a:cubicBezTo>
                  <a:cubicBezTo>
                    <a:pt x="487" y="792"/>
                    <a:pt x="506" y="791"/>
                    <a:pt x="522" y="791"/>
                  </a:cubicBezTo>
                  <a:cubicBezTo>
                    <a:pt x="538" y="791"/>
                    <a:pt x="549" y="799"/>
                    <a:pt x="549" y="799"/>
                  </a:cubicBezTo>
                  <a:cubicBezTo>
                    <a:pt x="549" y="799"/>
                    <a:pt x="589" y="797"/>
                    <a:pt x="593" y="799"/>
                  </a:cubicBezTo>
                  <a:cubicBezTo>
                    <a:pt x="597" y="801"/>
                    <a:pt x="611" y="816"/>
                    <a:pt x="616" y="816"/>
                  </a:cubicBezTo>
                  <a:cubicBezTo>
                    <a:pt x="621" y="816"/>
                    <a:pt x="628" y="804"/>
                    <a:pt x="628" y="804"/>
                  </a:cubicBezTo>
                  <a:cubicBezTo>
                    <a:pt x="628" y="792"/>
                    <a:pt x="628" y="792"/>
                    <a:pt x="628" y="792"/>
                  </a:cubicBezTo>
                  <a:cubicBezTo>
                    <a:pt x="628" y="792"/>
                    <a:pt x="643" y="768"/>
                    <a:pt x="653" y="755"/>
                  </a:cubicBezTo>
                  <a:cubicBezTo>
                    <a:pt x="663" y="742"/>
                    <a:pt x="705" y="723"/>
                    <a:pt x="717" y="723"/>
                  </a:cubicBezTo>
                  <a:cubicBezTo>
                    <a:pt x="729" y="723"/>
                    <a:pt x="839" y="710"/>
                    <a:pt x="839" y="710"/>
                  </a:cubicBezTo>
                  <a:cubicBezTo>
                    <a:pt x="972" y="661"/>
                    <a:pt x="972" y="661"/>
                    <a:pt x="972" y="661"/>
                  </a:cubicBezTo>
                  <a:cubicBezTo>
                    <a:pt x="998" y="546"/>
                    <a:pt x="998" y="546"/>
                    <a:pt x="998" y="546"/>
                  </a:cubicBezTo>
                  <a:cubicBezTo>
                    <a:pt x="998" y="546"/>
                    <a:pt x="980" y="531"/>
                    <a:pt x="980" y="527"/>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95" name="Freeform 56"/>
            <p:cNvSpPr>
              <a:spLocks/>
            </p:cNvSpPr>
            <p:nvPr/>
          </p:nvSpPr>
          <p:spPr bwMode="gray">
            <a:xfrm>
              <a:off x="5133975" y="2933700"/>
              <a:ext cx="42862" cy="58738"/>
            </a:xfrm>
            <a:custGeom>
              <a:avLst/>
              <a:gdLst>
                <a:gd name="T0" fmla="*/ 46 w 76"/>
                <a:gd name="T1" fmla="*/ 66 h 105"/>
                <a:gd name="T2" fmla="*/ 50 w 76"/>
                <a:gd name="T3" fmla="*/ 46 h 105"/>
                <a:gd name="T4" fmla="*/ 71 w 76"/>
                <a:gd name="T5" fmla="*/ 34 h 105"/>
                <a:gd name="T6" fmla="*/ 64 w 76"/>
                <a:gd name="T7" fmla="*/ 10 h 105"/>
                <a:gd name="T8" fmla="*/ 65 w 76"/>
                <a:gd name="T9" fmla="*/ 0 h 105"/>
                <a:gd name="T10" fmla="*/ 40 w 76"/>
                <a:gd name="T11" fmla="*/ 0 h 105"/>
                <a:gd name="T12" fmla="*/ 37 w 76"/>
                <a:gd name="T13" fmla="*/ 0 h 105"/>
                <a:gd name="T14" fmla="*/ 36 w 76"/>
                <a:gd name="T15" fmla="*/ 5 h 105"/>
                <a:gd name="T16" fmla="*/ 20 w 76"/>
                <a:gd name="T17" fmla="*/ 21 h 105"/>
                <a:gd name="T18" fmla="*/ 11 w 76"/>
                <a:gd name="T19" fmla="*/ 45 h 105"/>
                <a:gd name="T20" fmla="*/ 0 w 76"/>
                <a:gd name="T21" fmla="*/ 89 h 105"/>
                <a:gd name="T22" fmla="*/ 1 w 76"/>
                <a:gd name="T23" fmla="*/ 105 h 105"/>
                <a:gd name="T24" fmla="*/ 6 w 76"/>
                <a:gd name="T25" fmla="*/ 100 h 105"/>
                <a:gd name="T26" fmla="*/ 13 w 76"/>
                <a:gd name="T27" fmla="*/ 87 h 105"/>
                <a:gd name="T28" fmla="*/ 27 w 76"/>
                <a:gd name="T29" fmla="*/ 86 h 105"/>
                <a:gd name="T30" fmla="*/ 31 w 76"/>
                <a:gd name="T31" fmla="*/ 69 h 105"/>
                <a:gd name="T32" fmla="*/ 46 w 76"/>
                <a:gd name="T33" fmla="*/ 66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05">
                  <a:moveTo>
                    <a:pt x="46" y="66"/>
                  </a:moveTo>
                  <a:cubicBezTo>
                    <a:pt x="46" y="66"/>
                    <a:pt x="41" y="49"/>
                    <a:pt x="50" y="46"/>
                  </a:cubicBezTo>
                  <a:cubicBezTo>
                    <a:pt x="59" y="43"/>
                    <a:pt x="66" y="46"/>
                    <a:pt x="71" y="34"/>
                  </a:cubicBezTo>
                  <a:cubicBezTo>
                    <a:pt x="76" y="22"/>
                    <a:pt x="64" y="10"/>
                    <a:pt x="64" y="10"/>
                  </a:cubicBezTo>
                  <a:cubicBezTo>
                    <a:pt x="65" y="0"/>
                    <a:pt x="65" y="0"/>
                    <a:pt x="65" y="0"/>
                  </a:cubicBezTo>
                  <a:cubicBezTo>
                    <a:pt x="40" y="0"/>
                    <a:pt x="40" y="0"/>
                    <a:pt x="40" y="0"/>
                  </a:cubicBezTo>
                  <a:cubicBezTo>
                    <a:pt x="37" y="0"/>
                    <a:pt x="37" y="0"/>
                    <a:pt x="37" y="0"/>
                  </a:cubicBezTo>
                  <a:cubicBezTo>
                    <a:pt x="37" y="2"/>
                    <a:pt x="37" y="4"/>
                    <a:pt x="36" y="5"/>
                  </a:cubicBezTo>
                  <a:cubicBezTo>
                    <a:pt x="29" y="15"/>
                    <a:pt x="20" y="21"/>
                    <a:pt x="20" y="21"/>
                  </a:cubicBezTo>
                  <a:cubicBezTo>
                    <a:pt x="11" y="45"/>
                    <a:pt x="11" y="45"/>
                    <a:pt x="11" y="45"/>
                  </a:cubicBezTo>
                  <a:cubicBezTo>
                    <a:pt x="11" y="45"/>
                    <a:pt x="1" y="69"/>
                    <a:pt x="0" y="89"/>
                  </a:cubicBezTo>
                  <a:cubicBezTo>
                    <a:pt x="0" y="94"/>
                    <a:pt x="0" y="100"/>
                    <a:pt x="1" y="105"/>
                  </a:cubicBezTo>
                  <a:cubicBezTo>
                    <a:pt x="6" y="100"/>
                    <a:pt x="6" y="100"/>
                    <a:pt x="6" y="100"/>
                  </a:cubicBezTo>
                  <a:cubicBezTo>
                    <a:pt x="13" y="87"/>
                    <a:pt x="13" y="87"/>
                    <a:pt x="13" y="87"/>
                  </a:cubicBezTo>
                  <a:cubicBezTo>
                    <a:pt x="13" y="87"/>
                    <a:pt x="22" y="93"/>
                    <a:pt x="27" y="86"/>
                  </a:cubicBezTo>
                  <a:cubicBezTo>
                    <a:pt x="32" y="79"/>
                    <a:pt x="31" y="69"/>
                    <a:pt x="31" y="69"/>
                  </a:cubicBezTo>
                  <a:cubicBezTo>
                    <a:pt x="46" y="66"/>
                    <a:pt x="46" y="66"/>
                    <a:pt x="46" y="66"/>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96" name="Freeform 57"/>
            <p:cNvSpPr>
              <a:spLocks/>
            </p:cNvSpPr>
            <p:nvPr/>
          </p:nvSpPr>
          <p:spPr bwMode="gray">
            <a:xfrm>
              <a:off x="5145088" y="2851150"/>
              <a:ext cx="166687" cy="153988"/>
            </a:xfrm>
            <a:custGeom>
              <a:avLst/>
              <a:gdLst>
                <a:gd name="T0" fmla="*/ 281 w 297"/>
                <a:gd name="T1" fmla="*/ 39 h 275"/>
                <a:gd name="T2" fmla="*/ 297 w 297"/>
                <a:gd name="T3" fmla="*/ 19 h 275"/>
                <a:gd name="T4" fmla="*/ 290 w 297"/>
                <a:gd name="T5" fmla="*/ 2 h 275"/>
                <a:gd name="T6" fmla="*/ 277 w 297"/>
                <a:gd name="T7" fmla="*/ 12 h 275"/>
                <a:gd name="T8" fmla="*/ 264 w 297"/>
                <a:gd name="T9" fmla="*/ 15 h 275"/>
                <a:gd name="T10" fmla="*/ 250 w 297"/>
                <a:gd name="T11" fmla="*/ 22 h 275"/>
                <a:gd name="T12" fmla="*/ 241 w 297"/>
                <a:gd name="T13" fmla="*/ 16 h 275"/>
                <a:gd name="T14" fmla="*/ 217 w 297"/>
                <a:gd name="T15" fmla="*/ 16 h 275"/>
                <a:gd name="T16" fmla="*/ 188 w 297"/>
                <a:gd name="T17" fmla="*/ 32 h 275"/>
                <a:gd name="T18" fmla="*/ 163 w 297"/>
                <a:gd name="T19" fmla="*/ 39 h 275"/>
                <a:gd name="T20" fmla="*/ 140 w 297"/>
                <a:gd name="T21" fmla="*/ 35 h 275"/>
                <a:gd name="T22" fmla="*/ 114 w 297"/>
                <a:gd name="T23" fmla="*/ 22 h 275"/>
                <a:gd name="T24" fmla="*/ 100 w 297"/>
                <a:gd name="T25" fmla="*/ 33 h 275"/>
                <a:gd name="T26" fmla="*/ 64 w 297"/>
                <a:gd name="T27" fmla="*/ 41 h 275"/>
                <a:gd name="T28" fmla="*/ 58 w 297"/>
                <a:gd name="T29" fmla="*/ 31 h 275"/>
                <a:gd name="T30" fmla="*/ 42 w 297"/>
                <a:gd name="T31" fmla="*/ 32 h 275"/>
                <a:gd name="T32" fmla="*/ 43 w 297"/>
                <a:gd name="T33" fmla="*/ 53 h 275"/>
                <a:gd name="T34" fmla="*/ 48 w 297"/>
                <a:gd name="T35" fmla="*/ 64 h 275"/>
                <a:gd name="T36" fmla="*/ 33 w 297"/>
                <a:gd name="T37" fmla="*/ 66 h 275"/>
                <a:gd name="T38" fmla="*/ 33 w 297"/>
                <a:gd name="T39" fmla="*/ 75 h 275"/>
                <a:gd name="T40" fmla="*/ 27 w 297"/>
                <a:gd name="T41" fmla="*/ 84 h 275"/>
                <a:gd name="T42" fmla="*/ 14 w 297"/>
                <a:gd name="T43" fmla="*/ 78 h 275"/>
                <a:gd name="T44" fmla="*/ 5 w 297"/>
                <a:gd name="T45" fmla="*/ 98 h 275"/>
                <a:gd name="T46" fmla="*/ 1 w 297"/>
                <a:gd name="T47" fmla="*/ 99 h 275"/>
                <a:gd name="T48" fmla="*/ 0 w 297"/>
                <a:gd name="T49" fmla="*/ 131 h 275"/>
                <a:gd name="T50" fmla="*/ 17 w 297"/>
                <a:gd name="T51" fmla="*/ 147 h 275"/>
                <a:gd name="T52" fmla="*/ 20 w 297"/>
                <a:gd name="T53" fmla="*/ 147 h 275"/>
                <a:gd name="T54" fmla="*/ 45 w 297"/>
                <a:gd name="T55" fmla="*/ 147 h 275"/>
                <a:gd name="T56" fmla="*/ 44 w 297"/>
                <a:gd name="T57" fmla="*/ 157 h 275"/>
                <a:gd name="T58" fmla="*/ 51 w 297"/>
                <a:gd name="T59" fmla="*/ 181 h 275"/>
                <a:gd name="T60" fmla="*/ 30 w 297"/>
                <a:gd name="T61" fmla="*/ 193 h 275"/>
                <a:gd name="T62" fmla="*/ 26 w 297"/>
                <a:gd name="T63" fmla="*/ 213 h 275"/>
                <a:gd name="T64" fmla="*/ 16 w 297"/>
                <a:gd name="T65" fmla="*/ 224 h 275"/>
                <a:gd name="T66" fmla="*/ 19 w 297"/>
                <a:gd name="T67" fmla="*/ 254 h 275"/>
                <a:gd name="T68" fmla="*/ 23 w 297"/>
                <a:gd name="T69" fmla="*/ 251 h 275"/>
                <a:gd name="T70" fmla="*/ 45 w 297"/>
                <a:gd name="T71" fmla="*/ 263 h 275"/>
                <a:gd name="T72" fmla="*/ 73 w 297"/>
                <a:gd name="T73" fmla="*/ 275 h 275"/>
                <a:gd name="T74" fmla="*/ 157 w 297"/>
                <a:gd name="T75" fmla="*/ 218 h 275"/>
                <a:gd name="T76" fmla="*/ 200 w 297"/>
                <a:gd name="T77" fmla="*/ 183 h 275"/>
                <a:gd name="T78" fmla="*/ 261 w 297"/>
                <a:gd name="T79" fmla="*/ 156 h 275"/>
                <a:gd name="T80" fmla="*/ 255 w 297"/>
                <a:gd name="T81" fmla="*/ 131 h 275"/>
                <a:gd name="T82" fmla="*/ 264 w 297"/>
                <a:gd name="T83" fmla="*/ 112 h 275"/>
                <a:gd name="T84" fmla="*/ 260 w 297"/>
                <a:gd name="T85" fmla="*/ 77 h 275"/>
                <a:gd name="T86" fmla="*/ 249 w 297"/>
                <a:gd name="T87" fmla="*/ 55 h 275"/>
                <a:gd name="T88" fmla="*/ 281 w 297"/>
                <a:gd name="T89" fmla="*/ 39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7" h="275">
                  <a:moveTo>
                    <a:pt x="281" y="39"/>
                  </a:moveTo>
                  <a:cubicBezTo>
                    <a:pt x="290" y="35"/>
                    <a:pt x="295" y="26"/>
                    <a:pt x="297" y="19"/>
                  </a:cubicBezTo>
                  <a:cubicBezTo>
                    <a:pt x="288" y="20"/>
                    <a:pt x="293" y="4"/>
                    <a:pt x="290" y="2"/>
                  </a:cubicBezTo>
                  <a:cubicBezTo>
                    <a:pt x="287" y="0"/>
                    <a:pt x="285" y="11"/>
                    <a:pt x="277" y="12"/>
                  </a:cubicBezTo>
                  <a:cubicBezTo>
                    <a:pt x="269" y="13"/>
                    <a:pt x="264" y="15"/>
                    <a:pt x="264" y="15"/>
                  </a:cubicBezTo>
                  <a:cubicBezTo>
                    <a:pt x="264" y="15"/>
                    <a:pt x="259" y="21"/>
                    <a:pt x="250" y="22"/>
                  </a:cubicBezTo>
                  <a:cubicBezTo>
                    <a:pt x="241" y="23"/>
                    <a:pt x="246" y="18"/>
                    <a:pt x="241" y="16"/>
                  </a:cubicBezTo>
                  <a:cubicBezTo>
                    <a:pt x="236" y="14"/>
                    <a:pt x="230" y="15"/>
                    <a:pt x="217" y="16"/>
                  </a:cubicBezTo>
                  <a:cubicBezTo>
                    <a:pt x="204" y="17"/>
                    <a:pt x="197" y="29"/>
                    <a:pt x="188" y="32"/>
                  </a:cubicBezTo>
                  <a:cubicBezTo>
                    <a:pt x="179" y="35"/>
                    <a:pt x="174" y="38"/>
                    <a:pt x="163" y="39"/>
                  </a:cubicBezTo>
                  <a:cubicBezTo>
                    <a:pt x="152" y="40"/>
                    <a:pt x="140" y="35"/>
                    <a:pt x="140" y="35"/>
                  </a:cubicBezTo>
                  <a:cubicBezTo>
                    <a:pt x="140" y="35"/>
                    <a:pt x="117" y="23"/>
                    <a:pt x="114" y="22"/>
                  </a:cubicBezTo>
                  <a:cubicBezTo>
                    <a:pt x="111" y="21"/>
                    <a:pt x="100" y="33"/>
                    <a:pt x="100" y="33"/>
                  </a:cubicBezTo>
                  <a:cubicBezTo>
                    <a:pt x="100" y="33"/>
                    <a:pt x="85" y="41"/>
                    <a:pt x="64" y="41"/>
                  </a:cubicBezTo>
                  <a:cubicBezTo>
                    <a:pt x="43" y="41"/>
                    <a:pt x="60" y="35"/>
                    <a:pt x="58" y="31"/>
                  </a:cubicBezTo>
                  <a:cubicBezTo>
                    <a:pt x="56" y="27"/>
                    <a:pt x="42" y="32"/>
                    <a:pt x="42" y="32"/>
                  </a:cubicBezTo>
                  <a:cubicBezTo>
                    <a:pt x="43" y="53"/>
                    <a:pt x="43" y="53"/>
                    <a:pt x="43" y="53"/>
                  </a:cubicBezTo>
                  <a:cubicBezTo>
                    <a:pt x="43" y="53"/>
                    <a:pt x="50" y="51"/>
                    <a:pt x="48" y="64"/>
                  </a:cubicBezTo>
                  <a:cubicBezTo>
                    <a:pt x="47" y="72"/>
                    <a:pt x="33" y="66"/>
                    <a:pt x="33" y="66"/>
                  </a:cubicBezTo>
                  <a:cubicBezTo>
                    <a:pt x="33" y="75"/>
                    <a:pt x="33" y="75"/>
                    <a:pt x="33" y="75"/>
                  </a:cubicBezTo>
                  <a:cubicBezTo>
                    <a:pt x="33" y="75"/>
                    <a:pt x="31" y="83"/>
                    <a:pt x="27" y="84"/>
                  </a:cubicBezTo>
                  <a:cubicBezTo>
                    <a:pt x="24" y="85"/>
                    <a:pt x="17" y="80"/>
                    <a:pt x="14" y="78"/>
                  </a:cubicBezTo>
                  <a:cubicBezTo>
                    <a:pt x="12" y="83"/>
                    <a:pt x="2" y="91"/>
                    <a:pt x="5" y="98"/>
                  </a:cubicBezTo>
                  <a:cubicBezTo>
                    <a:pt x="1" y="99"/>
                    <a:pt x="1" y="99"/>
                    <a:pt x="1" y="99"/>
                  </a:cubicBezTo>
                  <a:cubicBezTo>
                    <a:pt x="0" y="131"/>
                    <a:pt x="0" y="131"/>
                    <a:pt x="0" y="131"/>
                  </a:cubicBezTo>
                  <a:cubicBezTo>
                    <a:pt x="0" y="131"/>
                    <a:pt x="14" y="139"/>
                    <a:pt x="17" y="147"/>
                  </a:cubicBezTo>
                  <a:cubicBezTo>
                    <a:pt x="20" y="147"/>
                    <a:pt x="20" y="147"/>
                    <a:pt x="20" y="147"/>
                  </a:cubicBezTo>
                  <a:cubicBezTo>
                    <a:pt x="45" y="147"/>
                    <a:pt x="45" y="147"/>
                    <a:pt x="45" y="147"/>
                  </a:cubicBezTo>
                  <a:cubicBezTo>
                    <a:pt x="44" y="157"/>
                    <a:pt x="44" y="157"/>
                    <a:pt x="44" y="157"/>
                  </a:cubicBezTo>
                  <a:cubicBezTo>
                    <a:pt x="44" y="157"/>
                    <a:pt x="56" y="169"/>
                    <a:pt x="51" y="181"/>
                  </a:cubicBezTo>
                  <a:cubicBezTo>
                    <a:pt x="46" y="193"/>
                    <a:pt x="39" y="190"/>
                    <a:pt x="30" y="193"/>
                  </a:cubicBezTo>
                  <a:cubicBezTo>
                    <a:pt x="21" y="196"/>
                    <a:pt x="26" y="213"/>
                    <a:pt x="26" y="213"/>
                  </a:cubicBezTo>
                  <a:cubicBezTo>
                    <a:pt x="16" y="224"/>
                    <a:pt x="16" y="224"/>
                    <a:pt x="16" y="224"/>
                  </a:cubicBezTo>
                  <a:cubicBezTo>
                    <a:pt x="19" y="254"/>
                    <a:pt x="19" y="254"/>
                    <a:pt x="19" y="254"/>
                  </a:cubicBezTo>
                  <a:cubicBezTo>
                    <a:pt x="23" y="251"/>
                    <a:pt x="23" y="251"/>
                    <a:pt x="23" y="251"/>
                  </a:cubicBezTo>
                  <a:cubicBezTo>
                    <a:pt x="45" y="263"/>
                    <a:pt x="45" y="263"/>
                    <a:pt x="45" y="263"/>
                  </a:cubicBezTo>
                  <a:cubicBezTo>
                    <a:pt x="45" y="263"/>
                    <a:pt x="52" y="275"/>
                    <a:pt x="73" y="275"/>
                  </a:cubicBezTo>
                  <a:cubicBezTo>
                    <a:pt x="94" y="275"/>
                    <a:pt x="157" y="218"/>
                    <a:pt x="157" y="218"/>
                  </a:cubicBezTo>
                  <a:cubicBezTo>
                    <a:pt x="200" y="183"/>
                    <a:pt x="200" y="183"/>
                    <a:pt x="200" y="183"/>
                  </a:cubicBezTo>
                  <a:cubicBezTo>
                    <a:pt x="200" y="183"/>
                    <a:pt x="249" y="165"/>
                    <a:pt x="261" y="156"/>
                  </a:cubicBezTo>
                  <a:cubicBezTo>
                    <a:pt x="273" y="147"/>
                    <a:pt x="256" y="138"/>
                    <a:pt x="255" y="131"/>
                  </a:cubicBezTo>
                  <a:cubicBezTo>
                    <a:pt x="254" y="124"/>
                    <a:pt x="260" y="117"/>
                    <a:pt x="264" y="112"/>
                  </a:cubicBezTo>
                  <a:cubicBezTo>
                    <a:pt x="268" y="107"/>
                    <a:pt x="260" y="77"/>
                    <a:pt x="260" y="77"/>
                  </a:cubicBezTo>
                  <a:cubicBezTo>
                    <a:pt x="260" y="77"/>
                    <a:pt x="245" y="69"/>
                    <a:pt x="249" y="55"/>
                  </a:cubicBezTo>
                  <a:cubicBezTo>
                    <a:pt x="253" y="41"/>
                    <a:pt x="265" y="46"/>
                    <a:pt x="281" y="39"/>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97" name="Freeform 58"/>
            <p:cNvSpPr>
              <a:spLocks/>
            </p:cNvSpPr>
            <p:nvPr/>
          </p:nvSpPr>
          <p:spPr bwMode="gray">
            <a:xfrm>
              <a:off x="5321300" y="2732088"/>
              <a:ext cx="84137" cy="79375"/>
            </a:xfrm>
            <a:custGeom>
              <a:avLst/>
              <a:gdLst>
                <a:gd name="T0" fmla="*/ 147 w 152"/>
                <a:gd name="T1" fmla="*/ 111 h 140"/>
                <a:gd name="T2" fmla="*/ 143 w 152"/>
                <a:gd name="T3" fmla="*/ 104 h 140"/>
                <a:gd name="T4" fmla="*/ 145 w 152"/>
                <a:gd name="T5" fmla="*/ 94 h 140"/>
                <a:gd name="T6" fmla="*/ 125 w 152"/>
                <a:gd name="T7" fmla="*/ 92 h 140"/>
                <a:gd name="T8" fmla="*/ 115 w 152"/>
                <a:gd name="T9" fmla="*/ 78 h 140"/>
                <a:gd name="T10" fmla="*/ 97 w 152"/>
                <a:gd name="T11" fmla="*/ 70 h 140"/>
                <a:gd name="T12" fmla="*/ 118 w 152"/>
                <a:gd name="T13" fmla="*/ 61 h 140"/>
                <a:gd name="T14" fmla="*/ 88 w 152"/>
                <a:gd name="T15" fmla="*/ 39 h 140"/>
                <a:gd name="T16" fmla="*/ 94 w 152"/>
                <a:gd name="T17" fmla="*/ 24 h 140"/>
                <a:gd name="T18" fmla="*/ 75 w 152"/>
                <a:gd name="T19" fmla="*/ 16 h 140"/>
                <a:gd name="T20" fmla="*/ 76 w 152"/>
                <a:gd name="T21" fmla="*/ 7 h 140"/>
                <a:gd name="T22" fmla="*/ 61 w 152"/>
                <a:gd name="T23" fmla="*/ 0 h 140"/>
                <a:gd name="T24" fmla="*/ 55 w 152"/>
                <a:gd name="T25" fmla="*/ 10 h 140"/>
                <a:gd name="T26" fmla="*/ 22 w 152"/>
                <a:gd name="T27" fmla="*/ 6 h 140"/>
                <a:gd name="T28" fmla="*/ 17 w 152"/>
                <a:gd name="T29" fmla="*/ 13 h 140"/>
                <a:gd name="T30" fmla="*/ 0 w 152"/>
                <a:gd name="T31" fmla="*/ 14 h 140"/>
                <a:gd name="T32" fmla="*/ 6 w 152"/>
                <a:gd name="T33" fmla="*/ 29 h 140"/>
                <a:gd name="T34" fmla="*/ 18 w 152"/>
                <a:gd name="T35" fmla="*/ 69 h 140"/>
                <a:gd name="T36" fmla="*/ 47 w 152"/>
                <a:gd name="T37" fmla="*/ 72 h 140"/>
                <a:gd name="T38" fmla="*/ 57 w 152"/>
                <a:gd name="T39" fmla="*/ 93 h 140"/>
                <a:gd name="T40" fmla="*/ 55 w 152"/>
                <a:gd name="T41" fmla="*/ 98 h 140"/>
                <a:gd name="T42" fmla="*/ 62 w 152"/>
                <a:gd name="T43" fmla="*/ 103 h 140"/>
                <a:gd name="T44" fmla="*/ 72 w 152"/>
                <a:gd name="T45" fmla="*/ 89 h 140"/>
                <a:gd name="T46" fmla="*/ 83 w 152"/>
                <a:gd name="T47" fmla="*/ 86 h 140"/>
                <a:gd name="T48" fmla="*/ 100 w 152"/>
                <a:gd name="T49" fmla="*/ 97 h 140"/>
                <a:gd name="T50" fmla="*/ 111 w 152"/>
                <a:gd name="T51" fmla="*/ 95 h 140"/>
                <a:gd name="T52" fmla="*/ 119 w 152"/>
                <a:gd name="T53" fmla="*/ 111 h 140"/>
                <a:gd name="T54" fmla="*/ 130 w 152"/>
                <a:gd name="T55" fmla="*/ 138 h 140"/>
                <a:gd name="T56" fmla="*/ 148 w 152"/>
                <a:gd name="T57" fmla="*/ 140 h 140"/>
                <a:gd name="T58" fmla="*/ 147 w 152"/>
                <a:gd name="T59" fmla="*/ 111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2" h="140">
                  <a:moveTo>
                    <a:pt x="147" y="111"/>
                  </a:moveTo>
                  <a:cubicBezTo>
                    <a:pt x="143" y="104"/>
                    <a:pt x="143" y="104"/>
                    <a:pt x="143" y="104"/>
                  </a:cubicBezTo>
                  <a:cubicBezTo>
                    <a:pt x="145" y="94"/>
                    <a:pt x="145" y="94"/>
                    <a:pt x="145" y="94"/>
                  </a:cubicBezTo>
                  <a:cubicBezTo>
                    <a:pt x="125" y="92"/>
                    <a:pt x="125" y="92"/>
                    <a:pt x="125" y="92"/>
                  </a:cubicBezTo>
                  <a:cubicBezTo>
                    <a:pt x="115" y="78"/>
                    <a:pt x="115" y="78"/>
                    <a:pt x="115" y="78"/>
                  </a:cubicBezTo>
                  <a:cubicBezTo>
                    <a:pt x="97" y="70"/>
                    <a:pt x="97" y="70"/>
                    <a:pt x="97" y="70"/>
                  </a:cubicBezTo>
                  <a:cubicBezTo>
                    <a:pt x="97" y="70"/>
                    <a:pt x="117" y="70"/>
                    <a:pt x="118" y="61"/>
                  </a:cubicBezTo>
                  <a:cubicBezTo>
                    <a:pt x="119" y="52"/>
                    <a:pt x="88" y="39"/>
                    <a:pt x="88" y="39"/>
                  </a:cubicBezTo>
                  <a:cubicBezTo>
                    <a:pt x="88" y="39"/>
                    <a:pt x="94" y="31"/>
                    <a:pt x="94" y="24"/>
                  </a:cubicBezTo>
                  <a:cubicBezTo>
                    <a:pt x="94" y="17"/>
                    <a:pt x="75" y="16"/>
                    <a:pt x="75" y="16"/>
                  </a:cubicBezTo>
                  <a:cubicBezTo>
                    <a:pt x="76" y="7"/>
                    <a:pt x="76" y="7"/>
                    <a:pt x="76" y="7"/>
                  </a:cubicBezTo>
                  <a:cubicBezTo>
                    <a:pt x="76" y="7"/>
                    <a:pt x="64" y="0"/>
                    <a:pt x="61" y="0"/>
                  </a:cubicBezTo>
                  <a:cubicBezTo>
                    <a:pt x="58" y="0"/>
                    <a:pt x="55" y="10"/>
                    <a:pt x="55" y="10"/>
                  </a:cubicBezTo>
                  <a:cubicBezTo>
                    <a:pt x="22" y="6"/>
                    <a:pt x="22" y="6"/>
                    <a:pt x="22" y="6"/>
                  </a:cubicBezTo>
                  <a:cubicBezTo>
                    <a:pt x="17" y="13"/>
                    <a:pt x="17" y="13"/>
                    <a:pt x="17" y="13"/>
                  </a:cubicBezTo>
                  <a:cubicBezTo>
                    <a:pt x="0" y="14"/>
                    <a:pt x="0" y="14"/>
                    <a:pt x="0" y="14"/>
                  </a:cubicBezTo>
                  <a:cubicBezTo>
                    <a:pt x="2" y="17"/>
                    <a:pt x="3" y="22"/>
                    <a:pt x="6" y="29"/>
                  </a:cubicBezTo>
                  <a:cubicBezTo>
                    <a:pt x="12" y="44"/>
                    <a:pt x="10" y="58"/>
                    <a:pt x="18" y="69"/>
                  </a:cubicBezTo>
                  <a:cubicBezTo>
                    <a:pt x="26" y="80"/>
                    <a:pt x="42" y="71"/>
                    <a:pt x="47" y="72"/>
                  </a:cubicBezTo>
                  <a:cubicBezTo>
                    <a:pt x="50" y="72"/>
                    <a:pt x="54" y="83"/>
                    <a:pt x="57" y="93"/>
                  </a:cubicBezTo>
                  <a:cubicBezTo>
                    <a:pt x="56" y="95"/>
                    <a:pt x="56" y="96"/>
                    <a:pt x="55" y="98"/>
                  </a:cubicBezTo>
                  <a:cubicBezTo>
                    <a:pt x="62" y="103"/>
                    <a:pt x="62" y="103"/>
                    <a:pt x="62" y="103"/>
                  </a:cubicBezTo>
                  <a:cubicBezTo>
                    <a:pt x="72" y="89"/>
                    <a:pt x="72" y="89"/>
                    <a:pt x="72" y="89"/>
                  </a:cubicBezTo>
                  <a:cubicBezTo>
                    <a:pt x="72" y="89"/>
                    <a:pt x="82" y="86"/>
                    <a:pt x="83" y="86"/>
                  </a:cubicBezTo>
                  <a:cubicBezTo>
                    <a:pt x="90" y="96"/>
                    <a:pt x="100" y="97"/>
                    <a:pt x="100" y="97"/>
                  </a:cubicBezTo>
                  <a:cubicBezTo>
                    <a:pt x="100" y="97"/>
                    <a:pt x="102" y="94"/>
                    <a:pt x="111" y="95"/>
                  </a:cubicBezTo>
                  <a:cubicBezTo>
                    <a:pt x="120" y="96"/>
                    <a:pt x="116" y="107"/>
                    <a:pt x="119" y="111"/>
                  </a:cubicBezTo>
                  <a:cubicBezTo>
                    <a:pt x="122" y="115"/>
                    <a:pt x="130" y="138"/>
                    <a:pt x="130" y="138"/>
                  </a:cubicBezTo>
                  <a:cubicBezTo>
                    <a:pt x="130" y="138"/>
                    <a:pt x="144" y="140"/>
                    <a:pt x="148" y="140"/>
                  </a:cubicBezTo>
                  <a:cubicBezTo>
                    <a:pt x="152" y="140"/>
                    <a:pt x="147" y="111"/>
                    <a:pt x="147" y="111"/>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98" name="Freeform 59"/>
            <p:cNvSpPr>
              <a:spLocks noEditPoints="1"/>
            </p:cNvSpPr>
            <p:nvPr/>
          </p:nvSpPr>
          <p:spPr bwMode="gray">
            <a:xfrm>
              <a:off x="4875213" y="2708275"/>
              <a:ext cx="496887" cy="190500"/>
            </a:xfrm>
            <a:custGeom>
              <a:avLst/>
              <a:gdLst>
                <a:gd name="T0" fmla="*/ 20 w 888"/>
                <a:gd name="T1" fmla="*/ 116 h 340"/>
                <a:gd name="T2" fmla="*/ 27 w 888"/>
                <a:gd name="T3" fmla="*/ 107 h 340"/>
                <a:gd name="T4" fmla="*/ 63 w 888"/>
                <a:gd name="T5" fmla="*/ 93 h 340"/>
                <a:gd name="T6" fmla="*/ 52 w 888"/>
                <a:gd name="T7" fmla="*/ 101 h 340"/>
                <a:gd name="T8" fmla="*/ 887 w 888"/>
                <a:gd name="T9" fmla="*/ 259 h 340"/>
                <a:gd name="T10" fmla="*/ 850 w 888"/>
                <a:gd name="T11" fmla="*/ 224 h 340"/>
                <a:gd name="T12" fmla="*/ 845 w 888"/>
                <a:gd name="T13" fmla="*/ 165 h 340"/>
                <a:gd name="T14" fmla="*/ 853 w 888"/>
                <a:gd name="T15" fmla="*/ 137 h 340"/>
                <a:gd name="T16" fmla="*/ 802 w 888"/>
                <a:gd name="T17" fmla="*/ 73 h 340"/>
                <a:gd name="T18" fmla="*/ 761 w 888"/>
                <a:gd name="T19" fmla="*/ 32 h 340"/>
                <a:gd name="T20" fmla="*/ 678 w 888"/>
                <a:gd name="T21" fmla="*/ 63 h 340"/>
                <a:gd name="T22" fmla="*/ 542 w 888"/>
                <a:gd name="T23" fmla="*/ 57 h 340"/>
                <a:gd name="T24" fmla="*/ 491 w 888"/>
                <a:gd name="T25" fmla="*/ 51 h 340"/>
                <a:gd name="T26" fmla="*/ 442 w 888"/>
                <a:gd name="T27" fmla="*/ 30 h 340"/>
                <a:gd name="T28" fmla="*/ 385 w 888"/>
                <a:gd name="T29" fmla="*/ 16 h 340"/>
                <a:gd name="T30" fmla="*/ 272 w 888"/>
                <a:gd name="T31" fmla="*/ 42 h 340"/>
                <a:gd name="T32" fmla="*/ 203 w 888"/>
                <a:gd name="T33" fmla="*/ 53 h 340"/>
                <a:gd name="T34" fmla="*/ 120 w 888"/>
                <a:gd name="T35" fmla="*/ 14 h 340"/>
                <a:gd name="T36" fmla="*/ 79 w 888"/>
                <a:gd name="T37" fmla="*/ 10 h 340"/>
                <a:gd name="T38" fmla="*/ 52 w 888"/>
                <a:gd name="T39" fmla="*/ 28 h 340"/>
                <a:gd name="T40" fmla="*/ 50 w 888"/>
                <a:gd name="T41" fmla="*/ 47 h 340"/>
                <a:gd name="T42" fmla="*/ 50 w 888"/>
                <a:gd name="T43" fmla="*/ 86 h 340"/>
                <a:gd name="T44" fmla="*/ 107 w 888"/>
                <a:gd name="T45" fmla="*/ 65 h 340"/>
                <a:gd name="T46" fmla="*/ 165 w 888"/>
                <a:gd name="T47" fmla="*/ 81 h 340"/>
                <a:gd name="T48" fmla="*/ 92 w 888"/>
                <a:gd name="T49" fmla="*/ 91 h 340"/>
                <a:gd name="T50" fmla="*/ 76 w 888"/>
                <a:gd name="T51" fmla="*/ 142 h 340"/>
                <a:gd name="T52" fmla="*/ 83 w 888"/>
                <a:gd name="T53" fmla="*/ 186 h 340"/>
                <a:gd name="T54" fmla="*/ 108 w 888"/>
                <a:gd name="T55" fmla="*/ 234 h 340"/>
                <a:gd name="T56" fmla="*/ 146 w 888"/>
                <a:gd name="T57" fmla="*/ 297 h 340"/>
                <a:gd name="T58" fmla="*/ 250 w 888"/>
                <a:gd name="T59" fmla="*/ 310 h 340"/>
                <a:gd name="T60" fmla="*/ 359 w 888"/>
                <a:gd name="T61" fmla="*/ 325 h 340"/>
                <a:gd name="T62" fmla="*/ 477 w 888"/>
                <a:gd name="T63" fmla="*/ 298 h 340"/>
                <a:gd name="T64" fmla="*/ 495 w 888"/>
                <a:gd name="T65" fmla="*/ 329 h 340"/>
                <a:gd name="T66" fmla="*/ 515 w 888"/>
                <a:gd name="T67" fmla="*/ 330 h 340"/>
                <a:gd name="T68" fmla="*/ 525 w 888"/>
                <a:gd name="T69" fmla="*/ 308 h 340"/>
                <a:gd name="T70" fmla="*/ 546 w 888"/>
                <a:gd name="T71" fmla="*/ 296 h 340"/>
                <a:gd name="T72" fmla="*/ 622 w 888"/>
                <a:gd name="T73" fmla="*/ 290 h 340"/>
                <a:gd name="T74" fmla="*/ 699 w 888"/>
                <a:gd name="T75" fmla="*/ 271 h 340"/>
                <a:gd name="T76" fmla="*/ 746 w 888"/>
                <a:gd name="T77" fmla="*/ 270 h 340"/>
                <a:gd name="T78" fmla="*/ 781 w 888"/>
                <a:gd name="T79" fmla="*/ 274 h 340"/>
                <a:gd name="T80" fmla="*/ 835 w 888"/>
                <a:gd name="T81" fmla="*/ 267 h 340"/>
                <a:gd name="T82" fmla="*/ 888 w 888"/>
                <a:gd name="T83" fmla="*/ 265 h 340"/>
                <a:gd name="T84" fmla="*/ 81 w 888"/>
                <a:gd name="T85" fmla="*/ 204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88" h="340">
                  <a:moveTo>
                    <a:pt x="3" y="126"/>
                  </a:moveTo>
                  <a:cubicBezTo>
                    <a:pt x="17" y="125"/>
                    <a:pt x="17" y="125"/>
                    <a:pt x="17" y="125"/>
                  </a:cubicBezTo>
                  <a:cubicBezTo>
                    <a:pt x="20" y="116"/>
                    <a:pt x="20" y="116"/>
                    <a:pt x="20" y="116"/>
                  </a:cubicBezTo>
                  <a:cubicBezTo>
                    <a:pt x="0" y="116"/>
                    <a:pt x="0" y="116"/>
                    <a:pt x="0" y="116"/>
                  </a:cubicBezTo>
                  <a:lnTo>
                    <a:pt x="3" y="126"/>
                  </a:lnTo>
                  <a:close/>
                  <a:moveTo>
                    <a:pt x="27" y="107"/>
                  </a:moveTo>
                  <a:cubicBezTo>
                    <a:pt x="30" y="116"/>
                    <a:pt x="40" y="122"/>
                    <a:pt x="39" y="106"/>
                  </a:cubicBezTo>
                  <a:cubicBezTo>
                    <a:pt x="38" y="90"/>
                    <a:pt x="27" y="107"/>
                    <a:pt x="27" y="107"/>
                  </a:cubicBezTo>
                  <a:close/>
                  <a:moveTo>
                    <a:pt x="63" y="93"/>
                  </a:moveTo>
                  <a:cubicBezTo>
                    <a:pt x="45" y="93"/>
                    <a:pt x="45" y="93"/>
                    <a:pt x="45" y="93"/>
                  </a:cubicBezTo>
                  <a:cubicBezTo>
                    <a:pt x="45" y="114"/>
                    <a:pt x="45" y="114"/>
                    <a:pt x="45" y="114"/>
                  </a:cubicBezTo>
                  <a:cubicBezTo>
                    <a:pt x="52" y="101"/>
                    <a:pt x="52" y="101"/>
                    <a:pt x="52" y="101"/>
                  </a:cubicBezTo>
                  <a:lnTo>
                    <a:pt x="63" y="93"/>
                  </a:lnTo>
                  <a:close/>
                  <a:moveTo>
                    <a:pt x="888" y="265"/>
                  </a:moveTo>
                  <a:cubicBezTo>
                    <a:pt x="887" y="261"/>
                    <a:pt x="887" y="259"/>
                    <a:pt x="887" y="259"/>
                  </a:cubicBezTo>
                  <a:cubicBezTo>
                    <a:pt x="871" y="254"/>
                    <a:pt x="871" y="254"/>
                    <a:pt x="871" y="254"/>
                  </a:cubicBezTo>
                  <a:cubicBezTo>
                    <a:pt x="871" y="236"/>
                    <a:pt x="871" y="236"/>
                    <a:pt x="871" y="236"/>
                  </a:cubicBezTo>
                  <a:cubicBezTo>
                    <a:pt x="850" y="224"/>
                    <a:pt x="850" y="224"/>
                    <a:pt x="850" y="224"/>
                  </a:cubicBezTo>
                  <a:cubicBezTo>
                    <a:pt x="850" y="224"/>
                    <a:pt x="863" y="205"/>
                    <a:pt x="858" y="203"/>
                  </a:cubicBezTo>
                  <a:cubicBezTo>
                    <a:pt x="853" y="201"/>
                    <a:pt x="846" y="180"/>
                    <a:pt x="846" y="180"/>
                  </a:cubicBezTo>
                  <a:cubicBezTo>
                    <a:pt x="845" y="165"/>
                    <a:pt x="845" y="165"/>
                    <a:pt x="845" y="165"/>
                  </a:cubicBezTo>
                  <a:cubicBezTo>
                    <a:pt x="834" y="149"/>
                    <a:pt x="834" y="149"/>
                    <a:pt x="834" y="149"/>
                  </a:cubicBezTo>
                  <a:cubicBezTo>
                    <a:pt x="850" y="147"/>
                    <a:pt x="850" y="147"/>
                    <a:pt x="850" y="147"/>
                  </a:cubicBezTo>
                  <a:cubicBezTo>
                    <a:pt x="850" y="147"/>
                    <a:pt x="851" y="142"/>
                    <a:pt x="853" y="137"/>
                  </a:cubicBezTo>
                  <a:cubicBezTo>
                    <a:pt x="850" y="127"/>
                    <a:pt x="846" y="116"/>
                    <a:pt x="843" y="116"/>
                  </a:cubicBezTo>
                  <a:cubicBezTo>
                    <a:pt x="838" y="115"/>
                    <a:pt x="822" y="124"/>
                    <a:pt x="814" y="113"/>
                  </a:cubicBezTo>
                  <a:cubicBezTo>
                    <a:pt x="806" y="102"/>
                    <a:pt x="808" y="88"/>
                    <a:pt x="802" y="73"/>
                  </a:cubicBezTo>
                  <a:cubicBezTo>
                    <a:pt x="796" y="58"/>
                    <a:pt x="794" y="50"/>
                    <a:pt x="794" y="50"/>
                  </a:cubicBezTo>
                  <a:cubicBezTo>
                    <a:pt x="777" y="50"/>
                    <a:pt x="777" y="50"/>
                    <a:pt x="777" y="50"/>
                  </a:cubicBezTo>
                  <a:cubicBezTo>
                    <a:pt x="777" y="50"/>
                    <a:pt x="775" y="35"/>
                    <a:pt x="761" y="32"/>
                  </a:cubicBezTo>
                  <a:cubicBezTo>
                    <a:pt x="747" y="29"/>
                    <a:pt x="741" y="39"/>
                    <a:pt x="741" y="39"/>
                  </a:cubicBezTo>
                  <a:cubicBezTo>
                    <a:pt x="715" y="34"/>
                    <a:pt x="715" y="34"/>
                    <a:pt x="715" y="34"/>
                  </a:cubicBezTo>
                  <a:cubicBezTo>
                    <a:pt x="706" y="43"/>
                    <a:pt x="688" y="59"/>
                    <a:pt x="678" y="63"/>
                  </a:cubicBezTo>
                  <a:cubicBezTo>
                    <a:pt x="665" y="68"/>
                    <a:pt x="621" y="62"/>
                    <a:pt x="621" y="62"/>
                  </a:cubicBezTo>
                  <a:cubicBezTo>
                    <a:pt x="585" y="72"/>
                    <a:pt x="585" y="72"/>
                    <a:pt x="585" y="72"/>
                  </a:cubicBezTo>
                  <a:cubicBezTo>
                    <a:pt x="542" y="57"/>
                    <a:pt x="542" y="57"/>
                    <a:pt x="542" y="57"/>
                  </a:cubicBezTo>
                  <a:cubicBezTo>
                    <a:pt x="525" y="63"/>
                    <a:pt x="525" y="63"/>
                    <a:pt x="525" y="63"/>
                  </a:cubicBezTo>
                  <a:cubicBezTo>
                    <a:pt x="525" y="63"/>
                    <a:pt x="516" y="40"/>
                    <a:pt x="508" y="42"/>
                  </a:cubicBezTo>
                  <a:cubicBezTo>
                    <a:pt x="500" y="44"/>
                    <a:pt x="491" y="51"/>
                    <a:pt x="491" y="51"/>
                  </a:cubicBezTo>
                  <a:cubicBezTo>
                    <a:pt x="475" y="40"/>
                    <a:pt x="475" y="40"/>
                    <a:pt x="475" y="40"/>
                  </a:cubicBezTo>
                  <a:cubicBezTo>
                    <a:pt x="472" y="25"/>
                    <a:pt x="472" y="25"/>
                    <a:pt x="472" y="25"/>
                  </a:cubicBezTo>
                  <a:cubicBezTo>
                    <a:pt x="442" y="30"/>
                    <a:pt x="442" y="30"/>
                    <a:pt x="442" y="30"/>
                  </a:cubicBezTo>
                  <a:cubicBezTo>
                    <a:pt x="424" y="20"/>
                    <a:pt x="424" y="20"/>
                    <a:pt x="424" y="20"/>
                  </a:cubicBezTo>
                  <a:cubicBezTo>
                    <a:pt x="421" y="6"/>
                    <a:pt x="421" y="6"/>
                    <a:pt x="421" y="6"/>
                  </a:cubicBezTo>
                  <a:cubicBezTo>
                    <a:pt x="421" y="6"/>
                    <a:pt x="398" y="16"/>
                    <a:pt x="385" y="16"/>
                  </a:cubicBezTo>
                  <a:cubicBezTo>
                    <a:pt x="373" y="16"/>
                    <a:pt x="355" y="10"/>
                    <a:pt x="343" y="11"/>
                  </a:cubicBezTo>
                  <a:cubicBezTo>
                    <a:pt x="332" y="12"/>
                    <a:pt x="297" y="26"/>
                    <a:pt x="291" y="32"/>
                  </a:cubicBezTo>
                  <a:cubicBezTo>
                    <a:pt x="286" y="39"/>
                    <a:pt x="272" y="42"/>
                    <a:pt x="272" y="42"/>
                  </a:cubicBezTo>
                  <a:cubicBezTo>
                    <a:pt x="266" y="58"/>
                    <a:pt x="266" y="58"/>
                    <a:pt x="266" y="58"/>
                  </a:cubicBezTo>
                  <a:cubicBezTo>
                    <a:pt x="266" y="58"/>
                    <a:pt x="266" y="62"/>
                    <a:pt x="252" y="59"/>
                  </a:cubicBezTo>
                  <a:cubicBezTo>
                    <a:pt x="239" y="56"/>
                    <a:pt x="216" y="53"/>
                    <a:pt x="203" y="53"/>
                  </a:cubicBezTo>
                  <a:cubicBezTo>
                    <a:pt x="191" y="53"/>
                    <a:pt x="151" y="44"/>
                    <a:pt x="151" y="44"/>
                  </a:cubicBezTo>
                  <a:cubicBezTo>
                    <a:pt x="151" y="44"/>
                    <a:pt x="127" y="47"/>
                    <a:pt x="124" y="33"/>
                  </a:cubicBezTo>
                  <a:cubicBezTo>
                    <a:pt x="122" y="26"/>
                    <a:pt x="121" y="19"/>
                    <a:pt x="120" y="14"/>
                  </a:cubicBezTo>
                  <a:cubicBezTo>
                    <a:pt x="111" y="15"/>
                    <a:pt x="97" y="13"/>
                    <a:pt x="97" y="13"/>
                  </a:cubicBezTo>
                  <a:cubicBezTo>
                    <a:pt x="87" y="0"/>
                    <a:pt x="87" y="0"/>
                    <a:pt x="87" y="0"/>
                  </a:cubicBezTo>
                  <a:cubicBezTo>
                    <a:pt x="79" y="10"/>
                    <a:pt x="79" y="10"/>
                    <a:pt x="79" y="10"/>
                  </a:cubicBezTo>
                  <a:cubicBezTo>
                    <a:pt x="59" y="8"/>
                    <a:pt x="59" y="8"/>
                    <a:pt x="59" y="8"/>
                  </a:cubicBezTo>
                  <a:cubicBezTo>
                    <a:pt x="50" y="23"/>
                    <a:pt x="50" y="23"/>
                    <a:pt x="50" y="23"/>
                  </a:cubicBezTo>
                  <a:cubicBezTo>
                    <a:pt x="52" y="28"/>
                    <a:pt x="52" y="28"/>
                    <a:pt x="52" y="28"/>
                  </a:cubicBezTo>
                  <a:cubicBezTo>
                    <a:pt x="52" y="28"/>
                    <a:pt x="59" y="27"/>
                    <a:pt x="62" y="32"/>
                  </a:cubicBezTo>
                  <a:cubicBezTo>
                    <a:pt x="65" y="37"/>
                    <a:pt x="64" y="45"/>
                    <a:pt x="64" y="45"/>
                  </a:cubicBezTo>
                  <a:cubicBezTo>
                    <a:pt x="64" y="45"/>
                    <a:pt x="51" y="41"/>
                    <a:pt x="50" y="47"/>
                  </a:cubicBezTo>
                  <a:cubicBezTo>
                    <a:pt x="49" y="53"/>
                    <a:pt x="54" y="56"/>
                    <a:pt x="52" y="63"/>
                  </a:cubicBezTo>
                  <a:cubicBezTo>
                    <a:pt x="50" y="70"/>
                    <a:pt x="47" y="75"/>
                    <a:pt x="47" y="75"/>
                  </a:cubicBezTo>
                  <a:cubicBezTo>
                    <a:pt x="47" y="75"/>
                    <a:pt x="35" y="87"/>
                    <a:pt x="50" y="86"/>
                  </a:cubicBezTo>
                  <a:cubicBezTo>
                    <a:pt x="65" y="85"/>
                    <a:pt x="76" y="80"/>
                    <a:pt x="76" y="80"/>
                  </a:cubicBezTo>
                  <a:cubicBezTo>
                    <a:pt x="76" y="80"/>
                    <a:pt x="72" y="90"/>
                    <a:pt x="80" y="87"/>
                  </a:cubicBezTo>
                  <a:cubicBezTo>
                    <a:pt x="88" y="84"/>
                    <a:pt x="107" y="65"/>
                    <a:pt x="107" y="65"/>
                  </a:cubicBezTo>
                  <a:cubicBezTo>
                    <a:pt x="107" y="65"/>
                    <a:pt x="141" y="53"/>
                    <a:pt x="152" y="61"/>
                  </a:cubicBezTo>
                  <a:cubicBezTo>
                    <a:pt x="163" y="69"/>
                    <a:pt x="197" y="74"/>
                    <a:pt x="197" y="74"/>
                  </a:cubicBezTo>
                  <a:cubicBezTo>
                    <a:pt x="197" y="74"/>
                    <a:pt x="166" y="78"/>
                    <a:pt x="165" y="81"/>
                  </a:cubicBezTo>
                  <a:cubicBezTo>
                    <a:pt x="164" y="84"/>
                    <a:pt x="159" y="93"/>
                    <a:pt x="159" y="93"/>
                  </a:cubicBezTo>
                  <a:cubicBezTo>
                    <a:pt x="126" y="94"/>
                    <a:pt x="126" y="94"/>
                    <a:pt x="126" y="94"/>
                  </a:cubicBezTo>
                  <a:cubicBezTo>
                    <a:pt x="92" y="91"/>
                    <a:pt x="92" y="91"/>
                    <a:pt x="92" y="91"/>
                  </a:cubicBezTo>
                  <a:cubicBezTo>
                    <a:pt x="92" y="91"/>
                    <a:pt x="66" y="97"/>
                    <a:pt x="62" y="105"/>
                  </a:cubicBezTo>
                  <a:cubicBezTo>
                    <a:pt x="58" y="113"/>
                    <a:pt x="49" y="143"/>
                    <a:pt x="49" y="143"/>
                  </a:cubicBezTo>
                  <a:cubicBezTo>
                    <a:pt x="76" y="142"/>
                    <a:pt x="76" y="142"/>
                    <a:pt x="76" y="142"/>
                  </a:cubicBezTo>
                  <a:cubicBezTo>
                    <a:pt x="76" y="142"/>
                    <a:pt x="72" y="151"/>
                    <a:pt x="77" y="159"/>
                  </a:cubicBezTo>
                  <a:cubicBezTo>
                    <a:pt x="82" y="167"/>
                    <a:pt x="88" y="175"/>
                    <a:pt x="88" y="175"/>
                  </a:cubicBezTo>
                  <a:cubicBezTo>
                    <a:pt x="83" y="186"/>
                    <a:pt x="83" y="186"/>
                    <a:pt x="83" y="186"/>
                  </a:cubicBezTo>
                  <a:cubicBezTo>
                    <a:pt x="93" y="201"/>
                    <a:pt x="93" y="201"/>
                    <a:pt x="93" y="201"/>
                  </a:cubicBezTo>
                  <a:cubicBezTo>
                    <a:pt x="84" y="212"/>
                    <a:pt x="84" y="212"/>
                    <a:pt x="84" y="212"/>
                  </a:cubicBezTo>
                  <a:cubicBezTo>
                    <a:pt x="108" y="234"/>
                    <a:pt x="108" y="234"/>
                    <a:pt x="108" y="234"/>
                  </a:cubicBezTo>
                  <a:cubicBezTo>
                    <a:pt x="106" y="258"/>
                    <a:pt x="106" y="258"/>
                    <a:pt x="106" y="258"/>
                  </a:cubicBezTo>
                  <a:cubicBezTo>
                    <a:pt x="140" y="275"/>
                    <a:pt x="140" y="275"/>
                    <a:pt x="140" y="275"/>
                  </a:cubicBezTo>
                  <a:cubicBezTo>
                    <a:pt x="146" y="297"/>
                    <a:pt x="146" y="297"/>
                    <a:pt x="146" y="297"/>
                  </a:cubicBezTo>
                  <a:cubicBezTo>
                    <a:pt x="146" y="297"/>
                    <a:pt x="143" y="285"/>
                    <a:pt x="162" y="290"/>
                  </a:cubicBezTo>
                  <a:cubicBezTo>
                    <a:pt x="181" y="295"/>
                    <a:pt x="178" y="312"/>
                    <a:pt x="208" y="315"/>
                  </a:cubicBezTo>
                  <a:cubicBezTo>
                    <a:pt x="238" y="318"/>
                    <a:pt x="250" y="317"/>
                    <a:pt x="250" y="310"/>
                  </a:cubicBezTo>
                  <a:cubicBezTo>
                    <a:pt x="250" y="303"/>
                    <a:pt x="252" y="284"/>
                    <a:pt x="262" y="283"/>
                  </a:cubicBezTo>
                  <a:cubicBezTo>
                    <a:pt x="272" y="282"/>
                    <a:pt x="299" y="289"/>
                    <a:pt x="313" y="294"/>
                  </a:cubicBezTo>
                  <a:cubicBezTo>
                    <a:pt x="327" y="299"/>
                    <a:pt x="313" y="326"/>
                    <a:pt x="359" y="325"/>
                  </a:cubicBezTo>
                  <a:cubicBezTo>
                    <a:pt x="405" y="324"/>
                    <a:pt x="406" y="299"/>
                    <a:pt x="422" y="294"/>
                  </a:cubicBezTo>
                  <a:cubicBezTo>
                    <a:pt x="438" y="289"/>
                    <a:pt x="450" y="285"/>
                    <a:pt x="457" y="291"/>
                  </a:cubicBezTo>
                  <a:cubicBezTo>
                    <a:pt x="464" y="297"/>
                    <a:pt x="466" y="303"/>
                    <a:pt x="477" y="298"/>
                  </a:cubicBezTo>
                  <a:cubicBezTo>
                    <a:pt x="488" y="293"/>
                    <a:pt x="495" y="277"/>
                    <a:pt x="502" y="284"/>
                  </a:cubicBezTo>
                  <a:cubicBezTo>
                    <a:pt x="509" y="291"/>
                    <a:pt x="501" y="300"/>
                    <a:pt x="498" y="306"/>
                  </a:cubicBezTo>
                  <a:cubicBezTo>
                    <a:pt x="495" y="312"/>
                    <a:pt x="488" y="324"/>
                    <a:pt x="495" y="329"/>
                  </a:cubicBezTo>
                  <a:cubicBezTo>
                    <a:pt x="496" y="330"/>
                    <a:pt x="497" y="331"/>
                    <a:pt x="496" y="333"/>
                  </a:cubicBezTo>
                  <a:cubicBezTo>
                    <a:pt x="499" y="335"/>
                    <a:pt x="506" y="340"/>
                    <a:pt x="509" y="339"/>
                  </a:cubicBezTo>
                  <a:cubicBezTo>
                    <a:pt x="513" y="338"/>
                    <a:pt x="515" y="330"/>
                    <a:pt x="515" y="330"/>
                  </a:cubicBezTo>
                  <a:cubicBezTo>
                    <a:pt x="515" y="321"/>
                    <a:pt x="515" y="321"/>
                    <a:pt x="515" y="321"/>
                  </a:cubicBezTo>
                  <a:cubicBezTo>
                    <a:pt x="515" y="321"/>
                    <a:pt x="529" y="327"/>
                    <a:pt x="530" y="319"/>
                  </a:cubicBezTo>
                  <a:cubicBezTo>
                    <a:pt x="532" y="306"/>
                    <a:pt x="525" y="308"/>
                    <a:pt x="525" y="308"/>
                  </a:cubicBezTo>
                  <a:cubicBezTo>
                    <a:pt x="524" y="287"/>
                    <a:pt x="524" y="287"/>
                    <a:pt x="524" y="287"/>
                  </a:cubicBezTo>
                  <a:cubicBezTo>
                    <a:pt x="524" y="287"/>
                    <a:pt x="538" y="282"/>
                    <a:pt x="540" y="286"/>
                  </a:cubicBezTo>
                  <a:cubicBezTo>
                    <a:pt x="542" y="290"/>
                    <a:pt x="525" y="296"/>
                    <a:pt x="546" y="296"/>
                  </a:cubicBezTo>
                  <a:cubicBezTo>
                    <a:pt x="567" y="296"/>
                    <a:pt x="582" y="288"/>
                    <a:pt x="582" y="288"/>
                  </a:cubicBezTo>
                  <a:cubicBezTo>
                    <a:pt x="582" y="288"/>
                    <a:pt x="593" y="276"/>
                    <a:pt x="596" y="277"/>
                  </a:cubicBezTo>
                  <a:cubicBezTo>
                    <a:pt x="599" y="278"/>
                    <a:pt x="622" y="290"/>
                    <a:pt x="622" y="290"/>
                  </a:cubicBezTo>
                  <a:cubicBezTo>
                    <a:pt x="622" y="290"/>
                    <a:pt x="634" y="295"/>
                    <a:pt x="645" y="294"/>
                  </a:cubicBezTo>
                  <a:cubicBezTo>
                    <a:pt x="656" y="293"/>
                    <a:pt x="661" y="290"/>
                    <a:pt x="670" y="287"/>
                  </a:cubicBezTo>
                  <a:cubicBezTo>
                    <a:pt x="679" y="284"/>
                    <a:pt x="686" y="272"/>
                    <a:pt x="699" y="271"/>
                  </a:cubicBezTo>
                  <a:cubicBezTo>
                    <a:pt x="712" y="270"/>
                    <a:pt x="718" y="269"/>
                    <a:pt x="723" y="271"/>
                  </a:cubicBezTo>
                  <a:cubicBezTo>
                    <a:pt x="728" y="273"/>
                    <a:pt x="723" y="278"/>
                    <a:pt x="732" y="277"/>
                  </a:cubicBezTo>
                  <a:cubicBezTo>
                    <a:pt x="741" y="276"/>
                    <a:pt x="746" y="270"/>
                    <a:pt x="746" y="270"/>
                  </a:cubicBezTo>
                  <a:cubicBezTo>
                    <a:pt x="746" y="270"/>
                    <a:pt x="751" y="268"/>
                    <a:pt x="759" y="267"/>
                  </a:cubicBezTo>
                  <a:cubicBezTo>
                    <a:pt x="767" y="266"/>
                    <a:pt x="769" y="255"/>
                    <a:pt x="772" y="257"/>
                  </a:cubicBezTo>
                  <a:cubicBezTo>
                    <a:pt x="775" y="259"/>
                    <a:pt x="769" y="277"/>
                    <a:pt x="781" y="274"/>
                  </a:cubicBezTo>
                  <a:cubicBezTo>
                    <a:pt x="793" y="271"/>
                    <a:pt x="792" y="258"/>
                    <a:pt x="792" y="258"/>
                  </a:cubicBezTo>
                  <a:cubicBezTo>
                    <a:pt x="818" y="258"/>
                    <a:pt x="818" y="258"/>
                    <a:pt x="818" y="258"/>
                  </a:cubicBezTo>
                  <a:cubicBezTo>
                    <a:pt x="818" y="258"/>
                    <a:pt x="827" y="269"/>
                    <a:pt x="835" y="267"/>
                  </a:cubicBezTo>
                  <a:cubicBezTo>
                    <a:pt x="843" y="265"/>
                    <a:pt x="835" y="257"/>
                    <a:pt x="849" y="258"/>
                  </a:cubicBezTo>
                  <a:cubicBezTo>
                    <a:pt x="863" y="259"/>
                    <a:pt x="861" y="276"/>
                    <a:pt x="861" y="276"/>
                  </a:cubicBezTo>
                  <a:lnTo>
                    <a:pt x="888" y="265"/>
                  </a:lnTo>
                  <a:close/>
                  <a:moveTo>
                    <a:pt x="67" y="189"/>
                  </a:moveTo>
                  <a:cubicBezTo>
                    <a:pt x="63" y="185"/>
                    <a:pt x="61" y="207"/>
                    <a:pt x="67" y="217"/>
                  </a:cubicBezTo>
                  <a:cubicBezTo>
                    <a:pt x="72" y="226"/>
                    <a:pt x="79" y="208"/>
                    <a:pt x="81" y="204"/>
                  </a:cubicBezTo>
                  <a:cubicBezTo>
                    <a:pt x="83" y="200"/>
                    <a:pt x="71" y="193"/>
                    <a:pt x="67" y="189"/>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99" name="Freeform 60"/>
            <p:cNvSpPr>
              <a:spLocks noEditPoints="1"/>
            </p:cNvSpPr>
            <p:nvPr/>
          </p:nvSpPr>
          <p:spPr bwMode="gray">
            <a:xfrm>
              <a:off x="4757738" y="2720975"/>
              <a:ext cx="203200" cy="204788"/>
            </a:xfrm>
            <a:custGeom>
              <a:avLst/>
              <a:gdLst>
                <a:gd name="T0" fmla="*/ 190 w 365"/>
                <a:gd name="T1" fmla="*/ 78 h 367"/>
                <a:gd name="T2" fmla="*/ 5 w 365"/>
                <a:gd name="T3" fmla="*/ 188 h 367"/>
                <a:gd name="T4" fmla="*/ 212 w 365"/>
                <a:gd name="T5" fmla="*/ 277 h 367"/>
                <a:gd name="T6" fmla="*/ 210 w 365"/>
                <a:gd name="T7" fmla="*/ 258 h 367"/>
                <a:gd name="T8" fmla="*/ 210 w 365"/>
                <a:gd name="T9" fmla="*/ 258 h 367"/>
                <a:gd name="T10" fmla="*/ 223 w 365"/>
                <a:gd name="T11" fmla="*/ 213 h 367"/>
                <a:gd name="T12" fmla="*/ 97 w 365"/>
                <a:gd name="T13" fmla="*/ 176 h 367"/>
                <a:gd name="T14" fmla="*/ 166 w 365"/>
                <a:gd name="T15" fmla="*/ 188 h 367"/>
                <a:gd name="T16" fmla="*/ 128 w 365"/>
                <a:gd name="T17" fmla="*/ 152 h 367"/>
                <a:gd name="T18" fmla="*/ 153 w 365"/>
                <a:gd name="T19" fmla="*/ 156 h 367"/>
                <a:gd name="T20" fmla="*/ 107 w 365"/>
                <a:gd name="T21" fmla="*/ 94 h 367"/>
                <a:gd name="T22" fmla="*/ 129 w 365"/>
                <a:gd name="T23" fmla="*/ 78 h 367"/>
                <a:gd name="T24" fmla="*/ 140 w 365"/>
                <a:gd name="T25" fmla="*/ 79 h 367"/>
                <a:gd name="T26" fmla="*/ 152 w 365"/>
                <a:gd name="T27" fmla="*/ 77 h 367"/>
                <a:gd name="T28" fmla="*/ 182 w 365"/>
                <a:gd name="T29" fmla="*/ 49 h 367"/>
                <a:gd name="T30" fmla="*/ 258 w 365"/>
                <a:gd name="T31" fmla="*/ 52 h 367"/>
                <a:gd name="T32" fmla="*/ 275 w 365"/>
                <a:gd name="T33" fmla="*/ 22 h 367"/>
                <a:gd name="T34" fmla="*/ 261 w 365"/>
                <a:gd name="T35" fmla="*/ 0 h 367"/>
                <a:gd name="T36" fmla="*/ 237 w 365"/>
                <a:gd name="T37" fmla="*/ 25 h 367"/>
                <a:gd name="T38" fmla="*/ 205 w 365"/>
                <a:gd name="T39" fmla="*/ 17 h 367"/>
                <a:gd name="T40" fmla="*/ 161 w 365"/>
                <a:gd name="T41" fmla="*/ 9 h 367"/>
                <a:gd name="T42" fmla="*/ 123 w 365"/>
                <a:gd name="T43" fmla="*/ 25 h 367"/>
                <a:gd name="T44" fmla="*/ 70 w 365"/>
                <a:gd name="T45" fmla="*/ 36 h 367"/>
                <a:gd name="T46" fmla="*/ 38 w 365"/>
                <a:gd name="T47" fmla="*/ 50 h 367"/>
                <a:gd name="T48" fmla="*/ 21 w 365"/>
                <a:gd name="T49" fmla="*/ 84 h 367"/>
                <a:gd name="T50" fmla="*/ 3 w 365"/>
                <a:gd name="T51" fmla="*/ 109 h 367"/>
                <a:gd name="T52" fmla="*/ 29 w 365"/>
                <a:gd name="T53" fmla="*/ 156 h 367"/>
                <a:gd name="T54" fmla="*/ 266 w 365"/>
                <a:gd name="T55" fmla="*/ 168 h 367"/>
                <a:gd name="T56" fmla="*/ 261 w 365"/>
                <a:gd name="T57" fmla="*/ 196 h 367"/>
                <a:gd name="T58" fmla="*/ 30 w 365"/>
                <a:gd name="T59" fmla="*/ 220 h 367"/>
                <a:gd name="T60" fmla="*/ 255 w 365"/>
                <a:gd name="T61" fmla="*/ 270 h 367"/>
                <a:gd name="T62" fmla="*/ 275 w 365"/>
                <a:gd name="T63" fmla="*/ 220 h 367"/>
                <a:gd name="T64" fmla="*/ 269 w 365"/>
                <a:gd name="T65" fmla="*/ 127 h 367"/>
                <a:gd name="T66" fmla="*/ 278 w 365"/>
                <a:gd name="T67" fmla="*/ 148 h 367"/>
                <a:gd name="T68" fmla="*/ 247 w 365"/>
                <a:gd name="T69" fmla="*/ 254 h 367"/>
                <a:gd name="T70" fmla="*/ 291 w 365"/>
                <a:gd name="T71" fmla="*/ 220 h 367"/>
                <a:gd name="T72" fmla="*/ 307 w 365"/>
                <a:gd name="T73" fmla="*/ 236 h 367"/>
                <a:gd name="T74" fmla="*/ 186 w 365"/>
                <a:gd name="T75" fmla="*/ 146 h 367"/>
                <a:gd name="T76" fmla="*/ 361 w 365"/>
                <a:gd name="T77" fmla="*/ 281 h 367"/>
                <a:gd name="T78" fmla="*/ 310 w 365"/>
                <a:gd name="T79" fmla="*/ 258 h 367"/>
                <a:gd name="T80" fmla="*/ 326 w 365"/>
                <a:gd name="T81" fmla="*/ 249 h 367"/>
                <a:gd name="T82" fmla="*/ 324 w 365"/>
                <a:gd name="T83" fmla="*/ 339 h 367"/>
                <a:gd name="T84" fmla="*/ 186 w 365"/>
                <a:gd name="T85" fmla="*/ 221 h 367"/>
                <a:gd name="T86" fmla="*/ 127 w 365"/>
                <a:gd name="T87" fmla="*/ 288 h 367"/>
                <a:gd name="T88" fmla="*/ 259 w 365"/>
                <a:gd name="T89" fmla="*/ 352 h 367"/>
                <a:gd name="T90" fmla="*/ 209 w 365"/>
                <a:gd name="T91" fmla="*/ 336 h 367"/>
                <a:gd name="T92" fmla="*/ 161 w 365"/>
                <a:gd name="T93" fmla="*/ 342 h 367"/>
                <a:gd name="T94" fmla="*/ 205 w 365"/>
                <a:gd name="T95" fmla="*/ 352 h 367"/>
                <a:gd name="T96" fmla="*/ 241 w 365"/>
                <a:gd name="T97" fmla="*/ 362 h 367"/>
                <a:gd name="T98" fmla="*/ 285 w 365"/>
                <a:gd name="T99" fmla="*/ 272 h 367"/>
                <a:gd name="T100" fmla="*/ 79 w 365"/>
                <a:gd name="T101" fmla="*/ 186 h 367"/>
                <a:gd name="T102" fmla="*/ 47 w 365"/>
                <a:gd name="T103" fmla="*/ 207 h 367"/>
                <a:gd name="T104" fmla="*/ 81 w 365"/>
                <a:gd name="T105" fmla="*/ 260 h 367"/>
                <a:gd name="T106" fmla="*/ 113 w 365"/>
                <a:gd name="T107" fmla="*/ 262 h 367"/>
                <a:gd name="T108" fmla="*/ 129 w 365"/>
                <a:gd name="T109" fmla="*/ 270 h 367"/>
                <a:gd name="T110" fmla="*/ 117 w 365"/>
                <a:gd name="T111" fmla="*/ 221 h 367"/>
                <a:gd name="T112" fmla="*/ 132 w 365"/>
                <a:gd name="T113" fmla="*/ 212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65" h="367">
                  <a:moveTo>
                    <a:pt x="165" y="73"/>
                  </a:moveTo>
                  <a:cubicBezTo>
                    <a:pt x="183" y="85"/>
                    <a:pt x="183" y="85"/>
                    <a:pt x="183" y="85"/>
                  </a:cubicBezTo>
                  <a:cubicBezTo>
                    <a:pt x="190" y="78"/>
                    <a:pt x="190" y="78"/>
                    <a:pt x="190" y="78"/>
                  </a:cubicBezTo>
                  <a:lnTo>
                    <a:pt x="165" y="73"/>
                  </a:lnTo>
                  <a:close/>
                  <a:moveTo>
                    <a:pt x="19" y="173"/>
                  </a:moveTo>
                  <a:cubicBezTo>
                    <a:pt x="5" y="188"/>
                    <a:pt x="5" y="188"/>
                    <a:pt x="5" y="188"/>
                  </a:cubicBezTo>
                  <a:cubicBezTo>
                    <a:pt x="30" y="195"/>
                    <a:pt x="30" y="195"/>
                    <a:pt x="30" y="195"/>
                  </a:cubicBezTo>
                  <a:lnTo>
                    <a:pt x="19" y="173"/>
                  </a:lnTo>
                  <a:close/>
                  <a:moveTo>
                    <a:pt x="212" y="277"/>
                  </a:moveTo>
                  <a:cubicBezTo>
                    <a:pt x="211" y="280"/>
                    <a:pt x="220" y="282"/>
                    <a:pt x="219" y="275"/>
                  </a:cubicBezTo>
                  <a:cubicBezTo>
                    <a:pt x="218" y="268"/>
                    <a:pt x="213" y="271"/>
                    <a:pt x="212" y="277"/>
                  </a:cubicBezTo>
                  <a:close/>
                  <a:moveTo>
                    <a:pt x="210" y="258"/>
                  </a:moveTo>
                  <a:cubicBezTo>
                    <a:pt x="204" y="253"/>
                    <a:pt x="204" y="253"/>
                    <a:pt x="204" y="253"/>
                  </a:cubicBezTo>
                  <a:cubicBezTo>
                    <a:pt x="198" y="259"/>
                    <a:pt x="198" y="259"/>
                    <a:pt x="198" y="259"/>
                  </a:cubicBezTo>
                  <a:lnTo>
                    <a:pt x="210" y="258"/>
                  </a:lnTo>
                  <a:close/>
                  <a:moveTo>
                    <a:pt x="201" y="196"/>
                  </a:moveTo>
                  <a:cubicBezTo>
                    <a:pt x="217" y="224"/>
                    <a:pt x="217" y="224"/>
                    <a:pt x="217" y="224"/>
                  </a:cubicBezTo>
                  <a:cubicBezTo>
                    <a:pt x="223" y="213"/>
                    <a:pt x="223" y="213"/>
                    <a:pt x="223" y="213"/>
                  </a:cubicBezTo>
                  <a:lnTo>
                    <a:pt x="201" y="196"/>
                  </a:lnTo>
                  <a:close/>
                  <a:moveTo>
                    <a:pt x="76" y="178"/>
                  </a:moveTo>
                  <a:cubicBezTo>
                    <a:pt x="76" y="178"/>
                    <a:pt x="90" y="173"/>
                    <a:pt x="97" y="176"/>
                  </a:cubicBezTo>
                  <a:cubicBezTo>
                    <a:pt x="104" y="179"/>
                    <a:pt x="141" y="193"/>
                    <a:pt x="141" y="193"/>
                  </a:cubicBezTo>
                  <a:cubicBezTo>
                    <a:pt x="141" y="193"/>
                    <a:pt x="163" y="216"/>
                    <a:pt x="168" y="210"/>
                  </a:cubicBezTo>
                  <a:cubicBezTo>
                    <a:pt x="173" y="204"/>
                    <a:pt x="174" y="195"/>
                    <a:pt x="166" y="188"/>
                  </a:cubicBezTo>
                  <a:cubicBezTo>
                    <a:pt x="158" y="181"/>
                    <a:pt x="142" y="168"/>
                    <a:pt x="139" y="167"/>
                  </a:cubicBezTo>
                  <a:cubicBezTo>
                    <a:pt x="136" y="166"/>
                    <a:pt x="117" y="157"/>
                    <a:pt x="117" y="157"/>
                  </a:cubicBezTo>
                  <a:cubicBezTo>
                    <a:pt x="117" y="157"/>
                    <a:pt x="124" y="151"/>
                    <a:pt x="128" y="152"/>
                  </a:cubicBezTo>
                  <a:cubicBezTo>
                    <a:pt x="132" y="153"/>
                    <a:pt x="155" y="176"/>
                    <a:pt x="169" y="178"/>
                  </a:cubicBezTo>
                  <a:cubicBezTo>
                    <a:pt x="183" y="180"/>
                    <a:pt x="189" y="164"/>
                    <a:pt x="176" y="162"/>
                  </a:cubicBezTo>
                  <a:cubicBezTo>
                    <a:pt x="163" y="160"/>
                    <a:pt x="153" y="156"/>
                    <a:pt x="153" y="156"/>
                  </a:cubicBezTo>
                  <a:cubicBezTo>
                    <a:pt x="153" y="156"/>
                    <a:pt x="139" y="148"/>
                    <a:pt x="137" y="141"/>
                  </a:cubicBezTo>
                  <a:cubicBezTo>
                    <a:pt x="135" y="134"/>
                    <a:pt x="123" y="117"/>
                    <a:pt x="123" y="117"/>
                  </a:cubicBezTo>
                  <a:cubicBezTo>
                    <a:pt x="123" y="117"/>
                    <a:pt x="112" y="100"/>
                    <a:pt x="107" y="94"/>
                  </a:cubicBezTo>
                  <a:cubicBezTo>
                    <a:pt x="102" y="88"/>
                    <a:pt x="97" y="67"/>
                    <a:pt x="104" y="64"/>
                  </a:cubicBezTo>
                  <a:cubicBezTo>
                    <a:pt x="111" y="61"/>
                    <a:pt x="113" y="78"/>
                    <a:pt x="121" y="78"/>
                  </a:cubicBezTo>
                  <a:cubicBezTo>
                    <a:pt x="123" y="78"/>
                    <a:pt x="126" y="78"/>
                    <a:pt x="129" y="78"/>
                  </a:cubicBezTo>
                  <a:cubicBezTo>
                    <a:pt x="133" y="86"/>
                    <a:pt x="137" y="95"/>
                    <a:pt x="139" y="96"/>
                  </a:cubicBezTo>
                  <a:cubicBezTo>
                    <a:pt x="142" y="98"/>
                    <a:pt x="148" y="94"/>
                    <a:pt x="148" y="94"/>
                  </a:cubicBezTo>
                  <a:cubicBezTo>
                    <a:pt x="140" y="79"/>
                    <a:pt x="140" y="79"/>
                    <a:pt x="140" y="79"/>
                  </a:cubicBezTo>
                  <a:cubicBezTo>
                    <a:pt x="141" y="79"/>
                    <a:pt x="142" y="79"/>
                    <a:pt x="143" y="79"/>
                  </a:cubicBezTo>
                  <a:cubicBezTo>
                    <a:pt x="161" y="90"/>
                    <a:pt x="161" y="90"/>
                    <a:pt x="161" y="90"/>
                  </a:cubicBezTo>
                  <a:cubicBezTo>
                    <a:pt x="152" y="77"/>
                    <a:pt x="152" y="77"/>
                    <a:pt x="152" y="77"/>
                  </a:cubicBezTo>
                  <a:cubicBezTo>
                    <a:pt x="152" y="77"/>
                    <a:pt x="153" y="77"/>
                    <a:pt x="153" y="77"/>
                  </a:cubicBezTo>
                  <a:cubicBezTo>
                    <a:pt x="156" y="74"/>
                    <a:pt x="157" y="66"/>
                    <a:pt x="156" y="58"/>
                  </a:cubicBezTo>
                  <a:cubicBezTo>
                    <a:pt x="155" y="50"/>
                    <a:pt x="173" y="46"/>
                    <a:pt x="182" y="49"/>
                  </a:cubicBezTo>
                  <a:cubicBezTo>
                    <a:pt x="191" y="52"/>
                    <a:pt x="184" y="65"/>
                    <a:pt x="193" y="62"/>
                  </a:cubicBezTo>
                  <a:cubicBezTo>
                    <a:pt x="202" y="59"/>
                    <a:pt x="205" y="44"/>
                    <a:pt x="210" y="43"/>
                  </a:cubicBezTo>
                  <a:cubicBezTo>
                    <a:pt x="215" y="42"/>
                    <a:pt x="258" y="52"/>
                    <a:pt x="258" y="52"/>
                  </a:cubicBezTo>
                  <a:cubicBezTo>
                    <a:pt x="258" y="52"/>
                    <a:pt x="261" y="47"/>
                    <a:pt x="263" y="40"/>
                  </a:cubicBezTo>
                  <a:cubicBezTo>
                    <a:pt x="265" y="33"/>
                    <a:pt x="260" y="30"/>
                    <a:pt x="261" y="24"/>
                  </a:cubicBezTo>
                  <a:cubicBezTo>
                    <a:pt x="262" y="18"/>
                    <a:pt x="275" y="22"/>
                    <a:pt x="275" y="22"/>
                  </a:cubicBezTo>
                  <a:cubicBezTo>
                    <a:pt x="275" y="22"/>
                    <a:pt x="276" y="14"/>
                    <a:pt x="273" y="9"/>
                  </a:cubicBezTo>
                  <a:cubicBezTo>
                    <a:pt x="270" y="4"/>
                    <a:pt x="263" y="5"/>
                    <a:pt x="263" y="5"/>
                  </a:cubicBezTo>
                  <a:cubicBezTo>
                    <a:pt x="261" y="0"/>
                    <a:pt x="261" y="0"/>
                    <a:pt x="261" y="0"/>
                  </a:cubicBezTo>
                  <a:cubicBezTo>
                    <a:pt x="249" y="6"/>
                    <a:pt x="249" y="6"/>
                    <a:pt x="249" y="6"/>
                  </a:cubicBezTo>
                  <a:cubicBezTo>
                    <a:pt x="249" y="6"/>
                    <a:pt x="255" y="14"/>
                    <a:pt x="253" y="19"/>
                  </a:cubicBezTo>
                  <a:cubicBezTo>
                    <a:pt x="251" y="24"/>
                    <a:pt x="237" y="25"/>
                    <a:pt x="237" y="25"/>
                  </a:cubicBezTo>
                  <a:cubicBezTo>
                    <a:pt x="227" y="17"/>
                    <a:pt x="227" y="17"/>
                    <a:pt x="227" y="17"/>
                  </a:cubicBezTo>
                  <a:cubicBezTo>
                    <a:pt x="227" y="17"/>
                    <a:pt x="222" y="24"/>
                    <a:pt x="214" y="25"/>
                  </a:cubicBezTo>
                  <a:cubicBezTo>
                    <a:pt x="206" y="26"/>
                    <a:pt x="205" y="17"/>
                    <a:pt x="205" y="17"/>
                  </a:cubicBezTo>
                  <a:cubicBezTo>
                    <a:pt x="205" y="17"/>
                    <a:pt x="199" y="20"/>
                    <a:pt x="191" y="20"/>
                  </a:cubicBezTo>
                  <a:cubicBezTo>
                    <a:pt x="183" y="20"/>
                    <a:pt x="179" y="6"/>
                    <a:pt x="179" y="6"/>
                  </a:cubicBezTo>
                  <a:cubicBezTo>
                    <a:pt x="161" y="9"/>
                    <a:pt x="161" y="9"/>
                    <a:pt x="161" y="9"/>
                  </a:cubicBezTo>
                  <a:cubicBezTo>
                    <a:pt x="155" y="21"/>
                    <a:pt x="155" y="21"/>
                    <a:pt x="155" y="21"/>
                  </a:cubicBezTo>
                  <a:cubicBezTo>
                    <a:pt x="141" y="15"/>
                    <a:pt x="141" y="15"/>
                    <a:pt x="141" y="15"/>
                  </a:cubicBezTo>
                  <a:cubicBezTo>
                    <a:pt x="141" y="15"/>
                    <a:pt x="131" y="25"/>
                    <a:pt x="123" y="25"/>
                  </a:cubicBezTo>
                  <a:cubicBezTo>
                    <a:pt x="118" y="25"/>
                    <a:pt x="114" y="21"/>
                    <a:pt x="111" y="18"/>
                  </a:cubicBezTo>
                  <a:cubicBezTo>
                    <a:pt x="107" y="23"/>
                    <a:pt x="102" y="26"/>
                    <a:pt x="97" y="32"/>
                  </a:cubicBezTo>
                  <a:cubicBezTo>
                    <a:pt x="89" y="40"/>
                    <a:pt x="70" y="36"/>
                    <a:pt x="70" y="36"/>
                  </a:cubicBezTo>
                  <a:cubicBezTo>
                    <a:pt x="70" y="36"/>
                    <a:pt x="71" y="41"/>
                    <a:pt x="67" y="47"/>
                  </a:cubicBezTo>
                  <a:cubicBezTo>
                    <a:pt x="63" y="53"/>
                    <a:pt x="43" y="45"/>
                    <a:pt x="43" y="45"/>
                  </a:cubicBezTo>
                  <a:cubicBezTo>
                    <a:pt x="38" y="50"/>
                    <a:pt x="38" y="50"/>
                    <a:pt x="38" y="50"/>
                  </a:cubicBezTo>
                  <a:cubicBezTo>
                    <a:pt x="38" y="55"/>
                    <a:pt x="39" y="62"/>
                    <a:pt x="36" y="64"/>
                  </a:cubicBezTo>
                  <a:cubicBezTo>
                    <a:pt x="31" y="68"/>
                    <a:pt x="21" y="70"/>
                    <a:pt x="21" y="70"/>
                  </a:cubicBezTo>
                  <a:cubicBezTo>
                    <a:pt x="21" y="84"/>
                    <a:pt x="21" y="84"/>
                    <a:pt x="21" y="84"/>
                  </a:cubicBezTo>
                  <a:cubicBezTo>
                    <a:pt x="13" y="89"/>
                    <a:pt x="13" y="89"/>
                    <a:pt x="13" y="89"/>
                  </a:cubicBezTo>
                  <a:cubicBezTo>
                    <a:pt x="13" y="89"/>
                    <a:pt x="4" y="86"/>
                    <a:pt x="3" y="93"/>
                  </a:cubicBezTo>
                  <a:cubicBezTo>
                    <a:pt x="2" y="100"/>
                    <a:pt x="3" y="109"/>
                    <a:pt x="3" y="109"/>
                  </a:cubicBezTo>
                  <a:cubicBezTo>
                    <a:pt x="5" y="116"/>
                    <a:pt x="5" y="116"/>
                    <a:pt x="5" y="116"/>
                  </a:cubicBezTo>
                  <a:cubicBezTo>
                    <a:pt x="5" y="116"/>
                    <a:pt x="0" y="133"/>
                    <a:pt x="9" y="136"/>
                  </a:cubicBezTo>
                  <a:cubicBezTo>
                    <a:pt x="18" y="139"/>
                    <a:pt x="29" y="156"/>
                    <a:pt x="29" y="156"/>
                  </a:cubicBezTo>
                  <a:cubicBezTo>
                    <a:pt x="29" y="156"/>
                    <a:pt x="39" y="179"/>
                    <a:pt x="47" y="179"/>
                  </a:cubicBezTo>
                  <a:cubicBezTo>
                    <a:pt x="55" y="179"/>
                    <a:pt x="76" y="178"/>
                    <a:pt x="76" y="178"/>
                  </a:cubicBezTo>
                  <a:close/>
                  <a:moveTo>
                    <a:pt x="266" y="168"/>
                  </a:moveTo>
                  <a:cubicBezTo>
                    <a:pt x="253" y="168"/>
                    <a:pt x="253" y="168"/>
                    <a:pt x="253" y="168"/>
                  </a:cubicBezTo>
                  <a:cubicBezTo>
                    <a:pt x="252" y="180"/>
                    <a:pt x="252" y="180"/>
                    <a:pt x="252" y="180"/>
                  </a:cubicBezTo>
                  <a:cubicBezTo>
                    <a:pt x="261" y="196"/>
                    <a:pt x="261" y="196"/>
                    <a:pt x="261" y="196"/>
                  </a:cubicBezTo>
                  <a:lnTo>
                    <a:pt x="266" y="168"/>
                  </a:lnTo>
                  <a:close/>
                  <a:moveTo>
                    <a:pt x="19" y="207"/>
                  </a:moveTo>
                  <a:cubicBezTo>
                    <a:pt x="10" y="214"/>
                    <a:pt x="30" y="220"/>
                    <a:pt x="30" y="220"/>
                  </a:cubicBezTo>
                  <a:cubicBezTo>
                    <a:pt x="36" y="216"/>
                    <a:pt x="28" y="200"/>
                    <a:pt x="19" y="207"/>
                  </a:cubicBezTo>
                  <a:close/>
                  <a:moveTo>
                    <a:pt x="255" y="261"/>
                  </a:moveTo>
                  <a:cubicBezTo>
                    <a:pt x="255" y="270"/>
                    <a:pt x="255" y="270"/>
                    <a:pt x="255" y="270"/>
                  </a:cubicBezTo>
                  <a:cubicBezTo>
                    <a:pt x="264" y="260"/>
                    <a:pt x="264" y="260"/>
                    <a:pt x="264" y="260"/>
                  </a:cubicBezTo>
                  <a:lnTo>
                    <a:pt x="255" y="261"/>
                  </a:lnTo>
                  <a:close/>
                  <a:moveTo>
                    <a:pt x="275" y="220"/>
                  </a:moveTo>
                  <a:cubicBezTo>
                    <a:pt x="271" y="216"/>
                    <a:pt x="259" y="219"/>
                    <a:pt x="259" y="227"/>
                  </a:cubicBezTo>
                  <a:cubicBezTo>
                    <a:pt x="259" y="232"/>
                    <a:pt x="279" y="224"/>
                    <a:pt x="275" y="220"/>
                  </a:cubicBezTo>
                  <a:close/>
                  <a:moveTo>
                    <a:pt x="269" y="127"/>
                  </a:moveTo>
                  <a:cubicBezTo>
                    <a:pt x="250" y="132"/>
                    <a:pt x="250" y="132"/>
                    <a:pt x="250" y="132"/>
                  </a:cubicBezTo>
                  <a:cubicBezTo>
                    <a:pt x="251" y="148"/>
                    <a:pt x="264" y="141"/>
                    <a:pt x="264" y="141"/>
                  </a:cubicBezTo>
                  <a:cubicBezTo>
                    <a:pt x="264" y="141"/>
                    <a:pt x="269" y="152"/>
                    <a:pt x="278" y="148"/>
                  </a:cubicBezTo>
                  <a:cubicBezTo>
                    <a:pt x="287" y="144"/>
                    <a:pt x="269" y="127"/>
                    <a:pt x="269" y="127"/>
                  </a:cubicBezTo>
                  <a:close/>
                  <a:moveTo>
                    <a:pt x="230" y="247"/>
                  </a:moveTo>
                  <a:cubicBezTo>
                    <a:pt x="232" y="259"/>
                    <a:pt x="242" y="262"/>
                    <a:pt x="247" y="254"/>
                  </a:cubicBezTo>
                  <a:cubicBezTo>
                    <a:pt x="253" y="244"/>
                    <a:pt x="228" y="235"/>
                    <a:pt x="230" y="247"/>
                  </a:cubicBezTo>
                  <a:close/>
                  <a:moveTo>
                    <a:pt x="299" y="210"/>
                  </a:moveTo>
                  <a:cubicBezTo>
                    <a:pt x="289" y="202"/>
                    <a:pt x="291" y="220"/>
                    <a:pt x="291" y="220"/>
                  </a:cubicBezTo>
                  <a:cubicBezTo>
                    <a:pt x="305" y="227"/>
                    <a:pt x="309" y="218"/>
                    <a:pt x="299" y="210"/>
                  </a:cubicBezTo>
                  <a:close/>
                  <a:moveTo>
                    <a:pt x="298" y="249"/>
                  </a:moveTo>
                  <a:cubicBezTo>
                    <a:pt x="307" y="236"/>
                    <a:pt x="307" y="236"/>
                    <a:pt x="307" y="236"/>
                  </a:cubicBezTo>
                  <a:cubicBezTo>
                    <a:pt x="295" y="236"/>
                    <a:pt x="295" y="236"/>
                    <a:pt x="295" y="236"/>
                  </a:cubicBezTo>
                  <a:lnTo>
                    <a:pt x="298" y="249"/>
                  </a:lnTo>
                  <a:close/>
                  <a:moveTo>
                    <a:pt x="186" y="146"/>
                  </a:moveTo>
                  <a:cubicBezTo>
                    <a:pt x="186" y="146"/>
                    <a:pt x="180" y="158"/>
                    <a:pt x="196" y="158"/>
                  </a:cubicBezTo>
                  <a:lnTo>
                    <a:pt x="186" y="146"/>
                  </a:lnTo>
                  <a:close/>
                  <a:moveTo>
                    <a:pt x="361" y="281"/>
                  </a:moveTo>
                  <a:cubicBezTo>
                    <a:pt x="357" y="274"/>
                    <a:pt x="336" y="302"/>
                    <a:pt x="342" y="312"/>
                  </a:cubicBezTo>
                  <a:cubicBezTo>
                    <a:pt x="347" y="321"/>
                    <a:pt x="365" y="288"/>
                    <a:pt x="361" y="281"/>
                  </a:cubicBezTo>
                  <a:close/>
                  <a:moveTo>
                    <a:pt x="310" y="258"/>
                  </a:moveTo>
                  <a:cubicBezTo>
                    <a:pt x="309" y="273"/>
                    <a:pt x="309" y="273"/>
                    <a:pt x="309" y="273"/>
                  </a:cubicBezTo>
                  <a:cubicBezTo>
                    <a:pt x="334" y="254"/>
                    <a:pt x="334" y="254"/>
                    <a:pt x="334" y="254"/>
                  </a:cubicBezTo>
                  <a:cubicBezTo>
                    <a:pt x="326" y="249"/>
                    <a:pt x="326" y="249"/>
                    <a:pt x="326" y="249"/>
                  </a:cubicBezTo>
                  <a:lnTo>
                    <a:pt x="310" y="258"/>
                  </a:lnTo>
                  <a:close/>
                  <a:moveTo>
                    <a:pt x="311" y="342"/>
                  </a:moveTo>
                  <a:cubicBezTo>
                    <a:pt x="324" y="339"/>
                    <a:pt x="324" y="339"/>
                    <a:pt x="324" y="339"/>
                  </a:cubicBezTo>
                  <a:cubicBezTo>
                    <a:pt x="317" y="312"/>
                    <a:pt x="317" y="312"/>
                    <a:pt x="317" y="312"/>
                  </a:cubicBezTo>
                  <a:lnTo>
                    <a:pt x="311" y="342"/>
                  </a:lnTo>
                  <a:close/>
                  <a:moveTo>
                    <a:pt x="186" y="221"/>
                  </a:moveTo>
                  <a:cubicBezTo>
                    <a:pt x="181" y="226"/>
                    <a:pt x="184" y="232"/>
                    <a:pt x="189" y="231"/>
                  </a:cubicBezTo>
                  <a:cubicBezTo>
                    <a:pt x="198" y="229"/>
                    <a:pt x="191" y="216"/>
                    <a:pt x="186" y="221"/>
                  </a:cubicBezTo>
                  <a:close/>
                  <a:moveTo>
                    <a:pt x="127" y="288"/>
                  </a:moveTo>
                  <a:cubicBezTo>
                    <a:pt x="121" y="290"/>
                    <a:pt x="126" y="307"/>
                    <a:pt x="133" y="301"/>
                  </a:cubicBezTo>
                  <a:cubicBezTo>
                    <a:pt x="140" y="295"/>
                    <a:pt x="134" y="286"/>
                    <a:pt x="127" y="288"/>
                  </a:cubicBezTo>
                  <a:close/>
                  <a:moveTo>
                    <a:pt x="259" y="352"/>
                  </a:moveTo>
                  <a:cubicBezTo>
                    <a:pt x="255" y="354"/>
                    <a:pt x="252" y="342"/>
                    <a:pt x="252" y="342"/>
                  </a:cubicBezTo>
                  <a:cubicBezTo>
                    <a:pt x="230" y="341"/>
                    <a:pt x="230" y="341"/>
                    <a:pt x="230" y="341"/>
                  </a:cubicBezTo>
                  <a:cubicBezTo>
                    <a:pt x="209" y="336"/>
                    <a:pt x="209" y="336"/>
                    <a:pt x="209" y="336"/>
                  </a:cubicBezTo>
                  <a:cubicBezTo>
                    <a:pt x="188" y="336"/>
                    <a:pt x="188" y="336"/>
                    <a:pt x="188" y="336"/>
                  </a:cubicBezTo>
                  <a:cubicBezTo>
                    <a:pt x="168" y="325"/>
                    <a:pt x="168" y="325"/>
                    <a:pt x="168" y="325"/>
                  </a:cubicBezTo>
                  <a:cubicBezTo>
                    <a:pt x="168" y="325"/>
                    <a:pt x="152" y="332"/>
                    <a:pt x="161" y="342"/>
                  </a:cubicBezTo>
                  <a:cubicBezTo>
                    <a:pt x="170" y="352"/>
                    <a:pt x="175" y="345"/>
                    <a:pt x="175" y="345"/>
                  </a:cubicBezTo>
                  <a:cubicBezTo>
                    <a:pt x="181" y="351"/>
                    <a:pt x="181" y="351"/>
                    <a:pt x="181" y="351"/>
                  </a:cubicBezTo>
                  <a:cubicBezTo>
                    <a:pt x="205" y="352"/>
                    <a:pt x="205" y="352"/>
                    <a:pt x="205" y="352"/>
                  </a:cubicBezTo>
                  <a:cubicBezTo>
                    <a:pt x="213" y="367"/>
                    <a:pt x="213" y="367"/>
                    <a:pt x="213" y="367"/>
                  </a:cubicBezTo>
                  <a:cubicBezTo>
                    <a:pt x="238" y="366"/>
                    <a:pt x="238" y="366"/>
                    <a:pt x="238" y="366"/>
                  </a:cubicBezTo>
                  <a:cubicBezTo>
                    <a:pt x="241" y="362"/>
                    <a:pt x="241" y="362"/>
                    <a:pt x="241" y="362"/>
                  </a:cubicBezTo>
                  <a:cubicBezTo>
                    <a:pt x="241" y="362"/>
                    <a:pt x="279" y="367"/>
                    <a:pt x="281" y="353"/>
                  </a:cubicBezTo>
                  <a:cubicBezTo>
                    <a:pt x="283" y="339"/>
                    <a:pt x="263" y="350"/>
                    <a:pt x="259" y="352"/>
                  </a:cubicBezTo>
                  <a:close/>
                  <a:moveTo>
                    <a:pt x="285" y="272"/>
                  </a:moveTo>
                  <a:cubicBezTo>
                    <a:pt x="276" y="268"/>
                    <a:pt x="272" y="276"/>
                    <a:pt x="277" y="279"/>
                  </a:cubicBezTo>
                  <a:cubicBezTo>
                    <a:pt x="284" y="284"/>
                    <a:pt x="294" y="276"/>
                    <a:pt x="285" y="272"/>
                  </a:cubicBezTo>
                  <a:close/>
                  <a:moveTo>
                    <a:pt x="79" y="186"/>
                  </a:moveTo>
                  <a:cubicBezTo>
                    <a:pt x="65" y="192"/>
                    <a:pt x="65" y="192"/>
                    <a:pt x="65" y="192"/>
                  </a:cubicBezTo>
                  <a:cubicBezTo>
                    <a:pt x="58" y="192"/>
                    <a:pt x="58" y="192"/>
                    <a:pt x="58" y="192"/>
                  </a:cubicBezTo>
                  <a:cubicBezTo>
                    <a:pt x="47" y="207"/>
                    <a:pt x="47" y="207"/>
                    <a:pt x="47" y="207"/>
                  </a:cubicBezTo>
                  <a:cubicBezTo>
                    <a:pt x="66" y="224"/>
                    <a:pt x="66" y="224"/>
                    <a:pt x="66" y="224"/>
                  </a:cubicBezTo>
                  <a:cubicBezTo>
                    <a:pt x="66" y="224"/>
                    <a:pt x="63" y="241"/>
                    <a:pt x="63" y="251"/>
                  </a:cubicBezTo>
                  <a:cubicBezTo>
                    <a:pt x="63" y="261"/>
                    <a:pt x="78" y="267"/>
                    <a:pt x="81" y="260"/>
                  </a:cubicBezTo>
                  <a:cubicBezTo>
                    <a:pt x="84" y="253"/>
                    <a:pt x="93" y="254"/>
                    <a:pt x="93" y="254"/>
                  </a:cubicBezTo>
                  <a:cubicBezTo>
                    <a:pt x="107" y="280"/>
                    <a:pt x="107" y="280"/>
                    <a:pt x="107" y="280"/>
                  </a:cubicBezTo>
                  <a:cubicBezTo>
                    <a:pt x="113" y="262"/>
                    <a:pt x="113" y="262"/>
                    <a:pt x="113" y="262"/>
                  </a:cubicBezTo>
                  <a:cubicBezTo>
                    <a:pt x="122" y="275"/>
                    <a:pt x="122" y="275"/>
                    <a:pt x="122" y="275"/>
                  </a:cubicBezTo>
                  <a:cubicBezTo>
                    <a:pt x="138" y="281"/>
                    <a:pt x="138" y="281"/>
                    <a:pt x="138" y="281"/>
                  </a:cubicBezTo>
                  <a:cubicBezTo>
                    <a:pt x="129" y="270"/>
                    <a:pt x="129" y="270"/>
                    <a:pt x="129" y="270"/>
                  </a:cubicBezTo>
                  <a:cubicBezTo>
                    <a:pt x="133" y="265"/>
                    <a:pt x="133" y="265"/>
                    <a:pt x="133" y="265"/>
                  </a:cubicBezTo>
                  <a:cubicBezTo>
                    <a:pt x="131" y="250"/>
                    <a:pt x="131" y="250"/>
                    <a:pt x="131" y="250"/>
                  </a:cubicBezTo>
                  <a:cubicBezTo>
                    <a:pt x="131" y="250"/>
                    <a:pt x="114" y="229"/>
                    <a:pt x="117" y="221"/>
                  </a:cubicBezTo>
                  <a:cubicBezTo>
                    <a:pt x="120" y="213"/>
                    <a:pt x="143" y="232"/>
                    <a:pt x="143" y="232"/>
                  </a:cubicBezTo>
                  <a:cubicBezTo>
                    <a:pt x="152" y="228"/>
                    <a:pt x="152" y="228"/>
                    <a:pt x="152" y="228"/>
                  </a:cubicBezTo>
                  <a:cubicBezTo>
                    <a:pt x="152" y="228"/>
                    <a:pt x="141" y="221"/>
                    <a:pt x="132" y="212"/>
                  </a:cubicBezTo>
                  <a:cubicBezTo>
                    <a:pt x="123" y="203"/>
                    <a:pt x="79" y="186"/>
                    <a:pt x="79" y="186"/>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00" name="Freeform 61"/>
            <p:cNvSpPr>
              <a:spLocks/>
            </p:cNvSpPr>
            <p:nvPr/>
          </p:nvSpPr>
          <p:spPr bwMode="gray">
            <a:xfrm>
              <a:off x="4724400" y="2693988"/>
              <a:ext cx="55562" cy="92075"/>
            </a:xfrm>
            <a:custGeom>
              <a:avLst/>
              <a:gdLst>
                <a:gd name="T0" fmla="*/ 62 w 100"/>
                <a:gd name="T1" fmla="*/ 142 h 165"/>
                <a:gd name="T2" fmla="*/ 72 w 100"/>
                <a:gd name="T3" fmla="*/ 138 h 165"/>
                <a:gd name="T4" fmla="*/ 80 w 100"/>
                <a:gd name="T5" fmla="*/ 133 h 165"/>
                <a:gd name="T6" fmla="*/ 80 w 100"/>
                <a:gd name="T7" fmla="*/ 119 h 165"/>
                <a:gd name="T8" fmla="*/ 95 w 100"/>
                <a:gd name="T9" fmla="*/ 113 h 165"/>
                <a:gd name="T10" fmla="*/ 95 w 100"/>
                <a:gd name="T11" fmla="*/ 92 h 165"/>
                <a:gd name="T12" fmla="*/ 77 w 100"/>
                <a:gd name="T13" fmla="*/ 99 h 165"/>
                <a:gd name="T14" fmla="*/ 77 w 100"/>
                <a:gd name="T15" fmla="*/ 85 h 165"/>
                <a:gd name="T16" fmla="*/ 69 w 100"/>
                <a:gd name="T17" fmla="*/ 79 h 165"/>
                <a:gd name="T18" fmla="*/ 71 w 100"/>
                <a:gd name="T19" fmla="*/ 67 h 165"/>
                <a:gd name="T20" fmla="*/ 66 w 100"/>
                <a:gd name="T21" fmla="*/ 56 h 165"/>
                <a:gd name="T22" fmla="*/ 68 w 100"/>
                <a:gd name="T23" fmla="*/ 41 h 165"/>
                <a:gd name="T24" fmla="*/ 68 w 100"/>
                <a:gd name="T25" fmla="*/ 29 h 165"/>
                <a:gd name="T26" fmla="*/ 64 w 100"/>
                <a:gd name="T27" fmla="*/ 19 h 165"/>
                <a:gd name="T28" fmla="*/ 55 w 100"/>
                <a:gd name="T29" fmla="*/ 19 h 165"/>
                <a:gd name="T30" fmla="*/ 47 w 100"/>
                <a:gd name="T31" fmla="*/ 4 h 165"/>
                <a:gd name="T32" fmla="*/ 41 w 100"/>
                <a:gd name="T33" fmla="*/ 10 h 165"/>
                <a:gd name="T34" fmla="*/ 23 w 100"/>
                <a:gd name="T35" fmla="*/ 0 h 165"/>
                <a:gd name="T36" fmla="*/ 21 w 100"/>
                <a:gd name="T37" fmla="*/ 14 h 165"/>
                <a:gd name="T38" fmla="*/ 15 w 100"/>
                <a:gd name="T39" fmla="*/ 19 h 165"/>
                <a:gd name="T40" fmla="*/ 0 w 100"/>
                <a:gd name="T41" fmla="*/ 19 h 165"/>
                <a:gd name="T42" fmla="*/ 9 w 100"/>
                <a:gd name="T43" fmla="*/ 25 h 165"/>
                <a:gd name="T44" fmla="*/ 15 w 100"/>
                <a:gd name="T45" fmla="*/ 22 h 165"/>
                <a:gd name="T46" fmla="*/ 17 w 100"/>
                <a:gd name="T47" fmla="*/ 32 h 165"/>
                <a:gd name="T48" fmla="*/ 10 w 100"/>
                <a:gd name="T49" fmla="*/ 41 h 165"/>
                <a:gd name="T50" fmla="*/ 14 w 100"/>
                <a:gd name="T51" fmla="*/ 45 h 165"/>
                <a:gd name="T52" fmla="*/ 30 w 100"/>
                <a:gd name="T53" fmla="*/ 45 h 165"/>
                <a:gd name="T54" fmla="*/ 24 w 100"/>
                <a:gd name="T55" fmla="*/ 96 h 165"/>
                <a:gd name="T56" fmla="*/ 17 w 100"/>
                <a:gd name="T57" fmla="*/ 129 h 165"/>
                <a:gd name="T58" fmla="*/ 40 w 100"/>
                <a:gd name="T59" fmla="*/ 144 h 165"/>
                <a:gd name="T60" fmla="*/ 41 w 100"/>
                <a:gd name="T61" fmla="*/ 163 h 165"/>
                <a:gd name="T62" fmla="*/ 64 w 100"/>
                <a:gd name="T63" fmla="*/ 165 h 165"/>
                <a:gd name="T64" fmla="*/ 62 w 100"/>
                <a:gd name="T65" fmla="*/ 158 h 165"/>
                <a:gd name="T66" fmla="*/ 62 w 100"/>
                <a:gd name="T67" fmla="*/ 142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0" h="165">
                  <a:moveTo>
                    <a:pt x="62" y="142"/>
                  </a:moveTo>
                  <a:cubicBezTo>
                    <a:pt x="63" y="135"/>
                    <a:pt x="72" y="138"/>
                    <a:pt x="72" y="138"/>
                  </a:cubicBezTo>
                  <a:cubicBezTo>
                    <a:pt x="80" y="133"/>
                    <a:pt x="80" y="133"/>
                    <a:pt x="80" y="133"/>
                  </a:cubicBezTo>
                  <a:cubicBezTo>
                    <a:pt x="80" y="119"/>
                    <a:pt x="80" y="119"/>
                    <a:pt x="80" y="119"/>
                  </a:cubicBezTo>
                  <a:cubicBezTo>
                    <a:pt x="80" y="119"/>
                    <a:pt x="90" y="117"/>
                    <a:pt x="95" y="113"/>
                  </a:cubicBezTo>
                  <a:cubicBezTo>
                    <a:pt x="100" y="109"/>
                    <a:pt x="95" y="92"/>
                    <a:pt x="95" y="92"/>
                  </a:cubicBezTo>
                  <a:cubicBezTo>
                    <a:pt x="77" y="99"/>
                    <a:pt x="77" y="99"/>
                    <a:pt x="77" y="99"/>
                  </a:cubicBezTo>
                  <a:cubicBezTo>
                    <a:pt x="77" y="85"/>
                    <a:pt x="77" y="85"/>
                    <a:pt x="77" y="85"/>
                  </a:cubicBezTo>
                  <a:cubicBezTo>
                    <a:pt x="77" y="85"/>
                    <a:pt x="69" y="84"/>
                    <a:pt x="69" y="79"/>
                  </a:cubicBezTo>
                  <a:cubicBezTo>
                    <a:pt x="69" y="74"/>
                    <a:pt x="71" y="67"/>
                    <a:pt x="71" y="67"/>
                  </a:cubicBezTo>
                  <a:cubicBezTo>
                    <a:pt x="66" y="56"/>
                    <a:pt x="66" y="56"/>
                    <a:pt x="66" y="56"/>
                  </a:cubicBezTo>
                  <a:cubicBezTo>
                    <a:pt x="68" y="41"/>
                    <a:pt x="68" y="41"/>
                    <a:pt x="68" y="41"/>
                  </a:cubicBezTo>
                  <a:cubicBezTo>
                    <a:pt x="68" y="29"/>
                    <a:pt x="68" y="29"/>
                    <a:pt x="68" y="29"/>
                  </a:cubicBezTo>
                  <a:cubicBezTo>
                    <a:pt x="64" y="19"/>
                    <a:pt x="64" y="19"/>
                    <a:pt x="64" y="19"/>
                  </a:cubicBezTo>
                  <a:cubicBezTo>
                    <a:pt x="55" y="19"/>
                    <a:pt x="55" y="19"/>
                    <a:pt x="55" y="19"/>
                  </a:cubicBezTo>
                  <a:cubicBezTo>
                    <a:pt x="47" y="4"/>
                    <a:pt x="47" y="4"/>
                    <a:pt x="47" y="4"/>
                  </a:cubicBezTo>
                  <a:cubicBezTo>
                    <a:pt x="41" y="10"/>
                    <a:pt x="41" y="10"/>
                    <a:pt x="41" y="10"/>
                  </a:cubicBezTo>
                  <a:cubicBezTo>
                    <a:pt x="23" y="0"/>
                    <a:pt x="23" y="0"/>
                    <a:pt x="23" y="0"/>
                  </a:cubicBezTo>
                  <a:cubicBezTo>
                    <a:pt x="21" y="14"/>
                    <a:pt x="21" y="14"/>
                    <a:pt x="21" y="14"/>
                  </a:cubicBezTo>
                  <a:cubicBezTo>
                    <a:pt x="15" y="19"/>
                    <a:pt x="15" y="19"/>
                    <a:pt x="15" y="19"/>
                  </a:cubicBezTo>
                  <a:cubicBezTo>
                    <a:pt x="0" y="19"/>
                    <a:pt x="0" y="19"/>
                    <a:pt x="0" y="19"/>
                  </a:cubicBezTo>
                  <a:cubicBezTo>
                    <a:pt x="9" y="25"/>
                    <a:pt x="9" y="25"/>
                    <a:pt x="9" y="25"/>
                  </a:cubicBezTo>
                  <a:cubicBezTo>
                    <a:pt x="15" y="22"/>
                    <a:pt x="15" y="22"/>
                    <a:pt x="15" y="22"/>
                  </a:cubicBezTo>
                  <a:cubicBezTo>
                    <a:pt x="17" y="32"/>
                    <a:pt x="17" y="32"/>
                    <a:pt x="17" y="32"/>
                  </a:cubicBezTo>
                  <a:cubicBezTo>
                    <a:pt x="10" y="41"/>
                    <a:pt x="10" y="41"/>
                    <a:pt x="10" y="41"/>
                  </a:cubicBezTo>
                  <a:cubicBezTo>
                    <a:pt x="14" y="45"/>
                    <a:pt x="14" y="45"/>
                    <a:pt x="14" y="45"/>
                  </a:cubicBezTo>
                  <a:cubicBezTo>
                    <a:pt x="30" y="45"/>
                    <a:pt x="30" y="45"/>
                    <a:pt x="30" y="45"/>
                  </a:cubicBezTo>
                  <a:cubicBezTo>
                    <a:pt x="30" y="45"/>
                    <a:pt x="25" y="84"/>
                    <a:pt x="24" y="96"/>
                  </a:cubicBezTo>
                  <a:cubicBezTo>
                    <a:pt x="23" y="108"/>
                    <a:pt x="12" y="124"/>
                    <a:pt x="17" y="129"/>
                  </a:cubicBezTo>
                  <a:cubicBezTo>
                    <a:pt x="22" y="134"/>
                    <a:pt x="40" y="144"/>
                    <a:pt x="40" y="144"/>
                  </a:cubicBezTo>
                  <a:cubicBezTo>
                    <a:pt x="40" y="144"/>
                    <a:pt x="37" y="164"/>
                    <a:pt x="41" y="163"/>
                  </a:cubicBezTo>
                  <a:cubicBezTo>
                    <a:pt x="45" y="162"/>
                    <a:pt x="64" y="165"/>
                    <a:pt x="64" y="165"/>
                  </a:cubicBezTo>
                  <a:cubicBezTo>
                    <a:pt x="62" y="158"/>
                    <a:pt x="62" y="158"/>
                    <a:pt x="62" y="158"/>
                  </a:cubicBezTo>
                  <a:cubicBezTo>
                    <a:pt x="62" y="158"/>
                    <a:pt x="61" y="149"/>
                    <a:pt x="62" y="142"/>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01" name="Freeform 62"/>
            <p:cNvSpPr>
              <a:spLocks/>
            </p:cNvSpPr>
            <p:nvPr/>
          </p:nvSpPr>
          <p:spPr bwMode="gray">
            <a:xfrm>
              <a:off x="4803775" y="2647950"/>
              <a:ext cx="149225" cy="87313"/>
            </a:xfrm>
            <a:custGeom>
              <a:avLst/>
              <a:gdLst>
                <a:gd name="T0" fmla="*/ 225 w 267"/>
                <a:gd name="T1" fmla="*/ 87 h 155"/>
                <a:gd name="T2" fmla="*/ 241 w 267"/>
                <a:gd name="T3" fmla="*/ 47 h 155"/>
                <a:gd name="T4" fmla="*/ 264 w 267"/>
                <a:gd name="T5" fmla="*/ 23 h 155"/>
                <a:gd name="T6" fmla="*/ 237 w 267"/>
                <a:gd name="T7" fmla="*/ 12 h 155"/>
                <a:gd name="T8" fmla="*/ 194 w 267"/>
                <a:gd name="T9" fmla="*/ 2 h 155"/>
                <a:gd name="T10" fmla="*/ 169 w 267"/>
                <a:gd name="T11" fmla="*/ 6 h 155"/>
                <a:gd name="T12" fmla="*/ 157 w 267"/>
                <a:gd name="T13" fmla="*/ 12 h 155"/>
                <a:gd name="T14" fmla="*/ 118 w 267"/>
                <a:gd name="T15" fmla="*/ 23 h 155"/>
                <a:gd name="T16" fmla="*/ 92 w 267"/>
                <a:gd name="T17" fmla="*/ 17 h 155"/>
                <a:gd name="T18" fmla="*/ 62 w 267"/>
                <a:gd name="T19" fmla="*/ 21 h 155"/>
                <a:gd name="T20" fmla="*/ 39 w 267"/>
                <a:gd name="T21" fmla="*/ 21 h 155"/>
                <a:gd name="T22" fmla="*/ 29 w 267"/>
                <a:gd name="T23" fmla="*/ 5 h 155"/>
                <a:gd name="T24" fmla="*/ 10 w 267"/>
                <a:gd name="T25" fmla="*/ 0 h 155"/>
                <a:gd name="T26" fmla="*/ 0 w 267"/>
                <a:gd name="T27" fmla="*/ 16 h 155"/>
                <a:gd name="T28" fmla="*/ 12 w 267"/>
                <a:gd name="T29" fmla="*/ 33 h 155"/>
                <a:gd name="T30" fmla="*/ 23 w 267"/>
                <a:gd name="T31" fmla="*/ 47 h 155"/>
                <a:gd name="T32" fmla="*/ 20 w 267"/>
                <a:gd name="T33" fmla="*/ 68 h 155"/>
                <a:gd name="T34" fmla="*/ 8 w 267"/>
                <a:gd name="T35" fmla="*/ 80 h 155"/>
                <a:gd name="T36" fmla="*/ 2 w 267"/>
                <a:gd name="T37" fmla="*/ 95 h 155"/>
                <a:gd name="T38" fmla="*/ 8 w 267"/>
                <a:gd name="T39" fmla="*/ 104 h 155"/>
                <a:gd name="T40" fmla="*/ 13 w 267"/>
                <a:gd name="T41" fmla="*/ 112 h 155"/>
                <a:gd name="T42" fmla="*/ 33 w 267"/>
                <a:gd name="T43" fmla="*/ 139 h 155"/>
                <a:gd name="T44" fmla="*/ 41 w 267"/>
                <a:gd name="T45" fmla="*/ 154 h 155"/>
                <a:gd name="T46" fmla="*/ 73 w 267"/>
                <a:gd name="T47" fmla="*/ 150 h 155"/>
                <a:gd name="T48" fmla="*/ 97 w 267"/>
                <a:gd name="T49" fmla="*/ 135 h 155"/>
                <a:gd name="T50" fmla="*/ 123 w 267"/>
                <a:gd name="T51" fmla="*/ 146 h 155"/>
                <a:gd name="T52" fmla="*/ 145 w 267"/>
                <a:gd name="T53" fmla="*/ 146 h 155"/>
                <a:gd name="T54" fmla="*/ 171 w 267"/>
                <a:gd name="T55" fmla="*/ 148 h 155"/>
                <a:gd name="T56" fmla="*/ 179 w 267"/>
                <a:gd name="T57" fmla="*/ 129 h 155"/>
                <a:gd name="T58" fmla="*/ 208 w 267"/>
                <a:gd name="T59" fmla="*/ 116 h 155"/>
                <a:gd name="T60" fmla="*/ 226 w 267"/>
                <a:gd name="T61" fmla="*/ 119 h 155"/>
                <a:gd name="T62" fmla="*/ 248 w 267"/>
                <a:gd name="T63" fmla="*/ 11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7" h="155">
                  <a:moveTo>
                    <a:pt x="248" y="115"/>
                  </a:moveTo>
                  <a:cubicBezTo>
                    <a:pt x="225" y="87"/>
                    <a:pt x="225" y="87"/>
                    <a:pt x="225" y="87"/>
                  </a:cubicBezTo>
                  <a:cubicBezTo>
                    <a:pt x="225" y="87"/>
                    <a:pt x="235" y="82"/>
                    <a:pt x="239" y="75"/>
                  </a:cubicBezTo>
                  <a:cubicBezTo>
                    <a:pt x="243" y="68"/>
                    <a:pt x="232" y="54"/>
                    <a:pt x="241" y="47"/>
                  </a:cubicBezTo>
                  <a:cubicBezTo>
                    <a:pt x="250" y="40"/>
                    <a:pt x="267" y="44"/>
                    <a:pt x="267" y="44"/>
                  </a:cubicBezTo>
                  <a:cubicBezTo>
                    <a:pt x="267" y="44"/>
                    <a:pt x="265" y="35"/>
                    <a:pt x="264" y="23"/>
                  </a:cubicBezTo>
                  <a:cubicBezTo>
                    <a:pt x="257" y="24"/>
                    <a:pt x="248" y="24"/>
                    <a:pt x="245" y="22"/>
                  </a:cubicBezTo>
                  <a:cubicBezTo>
                    <a:pt x="240" y="19"/>
                    <a:pt x="237" y="12"/>
                    <a:pt x="237" y="12"/>
                  </a:cubicBezTo>
                  <a:cubicBezTo>
                    <a:pt x="237" y="12"/>
                    <a:pt x="228" y="10"/>
                    <a:pt x="219" y="10"/>
                  </a:cubicBezTo>
                  <a:cubicBezTo>
                    <a:pt x="210" y="10"/>
                    <a:pt x="203" y="2"/>
                    <a:pt x="194" y="2"/>
                  </a:cubicBezTo>
                  <a:cubicBezTo>
                    <a:pt x="185" y="2"/>
                    <a:pt x="188" y="8"/>
                    <a:pt x="188" y="8"/>
                  </a:cubicBezTo>
                  <a:cubicBezTo>
                    <a:pt x="169" y="6"/>
                    <a:pt x="169" y="6"/>
                    <a:pt x="169" y="6"/>
                  </a:cubicBezTo>
                  <a:cubicBezTo>
                    <a:pt x="170" y="11"/>
                    <a:pt x="170" y="11"/>
                    <a:pt x="170" y="11"/>
                  </a:cubicBezTo>
                  <a:cubicBezTo>
                    <a:pt x="170" y="11"/>
                    <a:pt x="164" y="10"/>
                    <a:pt x="157" y="12"/>
                  </a:cubicBezTo>
                  <a:cubicBezTo>
                    <a:pt x="150" y="14"/>
                    <a:pt x="151" y="30"/>
                    <a:pt x="140" y="29"/>
                  </a:cubicBezTo>
                  <a:cubicBezTo>
                    <a:pt x="129" y="28"/>
                    <a:pt x="118" y="23"/>
                    <a:pt x="118" y="23"/>
                  </a:cubicBezTo>
                  <a:cubicBezTo>
                    <a:pt x="105" y="22"/>
                    <a:pt x="105" y="22"/>
                    <a:pt x="105" y="22"/>
                  </a:cubicBezTo>
                  <a:cubicBezTo>
                    <a:pt x="92" y="17"/>
                    <a:pt x="92" y="17"/>
                    <a:pt x="92" y="17"/>
                  </a:cubicBezTo>
                  <a:cubicBezTo>
                    <a:pt x="92" y="17"/>
                    <a:pt x="97" y="26"/>
                    <a:pt x="84" y="26"/>
                  </a:cubicBezTo>
                  <a:cubicBezTo>
                    <a:pt x="71" y="26"/>
                    <a:pt x="62" y="21"/>
                    <a:pt x="62" y="21"/>
                  </a:cubicBezTo>
                  <a:cubicBezTo>
                    <a:pt x="46" y="14"/>
                    <a:pt x="46" y="14"/>
                    <a:pt x="46" y="14"/>
                  </a:cubicBezTo>
                  <a:cubicBezTo>
                    <a:pt x="39" y="21"/>
                    <a:pt x="39" y="21"/>
                    <a:pt x="39" y="21"/>
                  </a:cubicBezTo>
                  <a:cubicBezTo>
                    <a:pt x="39" y="21"/>
                    <a:pt x="22" y="22"/>
                    <a:pt x="22" y="18"/>
                  </a:cubicBezTo>
                  <a:cubicBezTo>
                    <a:pt x="22" y="14"/>
                    <a:pt x="31" y="9"/>
                    <a:pt x="29" y="5"/>
                  </a:cubicBezTo>
                  <a:cubicBezTo>
                    <a:pt x="27" y="1"/>
                    <a:pt x="17" y="1"/>
                    <a:pt x="17" y="1"/>
                  </a:cubicBezTo>
                  <a:cubicBezTo>
                    <a:pt x="10" y="0"/>
                    <a:pt x="10" y="0"/>
                    <a:pt x="10" y="0"/>
                  </a:cubicBezTo>
                  <a:cubicBezTo>
                    <a:pt x="9" y="8"/>
                    <a:pt x="9" y="8"/>
                    <a:pt x="9" y="8"/>
                  </a:cubicBezTo>
                  <a:cubicBezTo>
                    <a:pt x="0" y="16"/>
                    <a:pt x="0" y="16"/>
                    <a:pt x="0" y="16"/>
                  </a:cubicBezTo>
                  <a:cubicBezTo>
                    <a:pt x="3" y="28"/>
                    <a:pt x="3" y="28"/>
                    <a:pt x="3" y="28"/>
                  </a:cubicBezTo>
                  <a:cubicBezTo>
                    <a:pt x="12" y="33"/>
                    <a:pt x="12" y="33"/>
                    <a:pt x="12" y="33"/>
                  </a:cubicBezTo>
                  <a:cubicBezTo>
                    <a:pt x="10" y="40"/>
                    <a:pt x="10" y="40"/>
                    <a:pt x="10" y="40"/>
                  </a:cubicBezTo>
                  <a:cubicBezTo>
                    <a:pt x="23" y="47"/>
                    <a:pt x="23" y="47"/>
                    <a:pt x="23" y="47"/>
                  </a:cubicBezTo>
                  <a:cubicBezTo>
                    <a:pt x="23" y="47"/>
                    <a:pt x="28" y="53"/>
                    <a:pt x="26" y="57"/>
                  </a:cubicBezTo>
                  <a:cubicBezTo>
                    <a:pt x="24" y="61"/>
                    <a:pt x="20" y="68"/>
                    <a:pt x="20" y="68"/>
                  </a:cubicBezTo>
                  <a:cubicBezTo>
                    <a:pt x="20" y="68"/>
                    <a:pt x="9" y="65"/>
                    <a:pt x="7" y="69"/>
                  </a:cubicBezTo>
                  <a:cubicBezTo>
                    <a:pt x="5" y="73"/>
                    <a:pt x="8" y="80"/>
                    <a:pt x="8" y="80"/>
                  </a:cubicBezTo>
                  <a:cubicBezTo>
                    <a:pt x="8" y="80"/>
                    <a:pt x="11" y="88"/>
                    <a:pt x="10" y="91"/>
                  </a:cubicBezTo>
                  <a:cubicBezTo>
                    <a:pt x="9" y="93"/>
                    <a:pt x="5" y="94"/>
                    <a:pt x="2" y="95"/>
                  </a:cubicBezTo>
                  <a:cubicBezTo>
                    <a:pt x="2" y="95"/>
                    <a:pt x="2" y="95"/>
                    <a:pt x="2" y="95"/>
                  </a:cubicBezTo>
                  <a:cubicBezTo>
                    <a:pt x="8" y="104"/>
                    <a:pt x="8" y="104"/>
                    <a:pt x="8" y="104"/>
                  </a:cubicBezTo>
                  <a:cubicBezTo>
                    <a:pt x="13" y="104"/>
                    <a:pt x="13" y="104"/>
                    <a:pt x="13" y="104"/>
                  </a:cubicBezTo>
                  <a:cubicBezTo>
                    <a:pt x="13" y="112"/>
                    <a:pt x="13" y="112"/>
                    <a:pt x="13" y="112"/>
                  </a:cubicBezTo>
                  <a:cubicBezTo>
                    <a:pt x="25" y="121"/>
                    <a:pt x="25" y="121"/>
                    <a:pt x="25" y="121"/>
                  </a:cubicBezTo>
                  <a:cubicBezTo>
                    <a:pt x="25" y="121"/>
                    <a:pt x="36" y="128"/>
                    <a:pt x="33" y="139"/>
                  </a:cubicBezTo>
                  <a:cubicBezTo>
                    <a:pt x="32" y="142"/>
                    <a:pt x="31" y="145"/>
                    <a:pt x="29" y="147"/>
                  </a:cubicBezTo>
                  <a:cubicBezTo>
                    <a:pt x="32" y="150"/>
                    <a:pt x="36" y="154"/>
                    <a:pt x="41" y="154"/>
                  </a:cubicBezTo>
                  <a:cubicBezTo>
                    <a:pt x="49" y="154"/>
                    <a:pt x="59" y="144"/>
                    <a:pt x="59" y="144"/>
                  </a:cubicBezTo>
                  <a:cubicBezTo>
                    <a:pt x="73" y="150"/>
                    <a:pt x="73" y="150"/>
                    <a:pt x="73" y="150"/>
                  </a:cubicBezTo>
                  <a:cubicBezTo>
                    <a:pt x="79" y="138"/>
                    <a:pt x="79" y="138"/>
                    <a:pt x="79" y="138"/>
                  </a:cubicBezTo>
                  <a:cubicBezTo>
                    <a:pt x="97" y="135"/>
                    <a:pt x="97" y="135"/>
                    <a:pt x="97" y="135"/>
                  </a:cubicBezTo>
                  <a:cubicBezTo>
                    <a:pt x="97" y="135"/>
                    <a:pt x="101" y="149"/>
                    <a:pt x="109" y="149"/>
                  </a:cubicBezTo>
                  <a:cubicBezTo>
                    <a:pt x="117" y="149"/>
                    <a:pt x="123" y="146"/>
                    <a:pt x="123" y="146"/>
                  </a:cubicBezTo>
                  <a:cubicBezTo>
                    <a:pt x="123" y="146"/>
                    <a:pt x="124" y="155"/>
                    <a:pt x="132" y="154"/>
                  </a:cubicBezTo>
                  <a:cubicBezTo>
                    <a:pt x="140" y="153"/>
                    <a:pt x="145" y="146"/>
                    <a:pt x="145" y="146"/>
                  </a:cubicBezTo>
                  <a:cubicBezTo>
                    <a:pt x="155" y="154"/>
                    <a:pt x="155" y="154"/>
                    <a:pt x="155" y="154"/>
                  </a:cubicBezTo>
                  <a:cubicBezTo>
                    <a:pt x="155" y="154"/>
                    <a:pt x="169" y="153"/>
                    <a:pt x="171" y="148"/>
                  </a:cubicBezTo>
                  <a:cubicBezTo>
                    <a:pt x="173" y="143"/>
                    <a:pt x="167" y="135"/>
                    <a:pt x="167" y="135"/>
                  </a:cubicBezTo>
                  <a:cubicBezTo>
                    <a:pt x="179" y="129"/>
                    <a:pt x="179" y="129"/>
                    <a:pt x="179" y="129"/>
                  </a:cubicBezTo>
                  <a:cubicBezTo>
                    <a:pt x="188" y="114"/>
                    <a:pt x="188" y="114"/>
                    <a:pt x="188" y="114"/>
                  </a:cubicBezTo>
                  <a:cubicBezTo>
                    <a:pt x="208" y="116"/>
                    <a:pt x="208" y="116"/>
                    <a:pt x="208" y="116"/>
                  </a:cubicBezTo>
                  <a:cubicBezTo>
                    <a:pt x="216" y="106"/>
                    <a:pt x="216" y="106"/>
                    <a:pt x="216" y="106"/>
                  </a:cubicBezTo>
                  <a:cubicBezTo>
                    <a:pt x="226" y="119"/>
                    <a:pt x="226" y="119"/>
                    <a:pt x="226" y="119"/>
                  </a:cubicBezTo>
                  <a:cubicBezTo>
                    <a:pt x="226" y="119"/>
                    <a:pt x="240" y="121"/>
                    <a:pt x="249" y="120"/>
                  </a:cubicBezTo>
                  <a:cubicBezTo>
                    <a:pt x="248" y="117"/>
                    <a:pt x="248" y="115"/>
                    <a:pt x="248" y="115"/>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02" name="Freeform 63"/>
            <p:cNvSpPr>
              <a:spLocks/>
            </p:cNvSpPr>
            <p:nvPr/>
          </p:nvSpPr>
          <p:spPr bwMode="gray">
            <a:xfrm>
              <a:off x="4760913" y="2701925"/>
              <a:ext cx="61912" cy="49213"/>
            </a:xfrm>
            <a:custGeom>
              <a:avLst/>
              <a:gdLst>
                <a:gd name="T0" fmla="*/ 100 w 111"/>
                <a:gd name="T1" fmla="*/ 26 h 87"/>
                <a:gd name="T2" fmla="*/ 88 w 111"/>
                <a:gd name="T3" fmla="*/ 17 h 87"/>
                <a:gd name="T4" fmla="*/ 88 w 111"/>
                <a:gd name="T5" fmla="*/ 9 h 87"/>
                <a:gd name="T6" fmla="*/ 83 w 111"/>
                <a:gd name="T7" fmla="*/ 9 h 87"/>
                <a:gd name="T8" fmla="*/ 77 w 111"/>
                <a:gd name="T9" fmla="*/ 0 h 87"/>
                <a:gd name="T10" fmla="*/ 76 w 111"/>
                <a:gd name="T11" fmla="*/ 0 h 87"/>
                <a:gd name="T12" fmla="*/ 50 w 111"/>
                <a:gd name="T13" fmla="*/ 2 h 87"/>
                <a:gd name="T14" fmla="*/ 46 w 111"/>
                <a:gd name="T15" fmla="*/ 6 h 87"/>
                <a:gd name="T16" fmla="*/ 33 w 111"/>
                <a:gd name="T17" fmla="*/ 6 h 87"/>
                <a:gd name="T18" fmla="*/ 30 w 111"/>
                <a:gd name="T19" fmla="*/ 14 h 87"/>
                <a:gd name="T20" fmla="*/ 18 w 111"/>
                <a:gd name="T21" fmla="*/ 14 h 87"/>
                <a:gd name="T22" fmla="*/ 13 w 111"/>
                <a:gd name="T23" fmla="*/ 22 h 87"/>
                <a:gd name="T24" fmla="*/ 2 w 111"/>
                <a:gd name="T25" fmla="*/ 26 h 87"/>
                <a:gd name="T26" fmla="*/ 0 w 111"/>
                <a:gd name="T27" fmla="*/ 41 h 87"/>
                <a:gd name="T28" fmla="*/ 5 w 111"/>
                <a:gd name="T29" fmla="*/ 52 h 87"/>
                <a:gd name="T30" fmla="*/ 3 w 111"/>
                <a:gd name="T31" fmla="*/ 64 h 87"/>
                <a:gd name="T32" fmla="*/ 11 w 111"/>
                <a:gd name="T33" fmla="*/ 70 h 87"/>
                <a:gd name="T34" fmla="*/ 11 w 111"/>
                <a:gd name="T35" fmla="*/ 84 h 87"/>
                <a:gd name="T36" fmla="*/ 29 w 111"/>
                <a:gd name="T37" fmla="*/ 77 h 87"/>
                <a:gd name="T38" fmla="*/ 31 w 111"/>
                <a:gd name="T39" fmla="*/ 84 h 87"/>
                <a:gd name="T40" fmla="*/ 36 w 111"/>
                <a:gd name="T41" fmla="*/ 79 h 87"/>
                <a:gd name="T42" fmla="*/ 60 w 111"/>
                <a:gd name="T43" fmla="*/ 81 h 87"/>
                <a:gd name="T44" fmla="*/ 63 w 111"/>
                <a:gd name="T45" fmla="*/ 70 h 87"/>
                <a:gd name="T46" fmla="*/ 90 w 111"/>
                <a:gd name="T47" fmla="*/ 66 h 87"/>
                <a:gd name="T48" fmla="*/ 108 w 111"/>
                <a:gd name="T49" fmla="*/ 44 h 87"/>
                <a:gd name="T50" fmla="*/ 100 w 111"/>
                <a:gd name="T51" fmla="*/ 26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1" h="87">
                  <a:moveTo>
                    <a:pt x="100" y="26"/>
                  </a:moveTo>
                  <a:cubicBezTo>
                    <a:pt x="88" y="17"/>
                    <a:pt x="88" y="17"/>
                    <a:pt x="88" y="17"/>
                  </a:cubicBezTo>
                  <a:cubicBezTo>
                    <a:pt x="88" y="9"/>
                    <a:pt x="88" y="9"/>
                    <a:pt x="88" y="9"/>
                  </a:cubicBezTo>
                  <a:cubicBezTo>
                    <a:pt x="83" y="9"/>
                    <a:pt x="83" y="9"/>
                    <a:pt x="83" y="9"/>
                  </a:cubicBezTo>
                  <a:cubicBezTo>
                    <a:pt x="77" y="0"/>
                    <a:pt x="77" y="0"/>
                    <a:pt x="77" y="0"/>
                  </a:cubicBezTo>
                  <a:cubicBezTo>
                    <a:pt x="77" y="0"/>
                    <a:pt x="76" y="0"/>
                    <a:pt x="76" y="0"/>
                  </a:cubicBezTo>
                  <a:cubicBezTo>
                    <a:pt x="50" y="2"/>
                    <a:pt x="50" y="2"/>
                    <a:pt x="50" y="2"/>
                  </a:cubicBezTo>
                  <a:cubicBezTo>
                    <a:pt x="46" y="6"/>
                    <a:pt x="46" y="6"/>
                    <a:pt x="46" y="6"/>
                  </a:cubicBezTo>
                  <a:cubicBezTo>
                    <a:pt x="33" y="6"/>
                    <a:pt x="33" y="6"/>
                    <a:pt x="33" y="6"/>
                  </a:cubicBezTo>
                  <a:cubicBezTo>
                    <a:pt x="33" y="6"/>
                    <a:pt x="37" y="14"/>
                    <a:pt x="30" y="14"/>
                  </a:cubicBezTo>
                  <a:cubicBezTo>
                    <a:pt x="23" y="14"/>
                    <a:pt x="18" y="14"/>
                    <a:pt x="18" y="14"/>
                  </a:cubicBezTo>
                  <a:cubicBezTo>
                    <a:pt x="13" y="22"/>
                    <a:pt x="13" y="22"/>
                    <a:pt x="13" y="22"/>
                  </a:cubicBezTo>
                  <a:cubicBezTo>
                    <a:pt x="2" y="26"/>
                    <a:pt x="2" y="26"/>
                    <a:pt x="2" y="26"/>
                  </a:cubicBezTo>
                  <a:cubicBezTo>
                    <a:pt x="0" y="41"/>
                    <a:pt x="0" y="41"/>
                    <a:pt x="0" y="41"/>
                  </a:cubicBezTo>
                  <a:cubicBezTo>
                    <a:pt x="5" y="52"/>
                    <a:pt x="5" y="52"/>
                    <a:pt x="5" y="52"/>
                  </a:cubicBezTo>
                  <a:cubicBezTo>
                    <a:pt x="5" y="52"/>
                    <a:pt x="3" y="59"/>
                    <a:pt x="3" y="64"/>
                  </a:cubicBezTo>
                  <a:cubicBezTo>
                    <a:pt x="3" y="69"/>
                    <a:pt x="11" y="70"/>
                    <a:pt x="11" y="70"/>
                  </a:cubicBezTo>
                  <a:cubicBezTo>
                    <a:pt x="11" y="84"/>
                    <a:pt x="11" y="84"/>
                    <a:pt x="11" y="84"/>
                  </a:cubicBezTo>
                  <a:cubicBezTo>
                    <a:pt x="29" y="77"/>
                    <a:pt x="29" y="77"/>
                    <a:pt x="29" y="77"/>
                  </a:cubicBezTo>
                  <a:cubicBezTo>
                    <a:pt x="29" y="77"/>
                    <a:pt x="30" y="80"/>
                    <a:pt x="31" y="84"/>
                  </a:cubicBezTo>
                  <a:cubicBezTo>
                    <a:pt x="36" y="79"/>
                    <a:pt x="36" y="79"/>
                    <a:pt x="36" y="79"/>
                  </a:cubicBezTo>
                  <a:cubicBezTo>
                    <a:pt x="36" y="79"/>
                    <a:pt x="56" y="87"/>
                    <a:pt x="60" y="81"/>
                  </a:cubicBezTo>
                  <a:cubicBezTo>
                    <a:pt x="64" y="75"/>
                    <a:pt x="63" y="70"/>
                    <a:pt x="63" y="70"/>
                  </a:cubicBezTo>
                  <a:cubicBezTo>
                    <a:pt x="63" y="70"/>
                    <a:pt x="82" y="74"/>
                    <a:pt x="90" y="66"/>
                  </a:cubicBezTo>
                  <a:cubicBezTo>
                    <a:pt x="98" y="58"/>
                    <a:pt x="105" y="55"/>
                    <a:pt x="108" y="44"/>
                  </a:cubicBezTo>
                  <a:cubicBezTo>
                    <a:pt x="111" y="33"/>
                    <a:pt x="100" y="26"/>
                    <a:pt x="100" y="26"/>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03" name="Freeform 64"/>
            <p:cNvSpPr>
              <a:spLocks/>
            </p:cNvSpPr>
            <p:nvPr/>
          </p:nvSpPr>
          <p:spPr bwMode="gray">
            <a:xfrm>
              <a:off x="4897438" y="2522538"/>
              <a:ext cx="79375" cy="88900"/>
            </a:xfrm>
            <a:custGeom>
              <a:avLst/>
              <a:gdLst>
                <a:gd name="T0" fmla="*/ 0 w 143"/>
                <a:gd name="T1" fmla="*/ 11 h 158"/>
                <a:gd name="T2" fmla="*/ 24 w 143"/>
                <a:gd name="T3" fmla="*/ 30 h 158"/>
                <a:gd name="T4" fmla="*/ 23 w 143"/>
                <a:gd name="T5" fmla="*/ 40 h 158"/>
                <a:gd name="T6" fmla="*/ 38 w 143"/>
                <a:gd name="T7" fmla="*/ 49 h 158"/>
                <a:gd name="T8" fmla="*/ 44 w 143"/>
                <a:gd name="T9" fmla="*/ 63 h 158"/>
                <a:gd name="T10" fmla="*/ 52 w 143"/>
                <a:gd name="T11" fmla="*/ 64 h 158"/>
                <a:gd name="T12" fmla="*/ 54 w 143"/>
                <a:gd name="T13" fmla="*/ 74 h 158"/>
                <a:gd name="T14" fmla="*/ 71 w 143"/>
                <a:gd name="T15" fmla="*/ 84 h 158"/>
                <a:gd name="T16" fmla="*/ 69 w 143"/>
                <a:gd name="T17" fmla="*/ 106 h 158"/>
                <a:gd name="T18" fmla="*/ 74 w 143"/>
                <a:gd name="T19" fmla="*/ 109 h 158"/>
                <a:gd name="T20" fmla="*/ 67 w 143"/>
                <a:gd name="T21" fmla="*/ 129 h 158"/>
                <a:gd name="T22" fmla="*/ 73 w 143"/>
                <a:gd name="T23" fmla="*/ 143 h 158"/>
                <a:gd name="T24" fmla="*/ 75 w 143"/>
                <a:gd name="T25" fmla="*/ 158 h 158"/>
                <a:gd name="T26" fmla="*/ 92 w 143"/>
                <a:gd name="T27" fmla="*/ 155 h 158"/>
                <a:gd name="T28" fmla="*/ 88 w 143"/>
                <a:gd name="T29" fmla="*/ 141 h 158"/>
                <a:gd name="T30" fmla="*/ 104 w 143"/>
                <a:gd name="T31" fmla="*/ 129 h 158"/>
                <a:gd name="T32" fmla="*/ 113 w 143"/>
                <a:gd name="T33" fmla="*/ 120 h 158"/>
                <a:gd name="T34" fmla="*/ 97 w 143"/>
                <a:gd name="T35" fmla="*/ 106 h 158"/>
                <a:gd name="T36" fmla="*/ 113 w 143"/>
                <a:gd name="T37" fmla="*/ 102 h 158"/>
                <a:gd name="T38" fmla="*/ 126 w 143"/>
                <a:gd name="T39" fmla="*/ 109 h 158"/>
                <a:gd name="T40" fmla="*/ 143 w 143"/>
                <a:gd name="T41" fmla="*/ 104 h 158"/>
                <a:gd name="T42" fmla="*/ 141 w 143"/>
                <a:gd name="T43" fmla="*/ 83 h 158"/>
                <a:gd name="T44" fmla="*/ 120 w 143"/>
                <a:gd name="T45" fmla="*/ 77 h 158"/>
                <a:gd name="T46" fmla="*/ 122 w 143"/>
                <a:gd name="T47" fmla="*/ 61 h 158"/>
                <a:gd name="T48" fmla="*/ 117 w 143"/>
                <a:gd name="T49" fmla="*/ 56 h 158"/>
                <a:gd name="T50" fmla="*/ 105 w 143"/>
                <a:gd name="T51" fmla="*/ 58 h 158"/>
                <a:gd name="T52" fmla="*/ 105 w 143"/>
                <a:gd name="T53" fmla="*/ 43 h 158"/>
                <a:gd name="T54" fmla="*/ 103 w 143"/>
                <a:gd name="T55" fmla="*/ 26 h 158"/>
                <a:gd name="T56" fmla="*/ 83 w 143"/>
                <a:gd name="T57" fmla="*/ 24 h 158"/>
                <a:gd name="T58" fmla="*/ 78 w 143"/>
                <a:gd name="T59" fmla="*/ 13 h 158"/>
                <a:gd name="T60" fmla="*/ 57 w 143"/>
                <a:gd name="T61" fmla="*/ 12 h 158"/>
                <a:gd name="T62" fmla="*/ 52 w 143"/>
                <a:gd name="T63" fmla="*/ 7 h 158"/>
                <a:gd name="T64" fmla="*/ 48 w 143"/>
                <a:gd name="T65" fmla="*/ 9 h 158"/>
                <a:gd name="T66" fmla="*/ 33 w 143"/>
                <a:gd name="T67" fmla="*/ 1 h 158"/>
                <a:gd name="T68" fmla="*/ 18 w 143"/>
                <a:gd name="T69" fmla="*/ 8 h 158"/>
                <a:gd name="T70" fmla="*/ 2 w 143"/>
                <a:gd name="T71" fmla="*/ 3 h 158"/>
                <a:gd name="T72" fmla="*/ 0 w 143"/>
                <a:gd name="T73" fmla="*/ 11 h 158"/>
                <a:gd name="T74" fmla="*/ 0 w 143"/>
                <a:gd name="T75" fmla="*/ 11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3" h="158">
                  <a:moveTo>
                    <a:pt x="0" y="11"/>
                  </a:moveTo>
                  <a:cubicBezTo>
                    <a:pt x="17" y="14"/>
                    <a:pt x="24" y="30"/>
                    <a:pt x="24" y="30"/>
                  </a:cubicBezTo>
                  <a:cubicBezTo>
                    <a:pt x="23" y="40"/>
                    <a:pt x="23" y="40"/>
                    <a:pt x="23" y="40"/>
                  </a:cubicBezTo>
                  <a:cubicBezTo>
                    <a:pt x="38" y="49"/>
                    <a:pt x="38" y="49"/>
                    <a:pt x="38" y="49"/>
                  </a:cubicBezTo>
                  <a:cubicBezTo>
                    <a:pt x="44" y="63"/>
                    <a:pt x="44" y="63"/>
                    <a:pt x="44" y="63"/>
                  </a:cubicBezTo>
                  <a:cubicBezTo>
                    <a:pt x="52" y="64"/>
                    <a:pt x="52" y="64"/>
                    <a:pt x="52" y="64"/>
                  </a:cubicBezTo>
                  <a:cubicBezTo>
                    <a:pt x="54" y="74"/>
                    <a:pt x="54" y="74"/>
                    <a:pt x="54" y="74"/>
                  </a:cubicBezTo>
                  <a:cubicBezTo>
                    <a:pt x="54" y="74"/>
                    <a:pt x="70" y="75"/>
                    <a:pt x="71" y="84"/>
                  </a:cubicBezTo>
                  <a:cubicBezTo>
                    <a:pt x="72" y="93"/>
                    <a:pt x="69" y="106"/>
                    <a:pt x="69" y="106"/>
                  </a:cubicBezTo>
                  <a:cubicBezTo>
                    <a:pt x="74" y="109"/>
                    <a:pt x="74" y="109"/>
                    <a:pt x="74" y="109"/>
                  </a:cubicBezTo>
                  <a:cubicBezTo>
                    <a:pt x="74" y="109"/>
                    <a:pt x="67" y="122"/>
                    <a:pt x="67" y="129"/>
                  </a:cubicBezTo>
                  <a:cubicBezTo>
                    <a:pt x="67" y="136"/>
                    <a:pt x="73" y="143"/>
                    <a:pt x="73" y="143"/>
                  </a:cubicBezTo>
                  <a:cubicBezTo>
                    <a:pt x="73" y="143"/>
                    <a:pt x="72" y="151"/>
                    <a:pt x="75" y="158"/>
                  </a:cubicBezTo>
                  <a:cubicBezTo>
                    <a:pt x="92" y="155"/>
                    <a:pt x="92" y="155"/>
                    <a:pt x="92" y="155"/>
                  </a:cubicBezTo>
                  <a:cubicBezTo>
                    <a:pt x="92" y="155"/>
                    <a:pt x="88" y="145"/>
                    <a:pt x="88" y="141"/>
                  </a:cubicBezTo>
                  <a:cubicBezTo>
                    <a:pt x="88" y="137"/>
                    <a:pt x="104" y="129"/>
                    <a:pt x="104" y="129"/>
                  </a:cubicBezTo>
                  <a:cubicBezTo>
                    <a:pt x="113" y="120"/>
                    <a:pt x="113" y="120"/>
                    <a:pt x="113" y="120"/>
                  </a:cubicBezTo>
                  <a:cubicBezTo>
                    <a:pt x="113" y="120"/>
                    <a:pt x="98" y="110"/>
                    <a:pt x="97" y="106"/>
                  </a:cubicBezTo>
                  <a:cubicBezTo>
                    <a:pt x="96" y="102"/>
                    <a:pt x="113" y="102"/>
                    <a:pt x="113" y="102"/>
                  </a:cubicBezTo>
                  <a:cubicBezTo>
                    <a:pt x="113" y="102"/>
                    <a:pt x="119" y="110"/>
                    <a:pt x="126" y="109"/>
                  </a:cubicBezTo>
                  <a:cubicBezTo>
                    <a:pt x="133" y="108"/>
                    <a:pt x="143" y="104"/>
                    <a:pt x="143" y="104"/>
                  </a:cubicBezTo>
                  <a:cubicBezTo>
                    <a:pt x="143" y="104"/>
                    <a:pt x="142" y="90"/>
                    <a:pt x="141" y="83"/>
                  </a:cubicBezTo>
                  <a:cubicBezTo>
                    <a:pt x="140" y="76"/>
                    <a:pt x="127" y="79"/>
                    <a:pt x="120" y="77"/>
                  </a:cubicBezTo>
                  <a:cubicBezTo>
                    <a:pt x="113" y="75"/>
                    <a:pt x="122" y="61"/>
                    <a:pt x="122" y="61"/>
                  </a:cubicBezTo>
                  <a:cubicBezTo>
                    <a:pt x="117" y="56"/>
                    <a:pt x="117" y="56"/>
                    <a:pt x="117" y="56"/>
                  </a:cubicBezTo>
                  <a:cubicBezTo>
                    <a:pt x="117" y="56"/>
                    <a:pt x="108" y="58"/>
                    <a:pt x="105" y="58"/>
                  </a:cubicBezTo>
                  <a:cubicBezTo>
                    <a:pt x="102" y="58"/>
                    <a:pt x="105" y="43"/>
                    <a:pt x="105" y="43"/>
                  </a:cubicBezTo>
                  <a:cubicBezTo>
                    <a:pt x="105" y="43"/>
                    <a:pt x="114" y="34"/>
                    <a:pt x="103" y="26"/>
                  </a:cubicBezTo>
                  <a:cubicBezTo>
                    <a:pt x="92" y="18"/>
                    <a:pt x="83" y="24"/>
                    <a:pt x="83" y="24"/>
                  </a:cubicBezTo>
                  <a:cubicBezTo>
                    <a:pt x="83" y="24"/>
                    <a:pt x="83" y="17"/>
                    <a:pt x="78" y="13"/>
                  </a:cubicBezTo>
                  <a:cubicBezTo>
                    <a:pt x="73" y="9"/>
                    <a:pt x="66" y="12"/>
                    <a:pt x="57" y="12"/>
                  </a:cubicBezTo>
                  <a:cubicBezTo>
                    <a:pt x="48" y="12"/>
                    <a:pt x="52" y="7"/>
                    <a:pt x="52" y="7"/>
                  </a:cubicBezTo>
                  <a:cubicBezTo>
                    <a:pt x="48" y="9"/>
                    <a:pt x="48" y="9"/>
                    <a:pt x="48" y="9"/>
                  </a:cubicBezTo>
                  <a:cubicBezTo>
                    <a:pt x="48" y="9"/>
                    <a:pt x="42" y="0"/>
                    <a:pt x="33" y="1"/>
                  </a:cubicBezTo>
                  <a:cubicBezTo>
                    <a:pt x="24" y="2"/>
                    <a:pt x="24" y="7"/>
                    <a:pt x="18" y="8"/>
                  </a:cubicBezTo>
                  <a:cubicBezTo>
                    <a:pt x="12" y="9"/>
                    <a:pt x="2" y="3"/>
                    <a:pt x="2" y="3"/>
                  </a:cubicBezTo>
                  <a:cubicBezTo>
                    <a:pt x="0" y="11"/>
                    <a:pt x="0" y="11"/>
                    <a:pt x="0" y="11"/>
                  </a:cubicBezTo>
                  <a:cubicBezTo>
                    <a:pt x="0" y="11"/>
                    <a:pt x="0" y="11"/>
                    <a:pt x="0" y="11"/>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04" name="Freeform 65"/>
            <p:cNvSpPr>
              <a:spLocks/>
            </p:cNvSpPr>
            <p:nvPr/>
          </p:nvSpPr>
          <p:spPr bwMode="gray">
            <a:xfrm>
              <a:off x="4489450" y="2555875"/>
              <a:ext cx="7937" cy="9525"/>
            </a:xfrm>
            <a:custGeom>
              <a:avLst/>
              <a:gdLst>
                <a:gd name="T0" fmla="*/ 11 w 15"/>
                <a:gd name="T1" fmla="*/ 1 h 16"/>
                <a:gd name="T2" fmla="*/ 4 w 15"/>
                <a:gd name="T3" fmla="*/ 14 h 16"/>
                <a:gd name="T4" fmla="*/ 12 w 15"/>
                <a:gd name="T5" fmla="*/ 16 h 16"/>
                <a:gd name="T6" fmla="*/ 15 w 15"/>
                <a:gd name="T7" fmla="*/ 16 h 16"/>
                <a:gd name="T8" fmla="*/ 15 w 15"/>
                <a:gd name="T9" fmla="*/ 6 h 16"/>
                <a:gd name="T10" fmla="*/ 13 w 15"/>
                <a:gd name="T11" fmla="*/ 0 h 16"/>
                <a:gd name="T12" fmla="*/ 11 w 15"/>
                <a:gd name="T13" fmla="*/ 1 h 16"/>
              </a:gdLst>
              <a:ahLst/>
              <a:cxnLst>
                <a:cxn ang="0">
                  <a:pos x="T0" y="T1"/>
                </a:cxn>
                <a:cxn ang="0">
                  <a:pos x="T2" y="T3"/>
                </a:cxn>
                <a:cxn ang="0">
                  <a:pos x="T4" y="T5"/>
                </a:cxn>
                <a:cxn ang="0">
                  <a:pos x="T6" y="T7"/>
                </a:cxn>
                <a:cxn ang="0">
                  <a:pos x="T8" y="T9"/>
                </a:cxn>
                <a:cxn ang="0">
                  <a:pos x="T10" y="T11"/>
                </a:cxn>
                <a:cxn ang="0">
                  <a:pos x="T12" y="T13"/>
                </a:cxn>
              </a:cxnLst>
              <a:rect l="0" t="0" r="r" b="b"/>
              <a:pathLst>
                <a:path w="15" h="16">
                  <a:moveTo>
                    <a:pt x="11" y="1"/>
                  </a:moveTo>
                  <a:cubicBezTo>
                    <a:pt x="6" y="3"/>
                    <a:pt x="0" y="11"/>
                    <a:pt x="4" y="14"/>
                  </a:cubicBezTo>
                  <a:cubicBezTo>
                    <a:pt x="8" y="16"/>
                    <a:pt x="12" y="16"/>
                    <a:pt x="12" y="16"/>
                  </a:cubicBezTo>
                  <a:cubicBezTo>
                    <a:pt x="15" y="16"/>
                    <a:pt x="15" y="16"/>
                    <a:pt x="15" y="16"/>
                  </a:cubicBezTo>
                  <a:cubicBezTo>
                    <a:pt x="15" y="14"/>
                    <a:pt x="15" y="9"/>
                    <a:pt x="15" y="6"/>
                  </a:cubicBezTo>
                  <a:cubicBezTo>
                    <a:pt x="15" y="4"/>
                    <a:pt x="14" y="2"/>
                    <a:pt x="13" y="0"/>
                  </a:cubicBezTo>
                  <a:cubicBezTo>
                    <a:pt x="12" y="0"/>
                    <a:pt x="12" y="1"/>
                    <a:pt x="11" y="1"/>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05" name="Freeform 66"/>
            <p:cNvSpPr>
              <a:spLocks/>
            </p:cNvSpPr>
            <p:nvPr/>
          </p:nvSpPr>
          <p:spPr bwMode="gray">
            <a:xfrm>
              <a:off x="4749800" y="2527300"/>
              <a:ext cx="230187" cy="138113"/>
            </a:xfrm>
            <a:custGeom>
              <a:avLst/>
              <a:gdLst>
                <a:gd name="T0" fmla="*/ 360 w 411"/>
                <a:gd name="T1" fmla="*/ 241 h 248"/>
                <a:gd name="T2" fmla="*/ 379 w 411"/>
                <a:gd name="T3" fmla="*/ 187 h 248"/>
                <a:gd name="T4" fmla="*/ 396 w 411"/>
                <a:gd name="T5" fmla="*/ 146 h 248"/>
                <a:gd name="T6" fmla="*/ 353 w 411"/>
                <a:gd name="T7" fmla="*/ 161 h 248"/>
                <a:gd name="T8" fmla="*/ 330 w 411"/>
                <a:gd name="T9" fmla="*/ 121 h 248"/>
                <a:gd name="T10" fmla="*/ 332 w 411"/>
                <a:gd name="T11" fmla="*/ 98 h 248"/>
                <a:gd name="T12" fmla="*/ 317 w 411"/>
                <a:gd name="T13" fmla="*/ 66 h 248"/>
                <a:gd name="T14" fmla="*/ 307 w 411"/>
                <a:gd name="T15" fmla="*/ 55 h 248"/>
                <a:gd name="T16" fmla="*/ 286 w 411"/>
                <a:gd name="T17" fmla="*/ 32 h 248"/>
                <a:gd name="T18" fmla="*/ 263 w 411"/>
                <a:gd name="T19" fmla="*/ 3 h 248"/>
                <a:gd name="T20" fmla="*/ 225 w 411"/>
                <a:gd name="T21" fmla="*/ 17 h 248"/>
                <a:gd name="T22" fmla="*/ 204 w 411"/>
                <a:gd name="T23" fmla="*/ 21 h 248"/>
                <a:gd name="T24" fmla="*/ 172 w 411"/>
                <a:gd name="T25" fmla="*/ 16 h 248"/>
                <a:gd name="T26" fmla="*/ 145 w 411"/>
                <a:gd name="T27" fmla="*/ 18 h 248"/>
                <a:gd name="T28" fmla="*/ 123 w 411"/>
                <a:gd name="T29" fmla="*/ 14 h 248"/>
                <a:gd name="T30" fmla="*/ 90 w 411"/>
                <a:gd name="T31" fmla="*/ 28 h 248"/>
                <a:gd name="T32" fmla="*/ 69 w 411"/>
                <a:gd name="T33" fmla="*/ 53 h 248"/>
                <a:gd name="T34" fmla="*/ 46 w 411"/>
                <a:gd name="T35" fmla="*/ 83 h 248"/>
                <a:gd name="T36" fmla="*/ 29 w 411"/>
                <a:gd name="T37" fmla="*/ 107 h 248"/>
                <a:gd name="T38" fmla="*/ 16 w 411"/>
                <a:gd name="T39" fmla="*/ 114 h 248"/>
                <a:gd name="T40" fmla="*/ 1 w 411"/>
                <a:gd name="T41" fmla="*/ 119 h 248"/>
                <a:gd name="T42" fmla="*/ 22 w 411"/>
                <a:gd name="T43" fmla="*/ 131 h 248"/>
                <a:gd name="T44" fmla="*/ 38 w 411"/>
                <a:gd name="T45" fmla="*/ 160 h 248"/>
                <a:gd name="T46" fmla="*/ 51 w 411"/>
                <a:gd name="T47" fmla="*/ 177 h 248"/>
                <a:gd name="T48" fmla="*/ 72 w 411"/>
                <a:gd name="T49" fmla="*/ 190 h 248"/>
                <a:gd name="T50" fmla="*/ 94 w 411"/>
                <a:gd name="T51" fmla="*/ 190 h 248"/>
                <a:gd name="T52" fmla="*/ 107 w 411"/>
                <a:gd name="T53" fmla="*/ 200 h 248"/>
                <a:gd name="T54" fmla="*/ 107 w 411"/>
                <a:gd name="T55" fmla="*/ 212 h 248"/>
                <a:gd name="T56" fmla="*/ 113 w 411"/>
                <a:gd name="T57" fmla="*/ 219 h 248"/>
                <a:gd name="T58" fmla="*/ 118 w 411"/>
                <a:gd name="T59" fmla="*/ 236 h 248"/>
                <a:gd name="T60" fmla="*/ 142 w 411"/>
                <a:gd name="T61" fmla="*/ 232 h 248"/>
                <a:gd name="T62" fmla="*/ 180 w 411"/>
                <a:gd name="T63" fmla="*/ 244 h 248"/>
                <a:gd name="T64" fmla="*/ 201 w 411"/>
                <a:gd name="T65" fmla="*/ 240 h 248"/>
                <a:gd name="T66" fmla="*/ 236 w 411"/>
                <a:gd name="T67" fmla="*/ 247 h 248"/>
                <a:gd name="T68" fmla="*/ 266 w 411"/>
                <a:gd name="T69" fmla="*/ 229 h 248"/>
                <a:gd name="T70" fmla="*/ 284 w 411"/>
                <a:gd name="T71" fmla="*/ 226 h 248"/>
                <a:gd name="T72" fmla="*/ 315 w 411"/>
                <a:gd name="T73" fmla="*/ 228 h 248"/>
                <a:gd name="T74" fmla="*/ 341 w 411"/>
                <a:gd name="T75" fmla="*/ 24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11" h="248">
                  <a:moveTo>
                    <a:pt x="341" y="240"/>
                  </a:moveTo>
                  <a:cubicBezTo>
                    <a:pt x="344" y="242"/>
                    <a:pt x="353" y="242"/>
                    <a:pt x="360" y="241"/>
                  </a:cubicBezTo>
                  <a:cubicBezTo>
                    <a:pt x="358" y="230"/>
                    <a:pt x="359" y="216"/>
                    <a:pt x="364" y="209"/>
                  </a:cubicBezTo>
                  <a:cubicBezTo>
                    <a:pt x="373" y="197"/>
                    <a:pt x="379" y="187"/>
                    <a:pt x="379" y="187"/>
                  </a:cubicBezTo>
                  <a:cubicBezTo>
                    <a:pt x="379" y="187"/>
                    <a:pt x="411" y="197"/>
                    <a:pt x="407" y="174"/>
                  </a:cubicBezTo>
                  <a:cubicBezTo>
                    <a:pt x="404" y="158"/>
                    <a:pt x="399" y="149"/>
                    <a:pt x="396" y="146"/>
                  </a:cubicBezTo>
                  <a:cubicBezTo>
                    <a:pt x="395" y="148"/>
                    <a:pt x="391" y="152"/>
                    <a:pt x="382" y="151"/>
                  </a:cubicBezTo>
                  <a:cubicBezTo>
                    <a:pt x="370" y="150"/>
                    <a:pt x="374" y="164"/>
                    <a:pt x="353" y="161"/>
                  </a:cubicBezTo>
                  <a:cubicBezTo>
                    <a:pt x="332" y="158"/>
                    <a:pt x="336" y="135"/>
                    <a:pt x="336" y="135"/>
                  </a:cubicBezTo>
                  <a:cubicBezTo>
                    <a:pt x="336" y="135"/>
                    <a:pt x="330" y="128"/>
                    <a:pt x="330" y="121"/>
                  </a:cubicBezTo>
                  <a:cubicBezTo>
                    <a:pt x="330" y="114"/>
                    <a:pt x="337" y="101"/>
                    <a:pt x="337" y="101"/>
                  </a:cubicBezTo>
                  <a:cubicBezTo>
                    <a:pt x="332" y="98"/>
                    <a:pt x="332" y="98"/>
                    <a:pt x="332" y="98"/>
                  </a:cubicBezTo>
                  <a:cubicBezTo>
                    <a:pt x="332" y="98"/>
                    <a:pt x="335" y="85"/>
                    <a:pt x="334" y="76"/>
                  </a:cubicBezTo>
                  <a:cubicBezTo>
                    <a:pt x="333" y="67"/>
                    <a:pt x="317" y="66"/>
                    <a:pt x="317" y="66"/>
                  </a:cubicBezTo>
                  <a:cubicBezTo>
                    <a:pt x="315" y="56"/>
                    <a:pt x="315" y="56"/>
                    <a:pt x="315" y="56"/>
                  </a:cubicBezTo>
                  <a:cubicBezTo>
                    <a:pt x="307" y="55"/>
                    <a:pt x="307" y="55"/>
                    <a:pt x="307" y="55"/>
                  </a:cubicBezTo>
                  <a:cubicBezTo>
                    <a:pt x="301" y="41"/>
                    <a:pt x="301" y="41"/>
                    <a:pt x="301" y="41"/>
                  </a:cubicBezTo>
                  <a:cubicBezTo>
                    <a:pt x="286" y="32"/>
                    <a:pt x="286" y="32"/>
                    <a:pt x="286" y="32"/>
                  </a:cubicBezTo>
                  <a:cubicBezTo>
                    <a:pt x="287" y="22"/>
                    <a:pt x="287" y="22"/>
                    <a:pt x="287" y="22"/>
                  </a:cubicBezTo>
                  <a:cubicBezTo>
                    <a:pt x="287" y="22"/>
                    <a:pt x="280" y="6"/>
                    <a:pt x="263" y="3"/>
                  </a:cubicBezTo>
                  <a:cubicBezTo>
                    <a:pt x="246" y="0"/>
                    <a:pt x="248" y="18"/>
                    <a:pt x="238" y="18"/>
                  </a:cubicBezTo>
                  <a:cubicBezTo>
                    <a:pt x="228" y="18"/>
                    <a:pt x="225" y="17"/>
                    <a:pt x="225" y="17"/>
                  </a:cubicBezTo>
                  <a:cubicBezTo>
                    <a:pt x="221" y="24"/>
                    <a:pt x="221" y="24"/>
                    <a:pt x="221" y="24"/>
                  </a:cubicBezTo>
                  <a:cubicBezTo>
                    <a:pt x="204" y="21"/>
                    <a:pt x="204" y="21"/>
                    <a:pt x="204" y="21"/>
                  </a:cubicBezTo>
                  <a:cubicBezTo>
                    <a:pt x="204" y="21"/>
                    <a:pt x="204" y="30"/>
                    <a:pt x="194" y="33"/>
                  </a:cubicBezTo>
                  <a:cubicBezTo>
                    <a:pt x="184" y="36"/>
                    <a:pt x="178" y="17"/>
                    <a:pt x="172" y="16"/>
                  </a:cubicBezTo>
                  <a:cubicBezTo>
                    <a:pt x="166" y="15"/>
                    <a:pt x="151" y="23"/>
                    <a:pt x="151" y="23"/>
                  </a:cubicBezTo>
                  <a:cubicBezTo>
                    <a:pt x="145" y="18"/>
                    <a:pt x="145" y="18"/>
                    <a:pt x="145" y="18"/>
                  </a:cubicBezTo>
                  <a:cubicBezTo>
                    <a:pt x="129" y="21"/>
                    <a:pt x="129" y="21"/>
                    <a:pt x="129" y="21"/>
                  </a:cubicBezTo>
                  <a:cubicBezTo>
                    <a:pt x="129" y="21"/>
                    <a:pt x="127" y="14"/>
                    <a:pt x="123" y="14"/>
                  </a:cubicBezTo>
                  <a:cubicBezTo>
                    <a:pt x="119" y="14"/>
                    <a:pt x="110" y="14"/>
                    <a:pt x="110" y="14"/>
                  </a:cubicBezTo>
                  <a:cubicBezTo>
                    <a:pt x="110" y="14"/>
                    <a:pt x="100" y="27"/>
                    <a:pt x="90" y="28"/>
                  </a:cubicBezTo>
                  <a:cubicBezTo>
                    <a:pt x="80" y="29"/>
                    <a:pt x="71" y="29"/>
                    <a:pt x="70" y="35"/>
                  </a:cubicBezTo>
                  <a:cubicBezTo>
                    <a:pt x="69" y="41"/>
                    <a:pt x="69" y="53"/>
                    <a:pt x="69" y="53"/>
                  </a:cubicBezTo>
                  <a:cubicBezTo>
                    <a:pt x="69" y="53"/>
                    <a:pt x="72" y="65"/>
                    <a:pt x="62" y="70"/>
                  </a:cubicBezTo>
                  <a:cubicBezTo>
                    <a:pt x="52" y="75"/>
                    <a:pt x="46" y="83"/>
                    <a:pt x="46" y="83"/>
                  </a:cubicBezTo>
                  <a:cubicBezTo>
                    <a:pt x="46" y="83"/>
                    <a:pt x="51" y="91"/>
                    <a:pt x="45" y="97"/>
                  </a:cubicBezTo>
                  <a:cubicBezTo>
                    <a:pt x="39" y="103"/>
                    <a:pt x="29" y="107"/>
                    <a:pt x="29" y="107"/>
                  </a:cubicBezTo>
                  <a:cubicBezTo>
                    <a:pt x="18" y="105"/>
                    <a:pt x="18" y="105"/>
                    <a:pt x="18" y="105"/>
                  </a:cubicBezTo>
                  <a:cubicBezTo>
                    <a:pt x="16" y="114"/>
                    <a:pt x="16" y="114"/>
                    <a:pt x="16" y="114"/>
                  </a:cubicBezTo>
                  <a:cubicBezTo>
                    <a:pt x="0" y="118"/>
                    <a:pt x="0" y="118"/>
                    <a:pt x="0" y="118"/>
                  </a:cubicBezTo>
                  <a:cubicBezTo>
                    <a:pt x="1" y="119"/>
                    <a:pt x="1" y="119"/>
                    <a:pt x="1" y="119"/>
                  </a:cubicBezTo>
                  <a:cubicBezTo>
                    <a:pt x="16" y="133"/>
                    <a:pt x="16" y="133"/>
                    <a:pt x="16" y="133"/>
                  </a:cubicBezTo>
                  <a:cubicBezTo>
                    <a:pt x="22" y="131"/>
                    <a:pt x="22" y="131"/>
                    <a:pt x="22" y="131"/>
                  </a:cubicBezTo>
                  <a:cubicBezTo>
                    <a:pt x="30" y="154"/>
                    <a:pt x="30" y="154"/>
                    <a:pt x="30" y="154"/>
                  </a:cubicBezTo>
                  <a:cubicBezTo>
                    <a:pt x="30" y="154"/>
                    <a:pt x="36" y="165"/>
                    <a:pt x="38" y="160"/>
                  </a:cubicBezTo>
                  <a:cubicBezTo>
                    <a:pt x="40" y="155"/>
                    <a:pt x="52" y="156"/>
                    <a:pt x="54" y="162"/>
                  </a:cubicBezTo>
                  <a:cubicBezTo>
                    <a:pt x="56" y="168"/>
                    <a:pt x="51" y="177"/>
                    <a:pt x="51" y="177"/>
                  </a:cubicBezTo>
                  <a:cubicBezTo>
                    <a:pt x="56" y="188"/>
                    <a:pt x="56" y="188"/>
                    <a:pt x="56" y="188"/>
                  </a:cubicBezTo>
                  <a:cubicBezTo>
                    <a:pt x="72" y="190"/>
                    <a:pt x="72" y="190"/>
                    <a:pt x="72" y="190"/>
                  </a:cubicBezTo>
                  <a:cubicBezTo>
                    <a:pt x="78" y="197"/>
                    <a:pt x="78" y="197"/>
                    <a:pt x="78" y="197"/>
                  </a:cubicBezTo>
                  <a:cubicBezTo>
                    <a:pt x="94" y="190"/>
                    <a:pt x="94" y="190"/>
                    <a:pt x="94" y="190"/>
                  </a:cubicBezTo>
                  <a:cubicBezTo>
                    <a:pt x="110" y="194"/>
                    <a:pt x="110" y="194"/>
                    <a:pt x="110" y="194"/>
                  </a:cubicBezTo>
                  <a:cubicBezTo>
                    <a:pt x="107" y="200"/>
                    <a:pt x="107" y="200"/>
                    <a:pt x="107" y="200"/>
                  </a:cubicBezTo>
                  <a:cubicBezTo>
                    <a:pt x="100" y="208"/>
                    <a:pt x="100" y="208"/>
                    <a:pt x="100" y="208"/>
                  </a:cubicBezTo>
                  <a:cubicBezTo>
                    <a:pt x="107" y="212"/>
                    <a:pt x="107" y="212"/>
                    <a:pt x="107" y="212"/>
                  </a:cubicBezTo>
                  <a:cubicBezTo>
                    <a:pt x="106" y="218"/>
                    <a:pt x="106" y="218"/>
                    <a:pt x="106" y="218"/>
                  </a:cubicBezTo>
                  <a:cubicBezTo>
                    <a:pt x="113" y="219"/>
                    <a:pt x="113" y="219"/>
                    <a:pt x="113" y="219"/>
                  </a:cubicBezTo>
                  <a:cubicBezTo>
                    <a:pt x="113" y="219"/>
                    <a:pt x="123" y="219"/>
                    <a:pt x="125" y="223"/>
                  </a:cubicBezTo>
                  <a:cubicBezTo>
                    <a:pt x="127" y="227"/>
                    <a:pt x="118" y="232"/>
                    <a:pt x="118" y="236"/>
                  </a:cubicBezTo>
                  <a:cubicBezTo>
                    <a:pt x="118" y="240"/>
                    <a:pt x="135" y="239"/>
                    <a:pt x="135" y="239"/>
                  </a:cubicBezTo>
                  <a:cubicBezTo>
                    <a:pt x="142" y="232"/>
                    <a:pt x="142" y="232"/>
                    <a:pt x="142" y="232"/>
                  </a:cubicBezTo>
                  <a:cubicBezTo>
                    <a:pt x="158" y="239"/>
                    <a:pt x="158" y="239"/>
                    <a:pt x="158" y="239"/>
                  </a:cubicBezTo>
                  <a:cubicBezTo>
                    <a:pt x="158" y="239"/>
                    <a:pt x="167" y="244"/>
                    <a:pt x="180" y="244"/>
                  </a:cubicBezTo>
                  <a:cubicBezTo>
                    <a:pt x="193" y="244"/>
                    <a:pt x="188" y="235"/>
                    <a:pt x="188" y="235"/>
                  </a:cubicBezTo>
                  <a:cubicBezTo>
                    <a:pt x="201" y="240"/>
                    <a:pt x="201" y="240"/>
                    <a:pt x="201" y="240"/>
                  </a:cubicBezTo>
                  <a:cubicBezTo>
                    <a:pt x="214" y="241"/>
                    <a:pt x="214" y="241"/>
                    <a:pt x="214" y="241"/>
                  </a:cubicBezTo>
                  <a:cubicBezTo>
                    <a:pt x="214" y="241"/>
                    <a:pt x="225" y="246"/>
                    <a:pt x="236" y="247"/>
                  </a:cubicBezTo>
                  <a:cubicBezTo>
                    <a:pt x="247" y="248"/>
                    <a:pt x="246" y="232"/>
                    <a:pt x="253" y="230"/>
                  </a:cubicBezTo>
                  <a:cubicBezTo>
                    <a:pt x="260" y="228"/>
                    <a:pt x="266" y="229"/>
                    <a:pt x="266" y="229"/>
                  </a:cubicBezTo>
                  <a:cubicBezTo>
                    <a:pt x="265" y="224"/>
                    <a:pt x="265" y="224"/>
                    <a:pt x="265" y="224"/>
                  </a:cubicBezTo>
                  <a:cubicBezTo>
                    <a:pt x="284" y="226"/>
                    <a:pt x="284" y="226"/>
                    <a:pt x="284" y="226"/>
                  </a:cubicBezTo>
                  <a:cubicBezTo>
                    <a:pt x="284" y="226"/>
                    <a:pt x="281" y="220"/>
                    <a:pt x="290" y="220"/>
                  </a:cubicBezTo>
                  <a:cubicBezTo>
                    <a:pt x="299" y="220"/>
                    <a:pt x="306" y="228"/>
                    <a:pt x="315" y="228"/>
                  </a:cubicBezTo>
                  <a:cubicBezTo>
                    <a:pt x="324" y="228"/>
                    <a:pt x="333" y="230"/>
                    <a:pt x="333" y="230"/>
                  </a:cubicBezTo>
                  <a:cubicBezTo>
                    <a:pt x="333" y="230"/>
                    <a:pt x="336" y="237"/>
                    <a:pt x="341" y="240"/>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06" name="Freeform 67"/>
            <p:cNvSpPr>
              <a:spLocks/>
            </p:cNvSpPr>
            <p:nvPr/>
          </p:nvSpPr>
          <p:spPr bwMode="gray">
            <a:xfrm>
              <a:off x="4638675" y="2616200"/>
              <a:ext cx="96837" cy="85725"/>
            </a:xfrm>
            <a:custGeom>
              <a:avLst/>
              <a:gdLst>
                <a:gd name="T0" fmla="*/ 162 w 173"/>
                <a:gd name="T1" fmla="*/ 51 h 153"/>
                <a:gd name="T2" fmla="*/ 151 w 173"/>
                <a:gd name="T3" fmla="*/ 52 h 153"/>
                <a:gd name="T4" fmla="*/ 151 w 173"/>
                <a:gd name="T5" fmla="*/ 41 h 153"/>
                <a:gd name="T6" fmla="*/ 163 w 173"/>
                <a:gd name="T7" fmla="*/ 22 h 153"/>
                <a:gd name="T8" fmla="*/ 144 w 173"/>
                <a:gd name="T9" fmla="*/ 23 h 153"/>
                <a:gd name="T10" fmla="*/ 141 w 173"/>
                <a:gd name="T11" fmla="*/ 18 h 153"/>
                <a:gd name="T12" fmla="*/ 136 w 173"/>
                <a:gd name="T13" fmla="*/ 19 h 153"/>
                <a:gd name="T14" fmla="*/ 126 w 173"/>
                <a:gd name="T15" fmla="*/ 8 h 153"/>
                <a:gd name="T16" fmla="*/ 109 w 173"/>
                <a:gd name="T17" fmla="*/ 7 h 153"/>
                <a:gd name="T18" fmla="*/ 93 w 173"/>
                <a:gd name="T19" fmla="*/ 8 h 153"/>
                <a:gd name="T20" fmla="*/ 80 w 173"/>
                <a:gd name="T21" fmla="*/ 5 h 153"/>
                <a:gd name="T22" fmla="*/ 71 w 173"/>
                <a:gd name="T23" fmla="*/ 9 h 153"/>
                <a:gd name="T24" fmla="*/ 58 w 173"/>
                <a:gd name="T25" fmla="*/ 2 h 153"/>
                <a:gd name="T26" fmla="*/ 43 w 173"/>
                <a:gd name="T27" fmla="*/ 4 h 153"/>
                <a:gd name="T28" fmla="*/ 28 w 173"/>
                <a:gd name="T29" fmla="*/ 8 h 153"/>
                <a:gd name="T30" fmla="*/ 12 w 173"/>
                <a:gd name="T31" fmla="*/ 1 h 153"/>
                <a:gd name="T32" fmla="*/ 9 w 173"/>
                <a:gd name="T33" fmla="*/ 15 h 153"/>
                <a:gd name="T34" fmla="*/ 0 w 173"/>
                <a:gd name="T35" fmla="*/ 20 h 153"/>
                <a:gd name="T36" fmla="*/ 7 w 173"/>
                <a:gd name="T37" fmla="*/ 27 h 153"/>
                <a:gd name="T38" fmla="*/ 19 w 173"/>
                <a:gd name="T39" fmla="*/ 30 h 153"/>
                <a:gd name="T40" fmla="*/ 18 w 173"/>
                <a:gd name="T41" fmla="*/ 39 h 153"/>
                <a:gd name="T42" fmla="*/ 26 w 173"/>
                <a:gd name="T43" fmla="*/ 43 h 153"/>
                <a:gd name="T44" fmla="*/ 26 w 173"/>
                <a:gd name="T45" fmla="*/ 57 h 153"/>
                <a:gd name="T46" fmla="*/ 37 w 173"/>
                <a:gd name="T47" fmla="*/ 60 h 153"/>
                <a:gd name="T48" fmla="*/ 47 w 173"/>
                <a:gd name="T49" fmla="*/ 80 h 153"/>
                <a:gd name="T50" fmla="*/ 75 w 173"/>
                <a:gd name="T51" fmla="*/ 99 h 153"/>
                <a:gd name="T52" fmla="*/ 81 w 173"/>
                <a:gd name="T53" fmla="*/ 120 h 153"/>
                <a:gd name="T54" fmla="*/ 89 w 173"/>
                <a:gd name="T55" fmla="*/ 121 h 153"/>
                <a:gd name="T56" fmla="*/ 125 w 173"/>
                <a:gd name="T57" fmla="*/ 153 h 153"/>
                <a:gd name="T58" fmla="*/ 138 w 173"/>
                <a:gd name="T59" fmla="*/ 137 h 153"/>
                <a:gd name="T60" fmla="*/ 124 w 173"/>
                <a:gd name="T61" fmla="*/ 128 h 153"/>
                <a:gd name="T62" fmla="*/ 125 w 173"/>
                <a:gd name="T63" fmla="*/ 118 h 153"/>
                <a:gd name="T64" fmla="*/ 130 w 173"/>
                <a:gd name="T65" fmla="*/ 118 h 153"/>
                <a:gd name="T66" fmla="*/ 139 w 173"/>
                <a:gd name="T67" fmla="*/ 103 h 153"/>
                <a:gd name="T68" fmla="*/ 150 w 173"/>
                <a:gd name="T69" fmla="*/ 104 h 153"/>
                <a:gd name="T70" fmla="*/ 150 w 173"/>
                <a:gd name="T71" fmla="*/ 89 h 153"/>
                <a:gd name="T72" fmla="*/ 171 w 173"/>
                <a:gd name="T73" fmla="*/ 86 h 153"/>
                <a:gd name="T74" fmla="*/ 159 w 173"/>
                <a:gd name="T75" fmla="*/ 66 h 153"/>
                <a:gd name="T76" fmla="*/ 173 w 173"/>
                <a:gd name="T77" fmla="*/ 64 h 153"/>
                <a:gd name="T78" fmla="*/ 162 w 173"/>
                <a:gd name="T79" fmla="*/ 51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3" h="153">
                  <a:moveTo>
                    <a:pt x="162" y="51"/>
                  </a:moveTo>
                  <a:cubicBezTo>
                    <a:pt x="155" y="49"/>
                    <a:pt x="151" y="52"/>
                    <a:pt x="151" y="52"/>
                  </a:cubicBezTo>
                  <a:cubicBezTo>
                    <a:pt x="151" y="41"/>
                    <a:pt x="151" y="41"/>
                    <a:pt x="151" y="41"/>
                  </a:cubicBezTo>
                  <a:cubicBezTo>
                    <a:pt x="151" y="41"/>
                    <a:pt x="163" y="27"/>
                    <a:pt x="163" y="22"/>
                  </a:cubicBezTo>
                  <a:cubicBezTo>
                    <a:pt x="163" y="17"/>
                    <a:pt x="144" y="23"/>
                    <a:pt x="144" y="23"/>
                  </a:cubicBezTo>
                  <a:cubicBezTo>
                    <a:pt x="141" y="18"/>
                    <a:pt x="141" y="18"/>
                    <a:pt x="141" y="18"/>
                  </a:cubicBezTo>
                  <a:cubicBezTo>
                    <a:pt x="136" y="19"/>
                    <a:pt x="136" y="19"/>
                    <a:pt x="136" y="19"/>
                  </a:cubicBezTo>
                  <a:cubicBezTo>
                    <a:pt x="126" y="8"/>
                    <a:pt x="126" y="8"/>
                    <a:pt x="126" y="8"/>
                  </a:cubicBezTo>
                  <a:cubicBezTo>
                    <a:pt x="126" y="8"/>
                    <a:pt x="115" y="8"/>
                    <a:pt x="109" y="7"/>
                  </a:cubicBezTo>
                  <a:cubicBezTo>
                    <a:pt x="103" y="6"/>
                    <a:pt x="96" y="8"/>
                    <a:pt x="93" y="8"/>
                  </a:cubicBezTo>
                  <a:cubicBezTo>
                    <a:pt x="90" y="8"/>
                    <a:pt x="80" y="5"/>
                    <a:pt x="80" y="5"/>
                  </a:cubicBezTo>
                  <a:cubicBezTo>
                    <a:pt x="71" y="9"/>
                    <a:pt x="71" y="9"/>
                    <a:pt x="71" y="9"/>
                  </a:cubicBezTo>
                  <a:cubicBezTo>
                    <a:pt x="58" y="2"/>
                    <a:pt x="58" y="2"/>
                    <a:pt x="58" y="2"/>
                  </a:cubicBezTo>
                  <a:cubicBezTo>
                    <a:pt x="43" y="4"/>
                    <a:pt x="43" y="4"/>
                    <a:pt x="43" y="4"/>
                  </a:cubicBezTo>
                  <a:cubicBezTo>
                    <a:pt x="28" y="8"/>
                    <a:pt x="28" y="8"/>
                    <a:pt x="28" y="8"/>
                  </a:cubicBezTo>
                  <a:cubicBezTo>
                    <a:pt x="28" y="8"/>
                    <a:pt x="16" y="0"/>
                    <a:pt x="12" y="1"/>
                  </a:cubicBezTo>
                  <a:cubicBezTo>
                    <a:pt x="8" y="2"/>
                    <a:pt x="9" y="15"/>
                    <a:pt x="9" y="15"/>
                  </a:cubicBezTo>
                  <a:cubicBezTo>
                    <a:pt x="0" y="20"/>
                    <a:pt x="0" y="20"/>
                    <a:pt x="0" y="20"/>
                  </a:cubicBezTo>
                  <a:cubicBezTo>
                    <a:pt x="7" y="27"/>
                    <a:pt x="7" y="27"/>
                    <a:pt x="7" y="27"/>
                  </a:cubicBezTo>
                  <a:cubicBezTo>
                    <a:pt x="19" y="30"/>
                    <a:pt x="19" y="30"/>
                    <a:pt x="19" y="30"/>
                  </a:cubicBezTo>
                  <a:cubicBezTo>
                    <a:pt x="18" y="39"/>
                    <a:pt x="18" y="39"/>
                    <a:pt x="18" y="39"/>
                  </a:cubicBezTo>
                  <a:cubicBezTo>
                    <a:pt x="18" y="39"/>
                    <a:pt x="23" y="39"/>
                    <a:pt x="26" y="43"/>
                  </a:cubicBezTo>
                  <a:cubicBezTo>
                    <a:pt x="29" y="47"/>
                    <a:pt x="26" y="57"/>
                    <a:pt x="26" y="57"/>
                  </a:cubicBezTo>
                  <a:cubicBezTo>
                    <a:pt x="37" y="60"/>
                    <a:pt x="37" y="60"/>
                    <a:pt x="37" y="60"/>
                  </a:cubicBezTo>
                  <a:cubicBezTo>
                    <a:pt x="47" y="80"/>
                    <a:pt x="47" y="80"/>
                    <a:pt x="47" y="80"/>
                  </a:cubicBezTo>
                  <a:cubicBezTo>
                    <a:pt x="47" y="80"/>
                    <a:pt x="51" y="84"/>
                    <a:pt x="75" y="99"/>
                  </a:cubicBezTo>
                  <a:cubicBezTo>
                    <a:pt x="90" y="108"/>
                    <a:pt x="86" y="116"/>
                    <a:pt x="81" y="120"/>
                  </a:cubicBezTo>
                  <a:cubicBezTo>
                    <a:pt x="89" y="121"/>
                    <a:pt x="89" y="121"/>
                    <a:pt x="89" y="121"/>
                  </a:cubicBezTo>
                  <a:cubicBezTo>
                    <a:pt x="89" y="121"/>
                    <a:pt x="116" y="148"/>
                    <a:pt x="125" y="153"/>
                  </a:cubicBezTo>
                  <a:cubicBezTo>
                    <a:pt x="138" y="137"/>
                    <a:pt x="138" y="137"/>
                    <a:pt x="138" y="137"/>
                  </a:cubicBezTo>
                  <a:cubicBezTo>
                    <a:pt x="138" y="137"/>
                    <a:pt x="127" y="131"/>
                    <a:pt x="124" y="128"/>
                  </a:cubicBezTo>
                  <a:cubicBezTo>
                    <a:pt x="121" y="125"/>
                    <a:pt x="125" y="118"/>
                    <a:pt x="125" y="118"/>
                  </a:cubicBezTo>
                  <a:cubicBezTo>
                    <a:pt x="130" y="118"/>
                    <a:pt x="130" y="118"/>
                    <a:pt x="130" y="118"/>
                  </a:cubicBezTo>
                  <a:cubicBezTo>
                    <a:pt x="130" y="118"/>
                    <a:pt x="136" y="107"/>
                    <a:pt x="139" y="103"/>
                  </a:cubicBezTo>
                  <a:cubicBezTo>
                    <a:pt x="142" y="99"/>
                    <a:pt x="150" y="104"/>
                    <a:pt x="150" y="104"/>
                  </a:cubicBezTo>
                  <a:cubicBezTo>
                    <a:pt x="150" y="89"/>
                    <a:pt x="150" y="89"/>
                    <a:pt x="150" y="89"/>
                  </a:cubicBezTo>
                  <a:cubicBezTo>
                    <a:pt x="150" y="89"/>
                    <a:pt x="169" y="93"/>
                    <a:pt x="171" y="86"/>
                  </a:cubicBezTo>
                  <a:cubicBezTo>
                    <a:pt x="173" y="79"/>
                    <a:pt x="159" y="66"/>
                    <a:pt x="159" y="66"/>
                  </a:cubicBezTo>
                  <a:cubicBezTo>
                    <a:pt x="173" y="64"/>
                    <a:pt x="173" y="64"/>
                    <a:pt x="173" y="64"/>
                  </a:cubicBezTo>
                  <a:cubicBezTo>
                    <a:pt x="173" y="64"/>
                    <a:pt x="169" y="53"/>
                    <a:pt x="162" y="51"/>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07" name="Freeform 68"/>
            <p:cNvSpPr>
              <a:spLocks/>
            </p:cNvSpPr>
            <p:nvPr/>
          </p:nvSpPr>
          <p:spPr bwMode="gray">
            <a:xfrm>
              <a:off x="4592638" y="2579688"/>
              <a:ext cx="136525" cy="103188"/>
            </a:xfrm>
            <a:custGeom>
              <a:avLst/>
              <a:gdLst>
                <a:gd name="T0" fmla="*/ 232 w 246"/>
                <a:gd name="T1" fmla="*/ 77 h 186"/>
                <a:gd name="T2" fmla="*/ 228 w 246"/>
                <a:gd name="T3" fmla="*/ 65 h 186"/>
                <a:gd name="T4" fmla="*/ 226 w 246"/>
                <a:gd name="T5" fmla="*/ 52 h 186"/>
                <a:gd name="T6" fmla="*/ 217 w 246"/>
                <a:gd name="T7" fmla="*/ 32 h 186"/>
                <a:gd name="T8" fmla="*/ 183 w 246"/>
                <a:gd name="T9" fmla="*/ 41 h 186"/>
                <a:gd name="T10" fmla="*/ 168 w 246"/>
                <a:gd name="T11" fmla="*/ 34 h 186"/>
                <a:gd name="T12" fmla="*/ 139 w 246"/>
                <a:gd name="T13" fmla="*/ 13 h 186"/>
                <a:gd name="T14" fmla="*/ 112 w 246"/>
                <a:gd name="T15" fmla="*/ 2 h 186"/>
                <a:gd name="T16" fmla="*/ 93 w 246"/>
                <a:gd name="T17" fmla="*/ 14 h 186"/>
                <a:gd name="T18" fmla="*/ 87 w 246"/>
                <a:gd name="T19" fmla="*/ 31 h 186"/>
                <a:gd name="T20" fmla="*/ 70 w 246"/>
                <a:gd name="T21" fmla="*/ 40 h 186"/>
                <a:gd name="T22" fmla="*/ 59 w 246"/>
                <a:gd name="T23" fmla="*/ 53 h 186"/>
                <a:gd name="T24" fmla="*/ 40 w 246"/>
                <a:gd name="T25" fmla="*/ 45 h 186"/>
                <a:gd name="T26" fmla="*/ 22 w 246"/>
                <a:gd name="T27" fmla="*/ 54 h 186"/>
                <a:gd name="T28" fmla="*/ 14 w 246"/>
                <a:gd name="T29" fmla="*/ 57 h 186"/>
                <a:gd name="T30" fmla="*/ 1 w 246"/>
                <a:gd name="T31" fmla="*/ 67 h 186"/>
                <a:gd name="T32" fmla="*/ 31 w 246"/>
                <a:gd name="T33" fmla="*/ 70 h 186"/>
                <a:gd name="T34" fmla="*/ 54 w 246"/>
                <a:gd name="T35" fmla="*/ 87 h 186"/>
                <a:gd name="T36" fmla="*/ 68 w 246"/>
                <a:gd name="T37" fmla="*/ 123 h 186"/>
                <a:gd name="T38" fmla="*/ 98 w 246"/>
                <a:gd name="T39" fmla="*/ 161 h 186"/>
                <a:gd name="T40" fmla="*/ 146 w 246"/>
                <a:gd name="T41" fmla="*/ 171 h 186"/>
                <a:gd name="T42" fmla="*/ 165 w 246"/>
                <a:gd name="T43" fmla="*/ 186 h 186"/>
                <a:gd name="T44" fmla="*/ 131 w 246"/>
                <a:gd name="T45" fmla="*/ 146 h 186"/>
                <a:gd name="T46" fmla="*/ 110 w 246"/>
                <a:gd name="T47" fmla="*/ 123 h 186"/>
                <a:gd name="T48" fmla="*/ 102 w 246"/>
                <a:gd name="T49" fmla="*/ 105 h 186"/>
                <a:gd name="T50" fmla="*/ 91 w 246"/>
                <a:gd name="T51" fmla="*/ 93 h 186"/>
                <a:gd name="T52" fmla="*/ 93 w 246"/>
                <a:gd name="T53" fmla="*/ 81 h 186"/>
                <a:gd name="T54" fmla="*/ 112 w 246"/>
                <a:gd name="T55" fmla="*/ 74 h 186"/>
                <a:gd name="T56" fmla="*/ 142 w 246"/>
                <a:gd name="T57" fmla="*/ 68 h 186"/>
                <a:gd name="T58" fmla="*/ 164 w 246"/>
                <a:gd name="T59" fmla="*/ 71 h 186"/>
                <a:gd name="T60" fmla="*/ 193 w 246"/>
                <a:gd name="T61" fmla="*/ 73 h 186"/>
                <a:gd name="T62" fmla="*/ 220 w 246"/>
                <a:gd name="T63" fmla="*/ 8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6" h="186">
                  <a:moveTo>
                    <a:pt x="230" y="84"/>
                  </a:moveTo>
                  <a:cubicBezTo>
                    <a:pt x="232" y="77"/>
                    <a:pt x="232" y="77"/>
                    <a:pt x="232" y="77"/>
                  </a:cubicBezTo>
                  <a:cubicBezTo>
                    <a:pt x="232" y="77"/>
                    <a:pt x="246" y="74"/>
                    <a:pt x="245" y="71"/>
                  </a:cubicBezTo>
                  <a:cubicBezTo>
                    <a:pt x="244" y="68"/>
                    <a:pt x="228" y="65"/>
                    <a:pt x="228" y="65"/>
                  </a:cubicBezTo>
                  <a:cubicBezTo>
                    <a:pt x="231" y="53"/>
                    <a:pt x="231" y="53"/>
                    <a:pt x="231" y="53"/>
                  </a:cubicBezTo>
                  <a:cubicBezTo>
                    <a:pt x="226" y="52"/>
                    <a:pt x="226" y="52"/>
                    <a:pt x="226" y="52"/>
                  </a:cubicBezTo>
                  <a:cubicBezTo>
                    <a:pt x="222" y="34"/>
                    <a:pt x="222" y="34"/>
                    <a:pt x="222" y="34"/>
                  </a:cubicBezTo>
                  <a:cubicBezTo>
                    <a:pt x="217" y="32"/>
                    <a:pt x="217" y="32"/>
                    <a:pt x="217" y="32"/>
                  </a:cubicBezTo>
                  <a:cubicBezTo>
                    <a:pt x="211" y="38"/>
                    <a:pt x="211" y="38"/>
                    <a:pt x="211" y="38"/>
                  </a:cubicBezTo>
                  <a:cubicBezTo>
                    <a:pt x="183" y="41"/>
                    <a:pt x="183" y="41"/>
                    <a:pt x="183" y="41"/>
                  </a:cubicBezTo>
                  <a:cubicBezTo>
                    <a:pt x="180" y="34"/>
                    <a:pt x="180" y="34"/>
                    <a:pt x="180" y="34"/>
                  </a:cubicBezTo>
                  <a:cubicBezTo>
                    <a:pt x="168" y="34"/>
                    <a:pt x="168" y="34"/>
                    <a:pt x="168" y="34"/>
                  </a:cubicBezTo>
                  <a:cubicBezTo>
                    <a:pt x="159" y="30"/>
                    <a:pt x="159" y="30"/>
                    <a:pt x="159" y="30"/>
                  </a:cubicBezTo>
                  <a:cubicBezTo>
                    <a:pt x="159" y="30"/>
                    <a:pt x="141" y="16"/>
                    <a:pt x="139" y="13"/>
                  </a:cubicBezTo>
                  <a:cubicBezTo>
                    <a:pt x="137" y="10"/>
                    <a:pt x="125" y="0"/>
                    <a:pt x="125" y="0"/>
                  </a:cubicBezTo>
                  <a:cubicBezTo>
                    <a:pt x="112" y="2"/>
                    <a:pt x="112" y="2"/>
                    <a:pt x="112" y="2"/>
                  </a:cubicBezTo>
                  <a:cubicBezTo>
                    <a:pt x="112" y="2"/>
                    <a:pt x="115" y="6"/>
                    <a:pt x="109" y="10"/>
                  </a:cubicBezTo>
                  <a:cubicBezTo>
                    <a:pt x="103" y="14"/>
                    <a:pt x="93" y="14"/>
                    <a:pt x="93" y="14"/>
                  </a:cubicBezTo>
                  <a:cubicBezTo>
                    <a:pt x="93" y="14"/>
                    <a:pt x="84" y="14"/>
                    <a:pt x="84" y="18"/>
                  </a:cubicBezTo>
                  <a:cubicBezTo>
                    <a:pt x="84" y="22"/>
                    <a:pt x="87" y="31"/>
                    <a:pt x="87" y="31"/>
                  </a:cubicBezTo>
                  <a:cubicBezTo>
                    <a:pt x="80" y="39"/>
                    <a:pt x="80" y="39"/>
                    <a:pt x="80" y="39"/>
                  </a:cubicBezTo>
                  <a:cubicBezTo>
                    <a:pt x="70" y="40"/>
                    <a:pt x="70" y="40"/>
                    <a:pt x="70" y="40"/>
                  </a:cubicBezTo>
                  <a:cubicBezTo>
                    <a:pt x="70" y="40"/>
                    <a:pt x="74" y="51"/>
                    <a:pt x="69" y="53"/>
                  </a:cubicBezTo>
                  <a:cubicBezTo>
                    <a:pt x="64" y="55"/>
                    <a:pt x="59" y="53"/>
                    <a:pt x="59" y="53"/>
                  </a:cubicBezTo>
                  <a:cubicBezTo>
                    <a:pt x="59" y="53"/>
                    <a:pt x="52" y="54"/>
                    <a:pt x="46" y="53"/>
                  </a:cubicBezTo>
                  <a:cubicBezTo>
                    <a:pt x="40" y="52"/>
                    <a:pt x="40" y="45"/>
                    <a:pt x="40" y="45"/>
                  </a:cubicBezTo>
                  <a:cubicBezTo>
                    <a:pt x="34" y="53"/>
                    <a:pt x="34" y="53"/>
                    <a:pt x="34" y="53"/>
                  </a:cubicBezTo>
                  <a:cubicBezTo>
                    <a:pt x="22" y="54"/>
                    <a:pt x="22" y="54"/>
                    <a:pt x="22" y="54"/>
                  </a:cubicBezTo>
                  <a:cubicBezTo>
                    <a:pt x="16" y="48"/>
                    <a:pt x="16" y="48"/>
                    <a:pt x="16" y="48"/>
                  </a:cubicBezTo>
                  <a:cubicBezTo>
                    <a:pt x="14" y="57"/>
                    <a:pt x="14" y="57"/>
                    <a:pt x="14" y="57"/>
                  </a:cubicBezTo>
                  <a:cubicBezTo>
                    <a:pt x="5" y="58"/>
                    <a:pt x="5" y="58"/>
                    <a:pt x="5" y="58"/>
                  </a:cubicBezTo>
                  <a:cubicBezTo>
                    <a:pt x="3" y="62"/>
                    <a:pt x="1" y="67"/>
                    <a:pt x="1" y="67"/>
                  </a:cubicBezTo>
                  <a:cubicBezTo>
                    <a:pt x="1" y="67"/>
                    <a:pt x="0" y="97"/>
                    <a:pt x="8" y="88"/>
                  </a:cubicBezTo>
                  <a:cubicBezTo>
                    <a:pt x="16" y="79"/>
                    <a:pt x="27" y="64"/>
                    <a:pt x="31" y="70"/>
                  </a:cubicBezTo>
                  <a:cubicBezTo>
                    <a:pt x="35" y="76"/>
                    <a:pt x="35" y="91"/>
                    <a:pt x="35" y="91"/>
                  </a:cubicBezTo>
                  <a:cubicBezTo>
                    <a:pt x="54" y="87"/>
                    <a:pt x="54" y="87"/>
                    <a:pt x="54" y="87"/>
                  </a:cubicBezTo>
                  <a:cubicBezTo>
                    <a:pt x="54" y="87"/>
                    <a:pt x="48" y="107"/>
                    <a:pt x="60" y="111"/>
                  </a:cubicBezTo>
                  <a:cubicBezTo>
                    <a:pt x="72" y="115"/>
                    <a:pt x="68" y="123"/>
                    <a:pt x="68" y="123"/>
                  </a:cubicBezTo>
                  <a:cubicBezTo>
                    <a:pt x="97" y="144"/>
                    <a:pt x="97" y="144"/>
                    <a:pt x="97" y="144"/>
                  </a:cubicBezTo>
                  <a:cubicBezTo>
                    <a:pt x="98" y="161"/>
                    <a:pt x="98" y="161"/>
                    <a:pt x="98" y="161"/>
                  </a:cubicBezTo>
                  <a:cubicBezTo>
                    <a:pt x="125" y="162"/>
                    <a:pt x="125" y="162"/>
                    <a:pt x="125" y="162"/>
                  </a:cubicBezTo>
                  <a:cubicBezTo>
                    <a:pt x="125" y="162"/>
                    <a:pt x="142" y="163"/>
                    <a:pt x="146" y="171"/>
                  </a:cubicBezTo>
                  <a:cubicBezTo>
                    <a:pt x="146" y="171"/>
                    <a:pt x="142" y="180"/>
                    <a:pt x="148" y="184"/>
                  </a:cubicBezTo>
                  <a:cubicBezTo>
                    <a:pt x="165" y="186"/>
                    <a:pt x="165" y="186"/>
                    <a:pt x="165" y="186"/>
                  </a:cubicBezTo>
                  <a:cubicBezTo>
                    <a:pt x="170" y="182"/>
                    <a:pt x="174" y="174"/>
                    <a:pt x="159" y="165"/>
                  </a:cubicBezTo>
                  <a:cubicBezTo>
                    <a:pt x="135" y="150"/>
                    <a:pt x="131" y="146"/>
                    <a:pt x="131" y="146"/>
                  </a:cubicBezTo>
                  <a:cubicBezTo>
                    <a:pt x="121" y="126"/>
                    <a:pt x="121" y="126"/>
                    <a:pt x="121" y="126"/>
                  </a:cubicBezTo>
                  <a:cubicBezTo>
                    <a:pt x="110" y="123"/>
                    <a:pt x="110" y="123"/>
                    <a:pt x="110" y="123"/>
                  </a:cubicBezTo>
                  <a:cubicBezTo>
                    <a:pt x="110" y="123"/>
                    <a:pt x="113" y="113"/>
                    <a:pt x="110" y="109"/>
                  </a:cubicBezTo>
                  <a:cubicBezTo>
                    <a:pt x="107" y="105"/>
                    <a:pt x="102" y="105"/>
                    <a:pt x="102" y="105"/>
                  </a:cubicBezTo>
                  <a:cubicBezTo>
                    <a:pt x="103" y="96"/>
                    <a:pt x="103" y="96"/>
                    <a:pt x="103" y="96"/>
                  </a:cubicBezTo>
                  <a:cubicBezTo>
                    <a:pt x="91" y="93"/>
                    <a:pt x="91" y="93"/>
                    <a:pt x="91" y="93"/>
                  </a:cubicBezTo>
                  <a:cubicBezTo>
                    <a:pt x="84" y="86"/>
                    <a:pt x="84" y="86"/>
                    <a:pt x="84" y="86"/>
                  </a:cubicBezTo>
                  <a:cubicBezTo>
                    <a:pt x="93" y="81"/>
                    <a:pt x="93" y="81"/>
                    <a:pt x="93" y="81"/>
                  </a:cubicBezTo>
                  <a:cubicBezTo>
                    <a:pt x="93" y="81"/>
                    <a:pt x="92" y="68"/>
                    <a:pt x="96" y="67"/>
                  </a:cubicBezTo>
                  <a:cubicBezTo>
                    <a:pt x="100" y="66"/>
                    <a:pt x="112" y="74"/>
                    <a:pt x="112" y="74"/>
                  </a:cubicBezTo>
                  <a:cubicBezTo>
                    <a:pt x="127" y="70"/>
                    <a:pt x="127" y="70"/>
                    <a:pt x="127" y="70"/>
                  </a:cubicBezTo>
                  <a:cubicBezTo>
                    <a:pt x="142" y="68"/>
                    <a:pt x="142" y="68"/>
                    <a:pt x="142" y="68"/>
                  </a:cubicBezTo>
                  <a:cubicBezTo>
                    <a:pt x="155" y="75"/>
                    <a:pt x="155" y="75"/>
                    <a:pt x="155" y="75"/>
                  </a:cubicBezTo>
                  <a:cubicBezTo>
                    <a:pt x="164" y="71"/>
                    <a:pt x="164" y="71"/>
                    <a:pt x="164" y="71"/>
                  </a:cubicBezTo>
                  <a:cubicBezTo>
                    <a:pt x="164" y="71"/>
                    <a:pt x="174" y="74"/>
                    <a:pt x="177" y="74"/>
                  </a:cubicBezTo>
                  <a:cubicBezTo>
                    <a:pt x="180" y="74"/>
                    <a:pt x="187" y="72"/>
                    <a:pt x="193" y="73"/>
                  </a:cubicBezTo>
                  <a:cubicBezTo>
                    <a:pt x="199" y="74"/>
                    <a:pt x="210" y="74"/>
                    <a:pt x="210" y="74"/>
                  </a:cubicBezTo>
                  <a:cubicBezTo>
                    <a:pt x="220" y="85"/>
                    <a:pt x="220" y="85"/>
                    <a:pt x="220" y="85"/>
                  </a:cubicBezTo>
                  <a:lnTo>
                    <a:pt x="230" y="84"/>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08" name="Freeform 69"/>
            <p:cNvSpPr>
              <a:spLocks/>
            </p:cNvSpPr>
            <p:nvPr/>
          </p:nvSpPr>
          <p:spPr bwMode="gray">
            <a:xfrm>
              <a:off x="4584700" y="2566988"/>
              <a:ext cx="77787" cy="44450"/>
            </a:xfrm>
            <a:custGeom>
              <a:avLst/>
              <a:gdLst>
                <a:gd name="T0" fmla="*/ 18 w 138"/>
                <a:gd name="T1" fmla="*/ 80 h 80"/>
                <a:gd name="T2" fmla="*/ 27 w 138"/>
                <a:gd name="T3" fmla="*/ 79 h 80"/>
                <a:gd name="T4" fmla="*/ 29 w 138"/>
                <a:gd name="T5" fmla="*/ 70 h 80"/>
                <a:gd name="T6" fmla="*/ 35 w 138"/>
                <a:gd name="T7" fmla="*/ 76 h 80"/>
                <a:gd name="T8" fmla="*/ 47 w 138"/>
                <a:gd name="T9" fmla="*/ 75 h 80"/>
                <a:gd name="T10" fmla="*/ 53 w 138"/>
                <a:gd name="T11" fmla="*/ 67 h 80"/>
                <a:gd name="T12" fmla="*/ 59 w 138"/>
                <a:gd name="T13" fmla="*/ 75 h 80"/>
                <a:gd name="T14" fmla="*/ 72 w 138"/>
                <a:gd name="T15" fmla="*/ 75 h 80"/>
                <a:gd name="T16" fmla="*/ 82 w 138"/>
                <a:gd name="T17" fmla="*/ 75 h 80"/>
                <a:gd name="T18" fmla="*/ 83 w 138"/>
                <a:gd name="T19" fmla="*/ 62 h 80"/>
                <a:gd name="T20" fmla="*/ 93 w 138"/>
                <a:gd name="T21" fmla="*/ 61 h 80"/>
                <a:gd name="T22" fmla="*/ 100 w 138"/>
                <a:gd name="T23" fmla="*/ 53 h 80"/>
                <a:gd name="T24" fmla="*/ 97 w 138"/>
                <a:gd name="T25" fmla="*/ 40 h 80"/>
                <a:gd name="T26" fmla="*/ 106 w 138"/>
                <a:gd name="T27" fmla="*/ 36 h 80"/>
                <a:gd name="T28" fmla="*/ 122 w 138"/>
                <a:gd name="T29" fmla="*/ 32 h 80"/>
                <a:gd name="T30" fmla="*/ 125 w 138"/>
                <a:gd name="T31" fmla="*/ 24 h 80"/>
                <a:gd name="T32" fmla="*/ 138 w 138"/>
                <a:gd name="T33" fmla="*/ 22 h 80"/>
                <a:gd name="T34" fmla="*/ 128 w 138"/>
                <a:gd name="T35" fmla="*/ 15 h 80"/>
                <a:gd name="T36" fmla="*/ 125 w 138"/>
                <a:gd name="T37" fmla="*/ 5 h 80"/>
                <a:gd name="T38" fmla="*/ 118 w 138"/>
                <a:gd name="T39" fmla="*/ 0 h 80"/>
                <a:gd name="T40" fmla="*/ 115 w 138"/>
                <a:gd name="T41" fmla="*/ 8 h 80"/>
                <a:gd name="T42" fmla="*/ 113 w 138"/>
                <a:gd name="T43" fmla="*/ 20 h 80"/>
                <a:gd name="T44" fmla="*/ 97 w 138"/>
                <a:gd name="T45" fmla="*/ 15 h 80"/>
                <a:gd name="T46" fmla="*/ 90 w 138"/>
                <a:gd name="T47" fmla="*/ 19 h 80"/>
                <a:gd name="T48" fmla="*/ 57 w 138"/>
                <a:gd name="T49" fmla="*/ 18 h 80"/>
                <a:gd name="T50" fmla="*/ 50 w 138"/>
                <a:gd name="T51" fmla="*/ 27 h 80"/>
                <a:gd name="T52" fmla="*/ 35 w 138"/>
                <a:gd name="T53" fmla="*/ 25 h 80"/>
                <a:gd name="T54" fmla="*/ 26 w 138"/>
                <a:gd name="T55" fmla="*/ 21 h 80"/>
                <a:gd name="T56" fmla="*/ 14 w 138"/>
                <a:gd name="T57" fmla="*/ 25 h 80"/>
                <a:gd name="T58" fmla="*/ 5 w 138"/>
                <a:gd name="T59" fmla="*/ 25 h 80"/>
                <a:gd name="T60" fmla="*/ 0 w 138"/>
                <a:gd name="T61" fmla="*/ 34 h 80"/>
                <a:gd name="T62" fmla="*/ 8 w 138"/>
                <a:gd name="T63" fmla="*/ 37 h 80"/>
                <a:gd name="T64" fmla="*/ 3 w 138"/>
                <a:gd name="T65" fmla="*/ 62 h 80"/>
                <a:gd name="T66" fmla="*/ 23 w 138"/>
                <a:gd name="T67" fmla="*/ 70 h 80"/>
                <a:gd name="T68" fmla="*/ 18 w 138"/>
                <a:gd name="T69" fmla="*/ 8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8" h="80">
                  <a:moveTo>
                    <a:pt x="18" y="80"/>
                  </a:moveTo>
                  <a:cubicBezTo>
                    <a:pt x="27" y="79"/>
                    <a:pt x="27" y="79"/>
                    <a:pt x="27" y="79"/>
                  </a:cubicBezTo>
                  <a:cubicBezTo>
                    <a:pt x="29" y="70"/>
                    <a:pt x="29" y="70"/>
                    <a:pt x="29" y="70"/>
                  </a:cubicBezTo>
                  <a:cubicBezTo>
                    <a:pt x="35" y="76"/>
                    <a:pt x="35" y="76"/>
                    <a:pt x="35" y="76"/>
                  </a:cubicBezTo>
                  <a:cubicBezTo>
                    <a:pt x="47" y="75"/>
                    <a:pt x="47" y="75"/>
                    <a:pt x="47" y="75"/>
                  </a:cubicBezTo>
                  <a:cubicBezTo>
                    <a:pt x="53" y="67"/>
                    <a:pt x="53" y="67"/>
                    <a:pt x="53" y="67"/>
                  </a:cubicBezTo>
                  <a:cubicBezTo>
                    <a:pt x="53" y="67"/>
                    <a:pt x="53" y="74"/>
                    <a:pt x="59" y="75"/>
                  </a:cubicBezTo>
                  <a:cubicBezTo>
                    <a:pt x="65" y="76"/>
                    <a:pt x="72" y="75"/>
                    <a:pt x="72" y="75"/>
                  </a:cubicBezTo>
                  <a:cubicBezTo>
                    <a:pt x="72" y="75"/>
                    <a:pt x="77" y="77"/>
                    <a:pt x="82" y="75"/>
                  </a:cubicBezTo>
                  <a:cubicBezTo>
                    <a:pt x="87" y="73"/>
                    <a:pt x="83" y="62"/>
                    <a:pt x="83" y="62"/>
                  </a:cubicBezTo>
                  <a:cubicBezTo>
                    <a:pt x="93" y="61"/>
                    <a:pt x="93" y="61"/>
                    <a:pt x="93" y="61"/>
                  </a:cubicBezTo>
                  <a:cubicBezTo>
                    <a:pt x="100" y="53"/>
                    <a:pt x="100" y="53"/>
                    <a:pt x="100" y="53"/>
                  </a:cubicBezTo>
                  <a:cubicBezTo>
                    <a:pt x="100" y="53"/>
                    <a:pt x="97" y="44"/>
                    <a:pt x="97" y="40"/>
                  </a:cubicBezTo>
                  <a:cubicBezTo>
                    <a:pt x="97" y="36"/>
                    <a:pt x="106" y="36"/>
                    <a:pt x="106" y="36"/>
                  </a:cubicBezTo>
                  <a:cubicBezTo>
                    <a:pt x="106" y="36"/>
                    <a:pt x="116" y="36"/>
                    <a:pt x="122" y="32"/>
                  </a:cubicBezTo>
                  <a:cubicBezTo>
                    <a:pt x="128" y="28"/>
                    <a:pt x="125" y="24"/>
                    <a:pt x="125" y="24"/>
                  </a:cubicBezTo>
                  <a:cubicBezTo>
                    <a:pt x="138" y="22"/>
                    <a:pt x="138" y="22"/>
                    <a:pt x="138" y="22"/>
                  </a:cubicBezTo>
                  <a:cubicBezTo>
                    <a:pt x="128" y="15"/>
                    <a:pt x="128" y="15"/>
                    <a:pt x="128" y="15"/>
                  </a:cubicBezTo>
                  <a:cubicBezTo>
                    <a:pt x="125" y="5"/>
                    <a:pt x="125" y="5"/>
                    <a:pt x="125" y="5"/>
                  </a:cubicBezTo>
                  <a:cubicBezTo>
                    <a:pt x="118" y="0"/>
                    <a:pt x="118" y="0"/>
                    <a:pt x="118" y="0"/>
                  </a:cubicBezTo>
                  <a:cubicBezTo>
                    <a:pt x="115" y="8"/>
                    <a:pt x="115" y="8"/>
                    <a:pt x="115" y="8"/>
                  </a:cubicBezTo>
                  <a:cubicBezTo>
                    <a:pt x="113" y="20"/>
                    <a:pt x="113" y="20"/>
                    <a:pt x="113" y="20"/>
                  </a:cubicBezTo>
                  <a:cubicBezTo>
                    <a:pt x="97" y="15"/>
                    <a:pt x="97" y="15"/>
                    <a:pt x="97" y="15"/>
                  </a:cubicBezTo>
                  <a:cubicBezTo>
                    <a:pt x="90" y="19"/>
                    <a:pt x="90" y="19"/>
                    <a:pt x="90" y="19"/>
                  </a:cubicBezTo>
                  <a:cubicBezTo>
                    <a:pt x="57" y="18"/>
                    <a:pt x="57" y="18"/>
                    <a:pt x="57" y="18"/>
                  </a:cubicBezTo>
                  <a:cubicBezTo>
                    <a:pt x="57" y="18"/>
                    <a:pt x="57" y="27"/>
                    <a:pt x="50" y="27"/>
                  </a:cubicBezTo>
                  <a:cubicBezTo>
                    <a:pt x="43" y="27"/>
                    <a:pt x="35" y="25"/>
                    <a:pt x="35" y="25"/>
                  </a:cubicBezTo>
                  <a:cubicBezTo>
                    <a:pt x="35" y="25"/>
                    <a:pt x="29" y="21"/>
                    <a:pt x="26" y="21"/>
                  </a:cubicBezTo>
                  <a:cubicBezTo>
                    <a:pt x="23" y="21"/>
                    <a:pt x="14" y="25"/>
                    <a:pt x="14" y="25"/>
                  </a:cubicBezTo>
                  <a:cubicBezTo>
                    <a:pt x="5" y="25"/>
                    <a:pt x="5" y="25"/>
                    <a:pt x="5" y="25"/>
                  </a:cubicBezTo>
                  <a:cubicBezTo>
                    <a:pt x="4" y="30"/>
                    <a:pt x="0" y="34"/>
                    <a:pt x="0" y="34"/>
                  </a:cubicBezTo>
                  <a:cubicBezTo>
                    <a:pt x="8" y="37"/>
                    <a:pt x="8" y="37"/>
                    <a:pt x="8" y="37"/>
                  </a:cubicBezTo>
                  <a:cubicBezTo>
                    <a:pt x="3" y="62"/>
                    <a:pt x="3" y="62"/>
                    <a:pt x="3" y="62"/>
                  </a:cubicBezTo>
                  <a:cubicBezTo>
                    <a:pt x="3" y="62"/>
                    <a:pt x="26" y="66"/>
                    <a:pt x="23" y="70"/>
                  </a:cubicBezTo>
                  <a:cubicBezTo>
                    <a:pt x="22" y="72"/>
                    <a:pt x="20" y="76"/>
                    <a:pt x="18" y="80"/>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09" name="Freeform 70"/>
            <p:cNvSpPr>
              <a:spLocks/>
            </p:cNvSpPr>
            <p:nvPr/>
          </p:nvSpPr>
          <p:spPr bwMode="gray">
            <a:xfrm>
              <a:off x="4665663" y="2489200"/>
              <a:ext cx="133350" cy="55563"/>
            </a:xfrm>
            <a:custGeom>
              <a:avLst/>
              <a:gdLst>
                <a:gd name="T0" fmla="*/ 233 w 239"/>
                <a:gd name="T1" fmla="*/ 23 h 98"/>
                <a:gd name="T2" fmla="*/ 214 w 239"/>
                <a:gd name="T3" fmla="*/ 19 h 98"/>
                <a:gd name="T4" fmla="*/ 194 w 239"/>
                <a:gd name="T5" fmla="*/ 6 h 98"/>
                <a:gd name="T6" fmla="*/ 170 w 239"/>
                <a:gd name="T7" fmla="*/ 14 h 98"/>
                <a:gd name="T8" fmla="*/ 159 w 239"/>
                <a:gd name="T9" fmla="*/ 10 h 98"/>
                <a:gd name="T10" fmla="*/ 140 w 239"/>
                <a:gd name="T11" fmla="*/ 9 h 98"/>
                <a:gd name="T12" fmla="*/ 132 w 239"/>
                <a:gd name="T13" fmla="*/ 18 h 98"/>
                <a:gd name="T14" fmla="*/ 126 w 239"/>
                <a:gd name="T15" fmla="*/ 11 h 98"/>
                <a:gd name="T16" fmla="*/ 119 w 239"/>
                <a:gd name="T17" fmla="*/ 11 h 98"/>
                <a:gd name="T18" fmla="*/ 111 w 239"/>
                <a:gd name="T19" fmla="*/ 2 h 98"/>
                <a:gd name="T20" fmla="*/ 91 w 239"/>
                <a:gd name="T21" fmla="*/ 8 h 98"/>
                <a:gd name="T22" fmla="*/ 83 w 239"/>
                <a:gd name="T23" fmla="*/ 2 h 98"/>
                <a:gd name="T24" fmla="*/ 72 w 239"/>
                <a:gd name="T25" fmla="*/ 9 h 98"/>
                <a:gd name="T26" fmla="*/ 58 w 239"/>
                <a:gd name="T27" fmla="*/ 15 h 98"/>
                <a:gd name="T28" fmla="*/ 58 w 239"/>
                <a:gd name="T29" fmla="*/ 28 h 98"/>
                <a:gd name="T30" fmla="*/ 36 w 239"/>
                <a:gd name="T31" fmla="*/ 40 h 98"/>
                <a:gd name="T32" fmla="*/ 24 w 239"/>
                <a:gd name="T33" fmla="*/ 39 h 98"/>
                <a:gd name="T34" fmla="*/ 12 w 239"/>
                <a:gd name="T35" fmla="*/ 41 h 98"/>
                <a:gd name="T36" fmla="*/ 3 w 239"/>
                <a:gd name="T37" fmla="*/ 46 h 98"/>
                <a:gd name="T38" fmla="*/ 1 w 239"/>
                <a:gd name="T39" fmla="*/ 60 h 98"/>
                <a:gd name="T40" fmla="*/ 0 w 239"/>
                <a:gd name="T41" fmla="*/ 70 h 98"/>
                <a:gd name="T42" fmla="*/ 7 w 239"/>
                <a:gd name="T43" fmla="*/ 75 h 98"/>
                <a:gd name="T44" fmla="*/ 7 w 239"/>
                <a:gd name="T45" fmla="*/ 87 h 98"/>
                <a:gd name="T46" fmla="*/ 7 w 239"/>
                <a:gd name="T47" fmla="*/ 87 h 98"/>
                <a:gd name="T48" fmla="*/ 13 w 239"/>
                <a:gd name="T49" fmla="*/ 92 h 98"/>
                <a:gd name="T50" fmla="*/ 20 w 239"/>
                <a:gd name="T51" fmla="*/ 81 h 98"/>
                <a:gd name="T52" fmla="*/ 40 w 239"/>
                <a:gd name="T53" fmla="*/ 97 h 98"/>
                <a:gd name="T54" fmla="*/ 81 w 239"/>
                <a:gd name="T55" fmla="*/ 94 h 98"/>
                <a:gd name="T56" fmla="*/ 87 w 239"/>
                <a:gd name="T57" fmla="*/ 78 h 98"/>
                <a:gd name="T58" fmla="*/ 111 w 239"/>
                <a:gd name="T59" fmla="*/ 81 h 98"/>
                <a:gd name="T60" fmla="*/ 118 w 239"/>
                <a:gd name="T61" fmla="*/ 73 h 98"/>
                <a:gd name="T62" fmla="*/ 144 w 239"/>
                <a:gd name="T63" fmla="*/ 69 h 98"/>
                <a:gd name="T64" fmla="*/ 155 w 239"/>
                <a:gd name="T65" fmla="*/ 53 h 98"/>
                <a:gd name="T66" fmla="*/ 171 w 239"/>
                <a:gd name="T67" fmla="*/ 53 h 98"/>
                <a:gd name="T68" fmla="*/ 174 w 239"/>
                <a:gd name="T69" fmla="*/ 63 h 98"/>
                <a:gd name="T70" fmla="*/ 183 w 239"/>
                <a:gd name="T71" fmla="*/ 64 h 98"/>
                <a:gd name="T72" fmla="*/ 188 w 239"/>
                <a:gd name="T73" fmla="*/ 53 h 98"/>
                <a:gd name="T74" fmla="*/ 194 w 239"/>
                <a:gd name="T75" fmla="*/ 63 h 98"/>
                <a:gd name="T76" fmla="*/ 223 w 239"/>
                <a:gd name="T77" fmla="*/ 59 h 98"/>
                <a:gd name="T78" fmla="*/ 223 w 239"/>
                <a:gd name="T79" fmla="*/ 59 h 98"/>
                <a:gd name="T80" fmla="*/ 224 w 239"/>
                <a:gd name="T81" fmla="*/ 51 h 98"/>
                <a:gd name="T82" fmla="*/ 234 w 239"/>
                <a:gd name="T83" fmla="*/ 43 h 98"/>
                <a:gd name="T84" fmla="*/ 237 w 239"/>
                <a:gd name="T85" fmla="*/ 30 h 98"/>
                <a:gd name="T86" fmla="*/ 233 w 239"/>
                <a:gd name="T87" fmla="*/ 23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9" h="98">
                  <a:moveTo>
                    <a:pt x="233" y="23"/>
                  </a:moveTo>
                  <a:cubicBezTo>
                    <a:pt x="227" y="23"/>
                    <a:pt x="221" y="25"/>
                    <a:pt x="214" y="19"/>
                  </a:cubicBezTo>
                  <a:cubicBezTo>
                    <a:pt x="207" y="13"/>
                    <a:pt x="208" y="6"/>
                    <a:pt x="194" y="6"/>
                  </a:cubicBezTo>
                  <a:cubicBezTo>
                    <a:pt x="180" y="6"/>
                    <a:pt x="175" y="14"/>
                    <a:pt x="170" y="14"/>
                  </a:cubicBezTo>
                  <a:cubicBezTo>
                    <a:pt x="165" y="14"/>
                    <a:pt x="159" y="10"/>
                    <a:pt x="159" y="10"/>
                  </a:cubicBezTo>
                  <a:cubicBezTo>
                    <a:pt x="140" y="9"/>
                    <a:pt x="140" y="9"/>
                    <a:pt x="140" y="9"/>
                  </a:cubicBezTo>
                  <a:cubicBezTo>
                    <a:pt x="140" y="9"/>
                    <a:pt x="141" y="18"/>
                    <a:pt x="132" y="18"/>
                  </a:cubicBezTo>
                  <a:cubicBezTo>
                    <a:pt x="123" y="18"/>
                    <a:pt x="126" y="11"/>
                    <a:pt x="126" y="11"/>
                  </a:cubicBezTo>
                  <a:cubicBezTo>
                    <a:pt x="119" y="11"/>
                    <a:pt x="119" y="11"/>
                    <a:pt x="119" y="11"/>
                  </a:cubicBezTo>
                  <a:cubicBezTo>
                    <a:pt x="119" y="11"/>
                    <a:pt x="118" y="4"/>
                    <a:pt x="111" y="2"/>
                  </a:cubicBezTo>
                  <a:cubicBezTo>
                    <a:pt x="104" y="0"/>
                    <a:pt x="94" y="8"/>
                    <a:pt x="91" y="8"/>
                  </a:cubicBezTo>
                  <a:cubicBezTo>
                    <a:pt x="89" y="8"/>
                    <a:pt x="86" y="5"/>
                    <a:pt x="83" y="2"/>
                  </a:cubicBezTo>
                  <a:cubicBezTo>
                    <a:pt x="72" y="9"/>
                    <a:pt x="72" y="9"/>
                    <a:pt x="72" y="9"/>
                  </a:cubicBezTo>
                  <a:cubicBezTo>
                    <a:pt x="58" y="15"/>
                    <a:pt x="58" y="15"/>
                    <a:pt x="58" y="15"/>
                  </a:cubicBezTo>
                  <a:cubicBezTo>
                    <a:pt x="58" y="28"/>
                    <a:pt x="58" y="28"/>
                    <a:pt x="58" y="28"/>
                  </a:cubicBezTo>
                  <a:cubicBezTo>
                    <a:pt x="58" y="28"/>
                    <a:pt x="43" y="35"/>
                    <a:pt x="36" y="40"/>
                  </a:cubicBezTo>
                  <a:cubicBezTo>
                    <a:pt x="31" y="43"/>
                    <a:pt x="25" y="41"/>
                    <a:pt x="24" y="39"/>
                  </a:cubicBezTo>
                  <a:cubicBezTo>
                    <a:pt x="21" y="40"/>
                    <a:pt x="15" y="40"/>
                    <a:pt x="12" y="41"/>
                  </a:cubicBezTo>
                  <a:cubicBezTo>
                    <a:pt x="8" y="42"/>
                    <a:pt x="3" y="46"/>
                    <a:pt x="3" y="46"/>
                  </a:cubicBezTo>
                  <a:cubicBezTo>
                    <a:pt x="1" y="60"/>
                    <a:pt x="1" y="60"/>
                    <a:pt x="1" y="60"/>
                  </a:cubicBezTo>
                  <a:cubicBezTo>
                    <a:pt x="0" y="70"/>
                    <a:pt x="0" y="70"/>
                    <a:pt x="0" y="70"/>
                  </a:cubicBezTo>
                  <a:cubicBezTo>
                    <a:pt x="0" y="70"/>
                    <a:pt x="6" y="69"/>
                    <a:pt x="7" y="75"/>
                  </a:cubicBezTo>
                  <a:cubicBezTo>
                    <a:pt x="7" y="78"/>
                    <a:pt x="7" y="83"/>
                    <a:pt x="7" y="87"/>
                  </a:cubicBezTo>
                  <a:cubicBezTo>
                    <a:pt x="7" y="87"/>
                    <a:pt x="7" y="87"/>
                    <a:pt x="7" y="87"/>
                  </a:cubicBezTo>
                  <a:cubicBezTo>
                    <a:pt x="13" y="92"/>
                    <a:pt x="13" y="92"/>
                    <a:pt x="13" y="92"/>
                  </a:cubicBezTo>
                  <a:cubicBezTo>
                    <a:pt x="20" y="81"/>
                    <a:pt x="20" y="81"/>
                    <a:pt x="20" y="81"/>
                  </a:cubicBezTo>
                  <a:cubicBezTo>
                    <a:pt x="20" y="81"/>
                    <a:pt x="23" y="98"/>
                    <a:pt x="40" y="97"/>
                  </a:cubicBezTo>
                  <a:cubicBezTo>
                    <a:pt x="57" y="96"/>
                    <a:pt x="81" y="94"/>
                    <a:pt x="81" y="94"/>
                  </a:cubicBezTo>
                  <a:cubicBezTo>
                    <a:pt x="87" y="78"/>
                    <a:pt x="87" y="78"/>
                    <a:pt x="87" y="78"/>
                  </a:cubicBezTo>
                  <a:cubicBezTo>
                    <a:pt x="111" y="81"/>
                    <a:pt x="111" y="81"/>
                    <a:pt x="111" y="81"/>
                  </a:cubicBezTo>
                  <a:cubicBezTo>
                    <a:pt x="118" y="73"/>
                    <a:pt x="118" y="73"/>
                    <a:pt x="118" y="73"/>
                  </a:cubicBezTo>
                  <a:cubicBezTo>
                    <a:pt x="118" y="73"/>
                    <a:pt x="141" y="72"/>
                    <a:pt x="144" y="69"/>
                  </a:cubicBezTo>
                  <a:cubicBezTo>
                    <a:pt x="147" y="66"/>
                    <a:pt x="155" y="53"/>
                    <a:pt x="155" y="53"/>
                  </a:cubicBezTo>
                  <a:cubicBezTo>
                    <a:pt x="171" y="53"/>
                    <a:pt x="171" y="53"/>
                    <a:pt x="171" y="53"/>
                  </a:cubicBezTo>
                  <a:cubicBezTo>
                    <a:pt x="174" y="63"/>
                    <a:pt x="174" y="63"/>
                    <a:pt x="174" y="63"/>
                  </a:cubicBezTo>
                  <a:cubicBezTo>
                    <a:pt x="183" y="64"/>
                    <a:pt x="183" y="64"/>
                    <a:pt x="183" y="64"/>
                  </a:cubicBezTo>
                  <a:cubicBezTo>
                    <a:pt x="183" y="64"/>
                    <a:pt x="183" y="53"/>
                    <a:pt x="188" y="53"/>
                  </a:cubicBezTo>
                  <a:cubicBezTo>
                    <a:pt x="193" y="53"/>
                    <a:pt x="194" y="63"/>
                    <a:pt x="194" y="63"/>
                  </a:cubicBezTo>
                  <a:cubicBezTo>
                    <a:pt x="194" y="63"/>
                    <a:pt x="215" y="57"/>
                    <a:pt x="223" y="59"/>
                  </a:cubicBezTo>
                  <a:cubicBezTo>
                    <a:pt x="223" y="59"/>
                    <a:pt x="223" y="59"/>
                    <a:pt x="223" y="59"/>
                  </a:cubicBezTo>
                  <a:cubicBezTo>
                    <a:pt x="224" y="51"/>
                    <a:pt x="224" y="51"/>
                    <a:pt x="224" y="51"/>
                  </a:cubicBezTo>
                  <a:cubicBezTo>
                    <a:pt x="224" y="51"/>
                    <a:pt x="232" y="49"/>
                    <a:pt x="234" y="43"/>
                  </a:cubicBezTo>
                  <a:cubicBezTo>
                    <a:pt x="236" y="37"/>
                    <a:pt x="237" y="30"/>
                    <a:pt x="237" y="30"/>
                  </a:cubicBezTo>
                  <a:cubicBezTo>
                    <a:pt x="237" y="30"/>
                    <a:pt x="239" y="23"/>
                    <a:pt x="233" y="23"/>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10" name="Freeform 71"/>
            <p:cNvSpPr>
              <a:spLocks/>
            </p:cNvSpPr>
            <p:nvPr/>
          </p:nvSpPr>
          <p:spPr bwMode="gray">
            <a:xfrm>
              <a:off x="4651375" y="2519363"/>
              <a:ext cx="160337" cy="82550"/>
            </a:xfrm>
            <a:custGeom>
              <a:avLst/>
              <a:gdLst>
                <a:gd name="T0" fmla="*/ 31 w 286"/>
                <a:gd name="T1" fmla="*/ 43 h 148"/>
                <a:gd name="T2" fmla="*/ 16 w 286"/>
                <a:gd name="T3" fmla="*/ 43 h 148"/>
                <a:gd name="T4" fmla="*/ 15 w 286"/>
                <a:gd name="T5" fmla="*/ 52 h 148"/>
                <a:gd name="T6" fmla="*/ 23 w 286"/>
                <a:gd name="T7" fmla="*/ 53 h 148"/>
                <a:gd name="T8" fmla="*/ 15 w 286"/>
                <a:gd name="T9" fmla="*/ 65 h 148"/>
                <a:gd name="T10" fmla="*/ 15 w 286"/>
                <a:gd name="T11" fmla="*/ 79 h 148"/>
                <a:gd name="T12" fmla="*/ 2 w 286"/>
                <a:gd name="T13" fmla="*/ 81 h 148"/>
                <a:gd name="T14" fmla="*/ 0 w 286"/>
                <a:gd name="T15" fmla="*/ 85 h 148"/>
                <a:gd name="T16" fmla="*/ 7 w 286"/>
                <a:gd name="T17" fmla="*/ 90 h 148"/>
                <a:gd name="T18" fmla="*/ 10 w 286"/>
                <a:gd name="T19" fmla="*/ 100 h 148"/>
                <a:gd name="T20" fmla="*/ 20 w 286"/>
                <a:gd name="T21" fmla="*/ 107 h 148"/>
                <a:gd name="T22" fmla="*/ 34 w 286"/>
                <a:gd name="T23" fmla="*/ 120 h 148"/>
                <a:gd name="T24" fmla="*/ 54 w 286"/>
                <a:gd name="T25" fmla="*/ 137 h 148"/>
                <a:gd name="T26" fmla="*/ 63 w 286"/>
                <a:gd name="T27" fmla="*/ 141 h 148"/>
                <a:gd name="T28" fmla="*/ 75 w 286"/>
                <a:gd name="T29" fmla="*/ 141 h 148"/>
                <a:gd name="T30" fmla="*/ 78 w 286"/>
                <a:gd name="T31" fmla="*/ 148 h 148"/>
                <a:gd name="T32" fmla="*/ 106 w 286"/>
                <a:gd name="T33" fmla="*/ 145 h 148"/>
                <a:gd name="T34" fmla="*/ 112 w 286"/>
                <a:gd name="T35" fmla="*/ 139 h 148"/>
                <a:gd name="T36" fmla="*/ 115 w 286"/>
                <a:gd name="T37" fmla="*/ 140 h 148"/>
                <a:gd name="T38" fmla="*/ 118 w 286"/>
                <a:gd name="T39" fmla="*/ 136 h 148"/>
                <a:gd name="T40" fmla="*/ 133 w 286"/>
                <a:gd name="T41" fmla="*/ 136 h 148"/>
                <a:gd name="T42" fmla="*/ 145 w 286"/>
                <a:gd name="T43" fmla="*/ 125 h 148"/>
                <a:gd name="T44" fmla="*/ 163 w 286"/>
                <a:gd name="T45" fmla="*/ 125 h 148"/>
                <a:gd name="T46" fmla="*/ 176 w 286"/>
                <a:gd name="T47" fmla="*/ 131 h 148"/>
                <a:gd name="T48" fmla="*/ 192 w 286"/>
                <a:gd name="T49" fmla="*/ 127 h 148"/>
                <a:gd name="T50" fmla="*/ 194 w 286"/>
                <a:gd name="T51" fmla="*/ 118 h 148"/>
                <a:gd name="T52" fmla="*/ 205 w 286"/>
                <a:gd name="T53" fmla="*/ 120 h 148"/>
                <a:gd name="T54" fmla="*/ 221 w 286"/>
                <a:gd name="T55" fmla="*/ 110 h 148"/>
                <a:gd name="T56" fmla="*/ 222 w 286"/>
                <a:gd name="T57" fmla="*/ 96 h 148"/>
                <a:gd name="T58" fmla="*/ 238 w 286"/>
                <a:gd name="T59" fmla="*/ 83 h 148"/>
                <a:gd name="T60" fmla="*/ 245 w 286"/>
                <a:gd name="T61" fmla="*/ 66 h 148"/>
                <a:gd name="T62" fmla="*/ 246 w 286"/>
                <a:gd name="T63" fmla="*/ 48 h 148"/>
                <a:gd name="T64" fmla="*/ 266 w 286"/>
                <a:gd name="T65" fmla="*/ 41 h 148"/>
                <a:gd name="T66" fmla="*/ 286 w 286"/>
                <a:gd name="T67" fmla="*/ 27 h 148"/>
                <a:gd name="T68" fmla="*/ 264 w 286"/>
                <a:gd name="T69" fmla="*/ 19 h 148"/>
                <a:gd name="T70" fmla="*/ 248 w 286"/>
                <a:gd name="T71" fmla="*/ 6 h 148"/>
                <a:gd name="T72" fmla="*/ 219 w 286"/>
                <a:gd name="T73" fmla="*/ 10 h 148"/>
                <a:gd name="T74" fmla="*/ 213 w 286"/>
                <a:gd name="T75" fmla="*/ 0 h 148"/>
                <a:gd name="T76" fmla="*/ 208 w 286"/>
                <a:gd name="T77" fmla="*/ 11 h 148"/>
                <a:gd name="T78" fmla="*/ 199 w 286"/>
                <a:gd name="T79" fmla="*/ 10 h 148"/>
                <a:gd name="T80" fmla="*/ 196 w 286"/>
                <a:gd name="T81" fmla="*/ 0 h 148"/>
                <a:gd name="T82" fmla="*/ 180 w 286"/>
                <a:gd name="T83" fmla="*/ 0 h 148"/>
                <a:gd name="T84" fmla="*/ 169 w 286"/>
                <a:gd name="T85" fmla="*/ 16 h 148"/>
                <a:gd name="T86" fmla="*/ 143 w 286"/>
                <a:gd name="T87" fmla="*/ 20 h 148"/>
                <a:gd name="T88" fmla="*/ 136 w 286"/>
                <a:gd name="T89" fmla="*/ 28 h 148"/>
                <a:gd name="T90" fmla="*/ 112 w 286"/>
                <a:gd name="T91" fmla="*/ 25 h 148"/>
                <a:gd name="T92" fmla="*/ 106 w 286"/>
                <a:gd name="T93" fmla="*/ 41 h 148"/>
                <a:gd name="T94" fmla="*/ 65 w 286"/>
                <a:gd name="T95" fmla="*/ 44 h 148"/>
                <a:gd name="T96" fmla="*/ 45 w 286"/>
                <a:gd name="T97" fmla="*/ 28 h 148"/>
                <a:gd name="T98" fmla="*/ 38 w 286"/>
                <a:gd name="T99" fmla="*/ 39 h 148"/>
                <a:gd name="T100" fmla="*/ 32 w 286"/>
                <a:gd name="T101" fmla="*/ 34 h 148"/>
                <a:gd name="T102" fmla="*/ 31 w 286"/>
                <a:gd name="T103" fmla="*/ 4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86" h="148">
                  <a:moveTo>
                    <a:pt x="31" y="43"/>
                  </a:moveTo>
                  <a:cubicBezTo>
                    <a:pt x="16" y="43"/>
                    <a:pt x="16" y="43"/>
                    <a:pt x="16" y="43"/>
                  </a:cubicBezTo>
                  <a:cubicBezTo>
                    <a:pt x="15" y="52"/>
                    <a:pt x="15" y="52"/>
                    <a:pt x="15" y="52"/>
                  </a:cubicBezTo>
                  <a:cubicBezTo>
                    <a:pt x="23" y="53"/>
                    <a:pt x="23" y="53"/>
                    <a:pt x="23" y="53"/>
                  </a:cubicBezTo>
                  <a:cubicBezTo>
                    <a:pt x="15" y="65"/>
                    <a:pt x="15" y="65"/>
                    <a:pt x="15" y="65"/>
                  </a:cubicBezTo>
                  <a:cubicBezTo>
                    <a:pt x="15" y="79"/>
                    <a:pt x="15" y="79"/>
                    <a:pt x="15" y="79"/>
                  </a:cubicBezTo>
                  <a:cubicBezTo>
                    <a:pt x="2" y="81"/>
                    <a:pt x="2" y="81"/>
                    <a:pt x="2" y="81"/>
                  </a:cubicBezTo>
                  <a:cubicBezTo>
                    <a:pt x="0" y="85"/>
                    <a:pt x="0" y="85"/>
                    <a:pt x="0" y="85"/>
                  </a:cubicBezTo>
                  <a:cubicBezTo>
                    <a:pt x="7" y="90"/>
                    <a:pt x="7" y="90"/>
                    <a:pt x="7" y="90"/>
                  </a:cubicBezTo>
                  <a:cubicBezTo>
                    <a:pt x="10" y="100"/>
                    <a:pt x="10" y="100"/>
                    <a:pt x="10" y="100"/>
                  </a:cubicBezTo>
                  <a:cubicBezTo>
                    <a:pt x="20" y="107"/>
                    <a:pt x="20" y="107"/>
                    <a:pt x="20" y="107"/>
                  </a:cubicBezTo>
                  <a:cubicBezTo>
                    <a:pt x="20" y="107"/>
                    <a:pt x="32" y="117"/>
                    <a:pt x="34" y="120"/>
                  </a:cubicBezTo>
                  <a:cubicBezTo>
                    <a:pt x="36" y="123"/>
                    <a:pt x="54" y="137"/>
                    <a:pt x="54" y="137"/>
                  </a:cubicBezTo>
                  <a:cubicBezTo>
                    <a:pt x="63" y="141"/>
                    <a:pt x="63" y="141"/>
                    <a:pt x="63" y="141"/>
                  </a:cubicBezTo>
                  <a:cubicBezTo>
                    <a:pt x="75" y="141"/>
                    <a:pt x="75" y="141"/>
                    <a:pt x="75" y="141"/>
                  </a:cubicBezTo>
                  <a:cubicBezTo>
                    <a:pt x="78" y="148"/>
                    <a:pt x="78" y="148"/>
                    <a:pt x="78" y="148"/>
                  </a:cubicBezTo>
                  <a:cubicBezTo>
                    <a:pt x="106" y="145"/>
                    <a:pt x="106" y="145"/>
                    <a:pt x="106" y="145"/>
                  </a:cubicBezTo>
                  <a:cubicBezTo>
                    <a:pt x="112" y="139"/>
                    <a:pt x="112" y="139"/>
                    <a:pt x="112" y="139"/>
                  </a:cubicBezTo>
                  <a:cubicBezTo>
                    <a:pt x="115" y="140"/>
                    <a:pt x="115" y="140"/>
                    <a:pt x="115" y="140"/>
                  </a:cubicBezTo>
                  <a:cubicBezTo>
                    <a:pt x="118" y="136"/>
                    <a:pt x="118" y="136"/>
                    <a:pt x="118" y="136"/>
                  </a:cubicBezTo>
                  <a:cubicBezTo>
                    <a:pt x="133" y="136"/>
                    <a:pt x="133" y="136"/>
                    <a:pt x="133" y="136"/>
                  </a:cubicBezTo>
                  <a:cubicBezTo>
                    <a:pt x="133" y="136"/>
                    <a:pt x="142" y="131"/>
                    <a:pt x="145" y="125"/>
                  </a:cubicBezTo>
                  <a:cubicBezTo>
                    <a:pt x="148" y="119"/>
                    <a:pt x="163" y="125"/>
                    <a:pt x="163" y="125"/>
                  </a:cubicBezTo>
                  <a:cubicBezTo>
                    <a:pt x="176" y="131"/>
                    <a:pt x="176" y="131"/>
                    <a:pt x="176" y="131"/>
                  </a:cubicBezTo>
                  <a:cubicBezTo>
                    <a:pt x="192" y="127"/>
                    <a:pt x="192" y="127"/>
                    <a:pt x="192" y="127"/>
                  </a:cubicBezTo>
                  <a:cubicBezTo>
                    <a:pt x="194" y="118"/>
                    <a:pt x="194" y="118"/>
                    <a:pt x="194" y="118"/>
                  </a:cubicBezTo>
                  <a:cubicBezTo>
                    <a:pt x="205" y="120"/>
                    <a:pt x="205" y="120"/>
                    <a:pt x="205" y="120"/>
                  </a:cubicBezTo>
                  <a:cubicBezTo>
                    <a:pt x="205" y="120"/>
                    <a:pt x="215" y="116"/>
                    <a:pt x="221" y="110"/>
                  </a:cubicBezTo>
                  <a:cubicBezTo>
                    <a:pt x="227" y="104"/>
                    <a:pt x="222" y="96"/>
                    <a:pt x="222" y="96"/>
                  </a:cubicBezTo>
                  <a:cubicBezTo>
                    <a:pt x="222" y="96"/>
                    <a:pt x="228" y="88"/>
                    <a:pt x="238" y="83"/>
                  </a:cubicBezTo>
                  <a:cubicBezTo>
                    <a:pt x="248" y="78"/>
                    <a:pt x="245" y="66"/>
                    <a:pt x="245" y="66"/>
                  </a:cubicBezTo>
                  <a:cubicBezTo>
                    <a:pt x="245" y="66"/>
                    <a:pt x="245" y="54"/>
                    <a:pt x="246" y="48"/>
                  </a:cubicBezTo>
                  <a:cubicBezTo>
                    <a:pt x="247" y="42"/>
                    <a:pt x="256" y="42"/>
                    <a:pt x="266" y="41"/>
                  </a:cubicBezTo>
                  <a:cubicBezTo>
                    <a:pt x="276" y="40"/>
                    <a:pt x="286" y="27"/>
                    <a:pt x="286" y="27"/>
                  </a:cubicBezTo>
                  <a:cubicBezTo>
                    <a:pt x="286" y="27"/>
                    <a:pt x="270" y="20"/>
                    <a:pt x="264" y="19"/>
                  </a:cubicBezTo>
                  <a:cubicBezTo>
                    <a:pt x="258" y="18"/>
                    <a:pt x="256" y="8"/>
                    <a:pt x="248" y="6"/>
                  </a:cubicBezTo>
                  <a:cubicBezTo>
                    <a:pt x="240" y="4"/>
                    <a:pt x="219" y="10"/>
                    <a:pt x="219" y="10"/>
                  </a:cubicBezTo>
                  <a:cubicBezTo>
                    <a:pt x="219" y="10"/>
                    <a:pt x="218" y="0"/>
                    <a:pt x="213" y="0"/>
                  </a:cubicBezTo>
                  <a:cubicBezTo>
                    <a:pt x="208" y="0"/>
                    <a:pt x="208" y="11"/>
                    <a:pt x="208" y="11"/>
                  </a:cubicBezTo>
                  <a:cubicBezTo>
                    <a:pt x="199" y="10"/>
                    <a:pt x="199" y="10"/>
                    <a:pt x="199" y="10"/>
                  </a:cubicBezTo>
                  <a:cubicBezTo>
                    <a:pt x="196" y="0"/>
                    <a:pt x="196" y="0"/>
                    <a:pt x="196" y="0"/>
                  </a:cubicBezTo>
                  <a:cubicBezTo>
                    <a:pt x="180" y="0"/>
                    <a:pt x="180" y="0"/>
                    <a:pt x="180" y="0"/>
                  </a:cubicBezTo>
                  <a:cubicBezTo>
                    <a:pt x="180" y="0"/>
                    <a:pt x="172" y="13"/>
                    <a:pt x="169" y="16"/>
                  </a:cubicBezTo>
                  <a:cubicBezTo>
                    <a:pt x="166" y="19"/>
                    <a:pt x="143" y="20"/>
                    <a:pt x="143" y="20"/>
                  </a:cubicBezTo>
                  <a:cubicBezTo>
                    <a:pt x="136" y="28"/>
                    <a:pt x="136" y="28"/>
                    <a:pt x="136" y="28"/>
                  </a:cubicBezTo>
                  <a:cubicBezTo>
                    <a:pt x="112" y="25"/>
                    <a:pt x="112" y="25"/>
                    <a:pt x="112" y="25"/>
                  </a:cubicBezTo>
                  <a:cubicBezTo>
                    <a:pt x="106" y="41"/>
                    <a:pt x="106" y="41"/>
                    <a:pt x="106" y="41"/>
                  </a:cubicBezTo>
                  <a:cubicBezTo>
                    <a:pt x="106" y="41"/>
                    <a:pt x="82" y="43"/>
                    <a:pt x="65" y="44"/>
                  </a:cubicBezTo>
                  <a:cubicBezTo>
                    <a:pt x="48" y="45"/>
                    <a:pt x="45" y="28"/>
                    <a:pt x="45" y="28"/>
                  </a:cubicBezTo>
                  <a:cubicBezTo>
                    <a:pt x="38" y="39"/>
                    <a:pt x="38" y="39"/>
                    <a:pt x="38" y="39"/>
                  </a:cubicBezTo>
                  <a:cubicBezTo>
                    <a:pt x="32" y="34"/>
                    <a:pt x="32" y="34"/>
                    <a:pt x="32" y="34"/>
                  </a:cubicBezTo>
                  <a:cubicBezTo>
                    <a:pt x="31" y="39"/>
                    <a:pt x="31" y="43"/>
                    <a:pt x="31" y="43"/>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11" name="Freeform 72"/>
            <p:cNvSpPr>
              <a:spLocks/>
            </p:cNvSpPr>
            <p:nvPr/>
          </p:nvSpPr>
          <p:spPr bwMode="gray">
            <a:xfrm>
              <a:off x="4749800" y="2290763"/>
              <a:ext cx="128587" cy="73025"/>
            </a:xfrm>
            <a:custGeom>
              <a:avLst/>
              <a:gdLst>
                <a:gd name="T0" fmla="*/ 222 w 230"/>
                <a:gd name="T1" fmla="*/ 42 h 132"/>
                <a:gd name="T2" fmla="*/ 210 w 230"/>
                <a:gd name="T3" fmla="*/ 38 h 132"/>
                <a:gd name="T4" fmla="*/ 195 w 230"/>
                <a:gd name="T5" fmla="*/ 30 h 132"/>
                <a:gd name="T6" fmla="*/ 184 w 230"/>
                <a:gd name="T7" fmla="*/ 20 h 132"/>
                <a:gd name="T8" fmla="*/ 157 w 230"/>
                <a:gd name="T9" fmla="*/ 17 h 132"/>
                <a:gd name="T10" fmla="*/ 145 w 230"/>
                <a:gd name="T11" fmla="*/ 4 h 132"/>
                <a:gd name="T12" fmla="*/ 128 w 230"/>
                <a:gd name="T13" fmla="*/ 12 h 132"/>
                <a:gd name="T14" fmla="*/ 113 w 230"/>
                <a:gd name="T15" fmla="*/ 8 h 132"/>
                <a:gd name="T16" fmla="*/ 104 w 230"/>
                <a:gd name="T17" fmla="*/ 13 h 132"/>
                <a:gd name="T18" fmla="*/ 81 w 230"/>
                <a:gd name="T19" fmla="*/ 7 h 132"/>
                <a:gd name="T20" fmla="*/ 73 w 230"/>
                <a:gd name="T21" fmla="*/ 9 h 132"/>
                <a:gd name="T22" fmla="*/ 60 w 230"/>
                <a:gd name="T23" fmla="*/ 2 h 132"/>
                <a:gd name="T24" fmla="*/ 46 w 230"/>
                <a:gd name="T25" fmla="*/ 5 h 132"/>
                <a:gd name="T26" fmla="*/ 13 w 230"/>
                <a:gd name="T27" fmla="*/ 11 h 132"/>
                <a:gd name="T28" fmla="*/ 0 w 230"/>
                <a:gd name="T29" fmla="*/ 16 h 132"/>
                <a:gd name="T30" fmla="*/ 1 w 230"/>
                <a:gd name="T31" fmla="*/ 23 h 132"/>
                <a:gd name="T32" fmla="*/ 11 w 230"/>
                <a:gd name="T33" fmla="*/ 60 h 132"/>
                <a:gd name="T34" fmla="*/ 14 w 230"/>
                <a:gd name="T35" fmla="*/ 64 h 132"/>
                <a:gd name="T36" fmla="*/ 19 w 230"/>
                <a:gd name="T37" fmla="*/ 64 h 132"/>
                <a:gd name="T38" fmla="*/ 22 w 230"/>
                <a:gd name="T39" fmla="*/ 70 h 132"/>
                <a:gd name="T40" fmla="*/ 30 w 230"/>
                <a:gd name="T41" fmla="*/ 69 h 132"/>
                <a:gd name="T42" fmla="*/ 32 w 230"/>
                <a:gd name="T43" fmla="*/ 75 h 132"/>
                <a:gd name="T44" fmla="*/ 64 w 230"/>
                <a:gd name="T45" fmla="*/ 71 h 132"/>
                <a:gd name="T46" fmla="*/ 74 w 230"/>
                <a:gd name="T47" fmla="*/ 86 h 132"/>
                <a:gd name="T48" fmla="*/ 65 w 230"/>
                <a:gd name="T49" fmla="*/ 98 h 132"/>
                <a:gd name="T50" fmla="*/ 70 w 230"/>
                <a:gd name="T51" fmla="*/ 108 h 132"/>
                <a:gd name="T52" fmla="*/ 74 w 230"/>
                <a:gd name="T53" fmla="*/ 108 h 132"/>
                <a:gd name="T54" fmla="*/ 103 w 230"/>
                <a:gd name="T55" fmla="*/ 119 h 132"/>
                <a:gd name="T56" fmla="*/ 103 w 230"/>
                <a:gd name="T57" fmla="*/ 132 h 132"/>
                <a:gd name="T58" fmla="*/ 127 w 230"/>
                <a:gd name="T59" fmla="*/ 127 h 132"/>
                <a:gd name="T60" fmla="*/ 137 w 230"/>
                <a:gd name="T61" fmla="*/ 132 h 132"/>
                <a:gd name="T62" fmla="*/ 155 w 230"/>
                <a:gd name="T63" fmla="*/ 132 h 132"/>
                <a:gd name="T64" fmla="*/ 157 w 230"/>
                <a:gd name="T65" fmla="*/ 122 h 132"/>
                <a:gd name="T66" fmla="*/ 165 w 230"/>
                <a:gd name="T67" fmla="*/ 130 h 132"/>
                <a:gd name="T68" fmla="*/ 169 w 230"/>
                <a:gd name="T69" fmla="*/ 122 h 132"/>
                <a:gd name="T70" fmla="*/ 187 w 230"/>
                <a:gd name="T71" fmla="*/ 115 h 132"/>
                <a:gd name="T72" fmla="*/ 193 w 230"/>
                <a:gd name="T73" fmla="*/ 123 h 132"/>
                <a:gd name="T74" fmla="*/ 188 w 230"/>
                <a:gd name="T75" fmla="*/ 103 h 132"/>
                <a:gd name="T76" fmla="*/ 195 w 230"/>
                <a:gd name="T77" fmla="*/ 96 h 132"/>
                <a:gd name="T78" fmla="*/ 193 w 230"/>
                <a:gd name="T79" fmla="*/ 81 h 132"/>
                <a:gd name="T80" fmla="*/ 208 w 230"/>
                <a:gd name="T81" fmla="*/ 79 h 132"/>
                <a:gd name="T82" fmla="*/ 204 w 230"/>
                <a:gd name="T83" fmla="*/ 66 h 132"/>
                <a:gd name="T84" fmla="*/ 217 w 230"/>
                <a:gd name="T85" fmla="*/ 71 h 132"/>
                <a:gd name="T86" fmla="*/ 230 w 230"/>
                <a:gd name="T87" fmla="*/ 65 h 132"/>
                <a:gd name="T88" fmla="*/ 216 w 230"/>
                <a:gd name="T89" fmla="*/ 50 h 132"/>
                <a:gd name="T90" fmla="*/ 222 w 230"/>
                <a:gd name="T91" fmla="*/ 4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0" h="132">
                  <a:moveTo>
                    <a:pt x="222" y="42"/>
                  </a:moveTo>
                  <a:cubicBezTo>
                    <a:pt x="210" y="38"/>
                    <a:pt x="210" y="38"/>
                    <a:pt x="210" y="38"/>
                  </a:cubicBezTo>
                  <a:cubicBezTo>
                    <a:pt x="195" y="30"/>
                    <a:pt x="195" y="30"/>
                    <a:pt x="195" y="30"/>
                  </a:cubicBezTo>
                  <a:cubicBezTo>
                    <a:pt x="195" y="30"/>
                    <a:pt x="190" y="22"/>
                    <a:pt x="184" y="20"/>
                  </a:cubicBezTo>
                  <a:cubicBezTo>
                    <a:pt x="178" y="18"/>
                    <a:pt x="157" y="17"/>
                    <a:pt x="157" y="17"/>
                  </a:cubicBezTo>
                  <a:cubicBezTo>
                    <a:pt x="157" y="17"/>
                    <a:pt x="151" y="4"/>
                    <a:pt x="145" y="4"/>
                  </a:cubicBezTo>
                  <a:cubicBezTo>
                    <a:pt x="139" y="4"/>
                    <a:pt x="136" y="12"/>
                    <a:pt x="128" y="12"/>
                  </a:cubicBezTo>
                  <a:cubicBezTo>
                    <a:pt x="120" y="12"/>
                    <a:pt x="118" y="8"/>
                    <a:pt x="113" y="8"/>
                  </a:cubicBezTo>
                  <a:cubicBezTo>
                    <a:pt x="108" y="8"/>
                    <a:pt x="104" y="13"/>
                    <a:pt x="104" y="13"/>
                  </a:cubicBezTo>
                  <a:cubicBezTo>
                    <a:pt x="104" y="13"/>
                    <a:pt x="84" y="6"/>
                    <a:pt x="81" y="7"/>
                  </a:cubicBezTo>
                  <a:cubicBezTo>
                    <a:pt x="78" y="8"/>
                    <a:pt x="73" y="9"/>
                    <a:pt x="73" y="9"/>
                  </a:cubicBezTo>
                  <a:cubicBezTo>
                    <a:pt x="73" y="9"/>
                    <a:pt x="66" y="4"/>
                    <a:pt x="60" y="2"/>
                  </a:cubicBezTo>
                  <a:cubicBezTo>
                    <a:pt x="54" y="0"/>
                    <a:pt x="52" y="2"/>
                    <a:pt x="46" y="5"/>
                  </a:cubicBezTo>
                  <a:cubicBezTo>
                    <a:pt x="40" y="8"/>
                    <a:pt x="33" y="8"/>
                    <a:pt x="13" y="11"/>
                  </a:cubicBezTo>
                  <a:cubicBezTo>
                    <a:pt x="7" y="12"/>
                    <a:pt x="3" y="14"/>
                    <a:pt x="0" y="16"/>
                  </a:cubicBezTo>
                  <a:cubicBezTo>
                    <a:pt x="0" y="20"/>
                    <a:pt x="1" y="23"/>
                    <a:pt x="1" y="23"/>
                  </a:cubicBezTo>
                  <a:cubicBezTo>
                    <a:pt x="1" y="23"/>
                    <a:pt x="2" y="58"/>
                    <a:pt x="11" y="60"/>
                  </a:cubicBezTo>
                  <a:cubicBezTo>
                    <a:pt x="13" y="60"/>
                    <a:pt x="14" y="62"/>
                    <a:pt x="14" y="64"/>
                  </a:cubicBezTo>
                  <a:cubicBezTo>
                    <a:pt x="19" y="64"/>
                    <a:pt x="19" y="64"/>
                    <a:pt x="19" y="64"/>
                  </a:cubicBezTo>
                  <a:cubicBezTo>
                    <a:pt x="22" y="70"/>
                    <a:pt x="22" y="70"/>
                    <a:pt x="22" y="70"/>
                  </a:cubicBezTo>
                  <a:cubicBezTo>
                    <a:pt x="30" y="69"/>
                    <a:pt x="30" y="69"/>
                    <a:pt x="30" y="69"/>
                  </a:cubicBezTo>
                  <a:cubicBezTo>
                    <a:pt x="32" y="75"/>
                    <a:pt x="32" y="75"/>
                    <a:pt x="32" y="75"/>
                  </a:cubicBezTo>
                  <a:cubicBezTo>
                    <a:pt x="32" y="75"/>
                    <a:pt x="56" y="72"/>
                    <a:pt x="64" y="71"/>
                  </a:cubicBezTo>
                  <a:cubicBezTo>
                    <a:pt x="72" y="70"/>
                    <a:pt x="75" y="81"/>
                    <a:pt x="74" y="86"/>
                  </a:cubicBezTo>
                  <a:cubicBezTo>
                    <a:pt x="73" y="91"/>
                    <a:pt x="65" y="98"/>
                    <a:pt x="65" y="98"/>
                  </a:cubicBezTo>
                  <a:cubicBezTo>
                    <a:pt x="70" y="108"/>
                    <a:pt x="70" y="108"/>
                    <a:pt x="70" y="108"/>
                  </a:cubicBezTo>
                  <a:cubicBezTo>
                    <a:pt x="71" y="108"/>
                    <a:pt x="73" y="108"/>
                    <a:pt x="74" y="108"/>
                  </a:cubicBezTo>
                  <a:cubicBezTo>
                    <a:pt x="87" y="110"/>
                    <a:pt x="103" y="119"/>
                    <a:pt x="103" y="119"/>
                  </a:cubicBezTo>
                  <a:cubicBezTo>
                    <a:pt x="103" y="132"/>
                    <a:pt x="103" y="132"/>
                    <a:pt x="103" y="132"/>
                  </a:cubicBezTo>
                  <a:cubicBezTo>
                    <a:pt x="103" y="132"/>
                    <a:pt x="119" y="128"/>
                    <a:pt x="127" y="127"/>
                  </a:cubicBezTo>
                  <a:cubicBezTo>
                    <a:pt x="135" y="126"/>
                    <a:pt x="137" y="132"/>
                    <a:pt x="137" y="132"/>
                  </a:cubicBezTo>
                  <a:cubicBezTo>
                    <a:pt x="155" y="132"/>
                    <a:pt x="155" y="132"/>
                    <a:pt x="155" y="132"/>
                  </a:cubicBezTo>
                  <a:cubicBezTo>
                    <a:pt x="157" y="122"/>
                    <a:pt x="157" y="122"/>
                    <a:pt x="157" y="122"/>
                  </a:cubicBezTo>
                  <a:cubicBezTo>
                    <a:pt x="165" y="130"/>
                    <a:pt x="165" y="130"/>
                    <a:pt x="165" y="130"/>
                  </a:cubicBezTo>
                  <a:cubicBezTo>
                    <a:pt x="169" y="122"/>
                    <a:pt x="169" y="122"/>
                    <a:pt x="169" y="122"/>
                  </a:cubicBezTo>
                  <a:cubicBezTo>
                    <a:pt x="169" y="122"/>
                    <a:pt x="177" y="115"/>
                    <a:pt x="187" y="115"/>
                  </a:cubicBezTo>
                  <a:cubicBezTo>
                    <a:pt x="197" y="115"/>
                    <a:pt x="186" y="124"/>
                    <a:pt x="193" y="123"/>
                  </a:cubicBezTo>
                  <a:cubicBezTo>
                    <a:pt x="200" y="122"/>
                    <a:pt x="193" y="111"/>
                    <a:pt x="188" y="103"/>
                  </a:cubicBezTo>
                  <a:cubicBezTo>
                    <a:pt x="183" y="95"/>
                    <a:pt x="195" y="96"/>
                    <a:pt x="195" y="96"/>
                  </a:cubicBezTo>
                  <a:cubicBezTo>
                    <a:pt x="195" y="96"/>
                    <a:pt x="191" y="88"/>
                    <a:pt x="193" y="81"/>
                  </a:cubicBezTo>
                  <a:cubicBezTo>
                    <a:pt x="195" y="74"/>
                    <a:pt x="208" y="79"/>
                    <a:pt x="208" y="79"/>
                  </a:cubicBezTo>
                  <a:cubicBezTo>
                    <a:pt x="204" y="66"/>
                    <a:pt x="204" y="66"/>
                    <a:pt x="204" y="66"/>
                  </a:cubicBezTo>
                  <a:cubicBezTo>
                    <a:pt x="204" y="66"/>
                    <a:pt x="211" y="71"/>
                    <a:pt x="217" y="71"/>
                  </a:cubicBezTo>
                  <a:cubicBezTo>
                    <a:pt x="223" y="71"/>
                    <a:pt x="230" y="65"/>
                    <a:pt x="230" y="65"/>
                  </a:cubicBezTo>
                  <a:cubicBezTo>
                    <a:pt x="230" y="65"/>
                    <a:pt x="214" y="55"/>
                    <a:pt x="216" y="50"/>
                  </a:cubicBezTo>
                  <a:cubicBezTo>
                    <a:pt x="217" y="48"/>
                    <a:pt x="219" y="45"/>
                    <a:pt x="222" y="42"/>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12" name="Freeform 73"/>
            <p:cNvSpPr>
              <a:spLocks/>
            </p:cNvSpPr>
            <p:nvPr/>
          </p:nvSpPr>
          <p:spPr bwMode="gray">
            <a:xfrm>
              <a:off x="4410075" y="2540000"/>
              <a:ext cx="109537" cy="61913"/>
            </a:xfrm>
            <a:custGeom>
              <a:avLst/>
              <a:gdLst>
                <a:gd name="T0" fmla="*/ 93 w 196"/>
                <a:gd name="T1" fmla="*/ 17 h 109"/>
                <a:gd name="T2" fmla="*/ 81 w 196"/>
                <a:gd name="T3" fmla="*/ 17 h 109"/>
                <a:gd name="T4" fmla="*/ 70 w 196"/>
                <a:gd name="T5" fmla="*/ 15 h 109"/>
                <a:gd name="T6" fmla="*/ 70 w 196"/>
                <a:gd name="T7" fmla="*/ 16 h 109"/>
                <a:gd name="T8" fmla="*/ 65 w 196"/>
                <a:gd name="T9" fmla="*/ 26 h 109"/>
                <a:gd name="T10" fmla="*/ 52 w 196"/>
                <a:gd name="T11" fmla="*/ 19 h 109"/>
                <a:gd name="T12" fmla="*/ 47 w 196"/>
                <a:gd name="T13" fmla="*/ 28 h 109"/>
                <a:gd name="T14" fmla="*/ 36 w 196"/>
                <a:gd name="T15" fmla="*/ 43 h 109"/>
                <a:gd name="T16" fmla="*/ 25 w 196"/>
                <a:gd name="T17" fmla="*/ 43 h 109"/>
                <a:gd name="T18" fmla="*/ 22 w 196"/>
                <a:gd name="T19" fmla="*/ 56 h 109"/>
                <a:gd name="T20" fmla="*/ 4 w 196"/>
                <a:gd name="T21" fmla="*/ 72 h 109"/>
                <a:gd name="T22" fmla="*/ 10 w 196"/>
                <a:gd name="T23" fmla="*/ 80 h 109"/>
                <a:gd name="T24" fmla="*/ 6 w 196"/>
                <a:gd name="T25" fmla="*/ 89 h 109"/>
                <a:gd name="T26" fmla="*/ 24 w 196"/>
                <a:gd name="T27" fmla="*/ 73 h 109"/>
                <a:gd name="T28" fmla="*/ 39 w 196"/>
                <a:gd name="T29" fmla="*/ 75 h 109"/>
                <a:gd name="T30" fmla="*/ 38 w 196"/>
                <a:gd name="T31" fmla="*/ 93 h 109"/>
                <a:gd name="T32" fmla="*/ 45 w 196"/>
                <a:gd name="T33" fmla="*/ 103 h 109"/>
                <a:gd name="T34" fmla="*/ 52 w 196"/>
                <a:gd name="T35" fmla="*/ 103 h 109"/>
                <a:gd name="T36" fmla="*/ 66 w 196"/>
                <a:gd name="T37" fmla="*/ 96 h 109"/>
                <a:gd name="T38" fmla="*/ 86 w 196"/>
                <a:gd name="T39" fmla="*/ 101 h 109"/>
                <a:gd name="T40" fmla="*/ 92 w 196"/>
                <a:gd name="T41" fmla="*/ 81 h 109"/>
                <a:gd name="T42" fmla="*/ 103 w 196"/>
                <a:gd name="T43" fmla="*/ 75 h 109"/>
                <a:gd name="T44" fmla="*/ 111 w 196"/>
                <a:gd name="T45" fmla="*/ 90 h 109"/>
                <a:gd name="T46" fmla="*/ 116 w 196"/>
                <a:gd name="T47" fmla="*/ 91 h 109"/>
                <a:gd name="T48" fmla="*/ 132 w 196"/>
                <a:gd name="T49" fmla="*/ 108 h 109"/>
                <a:gd name="T50" fmla="*/ 133 w 196"/>
                <a:gd name="T51" fmla="*/ 93 h 109"/>
                <a:gd name="T52" fmla="*/ 139 w 196"/>
                <a:gd name="T53" fmla="*/ 87 h 109"/>
                <a:gd name="T54" fmla="*/ 144 w 196"/>
                <a:gd name="T55" fmla="*/ 71 h 109"/>
                <a:gd name="T56" fmla="*/ 150 w 196"/>
                <a:gd name="T57" fmla="*/ 83 h 109"/>
                <a:gd name="T58" fmla="*/ 164 w 196"/>
                <a:gd name="T59" fmla="*/ 80 h 109"/>
                <a:gd name="T60" fmla="*/ 175 w 196"/>
                <a:gd name="T61" fmla="*/ 85 h 109"/>
                <a:gd name="T62" fmla="*/ 180 w 196"/>
                <a:gd name="T63" fmla="*/ 79 h 109"/>
                <a:gd name="T64" fmla="*/ 176 w 196"/>
                <a:gd name="T65" fmla="*/ 66 h 109"/>
                <a:gd name="T66" fmla="*/ 189 w 196"/>
                <a:gd name="T67" fmla="*/ 68 h 109"/>
                <a:gd name="T68" fmla="*/ 191 w 196"/>
                <a:gd name="T69" fmla="*/ 55 h 109"/>
                <a:gd name="T70" fmla="*/ 196 w 196"/>
                <a:gd name="T71" fmla="*/ 54 h 109"/>
                <a:gd name="T72" fmla="*/ 187 w 196"/>
                <a:gd name="T73" fmla="*/ 43 h 109"/>
                <a:gd name="T74" fmla="*/ 171 w 196"/>
                <a:gd name="T75" fmla="*/ 55 h 109"/>
                <a:gd name="T76" fmla="*/ 166 w 196"/>
                <a:gd name="T77" fmla="*/ 43 h 109"/>
                <a:gd name="T78" fmla="*/ 154 w 196"/>
                <a:gd name="T79" fmla="*/ 44 h 109"/>
                <a:gd name="T80" fmla="*/ 146 w 196"/>
                <a:gd name="T81" fmla="*/ 42 h 109"/>
                <a:gd name="T82" fmla="*/ 153 w 196"/>
                <a:gd name="T83" fmla="*/ 29 h 109"/>
                <a:gd name="T84" fmla="*/ 154 w 196"/>
                <a:gd name="T85" fmla="*/ 19 h 109"/>
                <a:gd name="T86" fmla="*/ 150 w 196"/>
                <a:gd name="T87" fmla="*/ 19 h 109"/>
                <a:gd name="T88" fmla="*/ 144 w 196"/>
                <a:gd name="T89" fmla="*/ 11 h 109"/>
                <a:gd name="T90" fmla="*/ 134 w 196"/>
                <a:gd name="T91" fmla="*/ 8 h 109"/>
                <a:gd name="T92" fmla="*/ 125 w 196"/>
                <a:gd name="T93" fmla="*/ 8 h 109"/>
                <a:gd name="T94" fmla="*/ 109 w 196"/>
                <a:gd name="T95" fmla="*/ 1 h 109"/>
                <a:gd name="T96" fmla="*/ 107 w 196"/>
                <a:gd name="T97" fmla="*/ 14 h 109"/>
                <a:gd name="T98" fmla="*/ 103 w 196"/>
                <a:gd name="T99" fmla="*/ 10 h 109"/>
                <a:gd name="T100" fmla="*/ 93 w 196"/>
                <a:gd name="T101" fmla="*/ 1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96" h="109">
                  <a:moveTo>
                    <a:pt x="93" y="17"/>
                  </a:moveTo>
                  <a:cubicBezTo>
                    <a:pt x="81" y="17"/>
                    <a:pt x="81" y="17"/>
                    <a:pt x="81" y="17"/>
                  </a:cubicBezTo>
                  <a:cubicBezTo>
                    <a:pt x="70" y="15"/>
                    <a:pt x="70" y="15"/>
                    <a:pt x="70" y="15"/>
                  </a:cubicBezTo>
                  <a:cubicBezTo>
                    <a:pt x="70" y="16"/>
                    <a:pt x="70" y="16"/>
                    <a:pt x="70" y="16"/>
                  </a:cubicBezTo>
                  <a:cubicBezTo>
                    <a:pt x="65" y="26"/>
                    <a:pt x="65" y="26"/>
                    <a:pt x="65" y="26"/>
                  </a:cubicBezTo>
                  <a:cubicBezTo>
                    <a:pt x="52" y="19"/>
                    <a:pt x="52" y="19"/>
                    <a:pt x="52" y="19"/>
                  </a:cubicBezTo>
                  <a:cubicBezTo>
                    <a:pt x="47" y="28"/>
                    <a:pt x="47" y="28"/>
                    <a:pt x="47" y="28"/>
                  </a:cubicBezTo>
                  <a:cubicBezTo>
                    <a:pt x="47" y="28"/>
                    <a:pt x="41" y="37"/>
                    <a:pt x="36" y="43"/>
                  </a:cubicBezTo>
                  <a:cubicBezTo>
                    <a:pt x="31" y="49"/>
                    <a:pt x="25" y="43"/>
                    <a:pt x="25" y="43"/>
                  </a:cubicBezTo>
                  <a:cubicBezTo>
                    <a:pt x="25" y="43"/>
                    <a:pt x="28" y="49"/>
                    <a:pt x="22" y="56"/>
                  </a:cubicBezTo>
                  <a:cubicBezTo>
                    <a:pt x="16" y="63"/>
                    <a:pt x="4" y="72"/>
                    <a:pt x="4" y="72"/>
                  </a:cubicBezTo>
                  <a:cubicBezTo>
                    <a:pt x="10" y="80"/>
                    <a:pt x="10" y="80"/>
                    <a:pt x="10" y="80"/>
                  </a:cubicBezTo>
                  <a:cubicBezTo>
                    <a:pt x="10" y="80"/>
                    <a:pt x="0" y="88"/>
                    <a:pt x="6" y="89"/>
                  </a:cubicBezTo>
                  <a:cubicBezTo>
                    <a:pt x="12" y="90"/>
                    <a:pt x="17" y="77"/>
                    <a:pt x="24" y="73"/>
                  </a:cubicBezTo>
                  <a:cubicBezTo>
                    <a:pt x="31" y="69"/>
                    <a:pt x="39" y="75"/>
                    <a:pt x="39" y="75"/>
                  </a:cubicBezTo>
                  <a:cubicBezTo>
                    <a:pt x="38" y="93"/>
                    <a:pt x="38" y="93"/>
                    <a:pt x="38" y="93"/>
                  </a:cubicBezTo>
                  <a:cubicBezTo>
                    <a:pt x="38" y="93"/>
                    <a:pt x="45" y="99"/>
                    <a:pt x="45" y="103"/>
                  </a:cubicBezTo>
                  <a:cubicBezTo>
                    <a:pt x="52" y="103"/>
                    <a:pt x="52" y="103"/>
                    <a:pt x="52" y="103"/>
                  </a:cubicBezTo>
                  <a:cubicBezTo>
                    <a:pt x="52" y="103"/>
                    <a:pt x="61" y="96"/>
                    <a:pt x="66" y="96"/>
                  </a:cubicBezTo>
                  <a:cubicBezTo>
                    <a:pt x="71" y="96"/>
                    <a:pt x="76" y="109"/>
                    <a:pt x="86" y="101"/>
                  </a:cubicBezTo>
                  <a:cubicBezTo>
                    <a:pt x="96" y="92"/>
                    <a:pt x="92" y="81"/>
                    <a:pt x="92" y="81"/>
                  </a:cubicBezTo>
                  <a:cubicBezTo>
                    <a:pt x="92" y="81"/>
                    <a:pt x="99" y="75"/>
                    <a:pt x="103" y="75"/>
                  </a:cubicBezTo>
                  <a:cubicBezTo>
                    <a:pt x="107" y="75"/>
                    <a:pt x="111" y="90"/>
                    <a:pt x="111" y="90"/>
                  </a:cubicBezTo>
                  <a:cubicBezTo>
                    <a:pt x="116" y="91"/>
                    <a:pt x="116" y="91"/>
                    <a:pt x="116" y="91"/>
                  </a:cubicBezTo>
                  <a:cubicBezTo>
                    <a:pt x="132" y="108"/>
                    <a:pt x="132" y="108"/>
                    <a:pt x="132" y="108"/>
                  </a:cubicBezTo>
                  <a:cubicBezTo>
                    <a:pt x="133" y="93"/>
                    <a:pt x="133" y="93"/>
                    <a:pt x="133" y="93"/>
                  </a:cubicBezTo>
                  <a:cubicBezTo>
                    <a:pt x="139" y="87"/>
                    <a:pt x="139" y="87"/>
                    <a:pt x="139" y="87"/>
                  </a:cubicBezTo>
                  <a:cubicBezTo>
                    <a:pt x="144" y="71"/>
                    <a:pt x="144" y="71"/>
                    <a:pt x="144" y="71"/>
                  </a:cubicBezTo>
                  <a:cubicBezTo>
                    <a:pt x="150" y="83"/>
                    <a:pt x="150" y="83"/>
                    <a:pt x="150" y="83"/>
                  </a:cubicBezTo>
                  <a:cubicBezTo>
                    <a:pt x="164" y="80"/>
                    <a:pt x="164" y="80"/>
                    <a:pt x="164" y="80"/>
                  </a:cubicBezTo>
                  <a:cubicBezTo>
                    <a:pt x="175" y="85"/>
                    <a:pt x="175" y="85"/>
                    <a:pt x="175" y="85"/>
                  </a:cubicBezTo>
                  <a:cubicBezTo>
                    <a:pt x="180" y="79"/>
                    <a:pt x="180" y="79"/>
                    <a:pt x="180" y="79"/>
                  </a:cubicBezTo>
                  <a:cubicBezTo>
                    <a:pt x="180" y="79"/>
                    <a:pt x="165" y="68"/>
                    <a:pt x="176" y="66"/>
                  </a:cubicBezTo>
                  <a:cubicBezTo>
                    <a:pt x="187" y="64"/>
                    <a:pt x="189" y="68"/>
                    <a:pt x="189" y="68"/>
                  </a:cubicBezTo>
                  <a:cubicBezTo>
                    <a:pt x="191" y="55"/>
                    <a:pt x="191" y="55"/>
                    <a:pt x="191" y="55"/>
                  </a:cubicBezTo>
                  <a:cubicBezTo>
                    <a:pt x="196" y="54"/>
                    <a:pt x="196" y="54"/>
                    <a:pt x="196" y="54"/>
                  </a:cubicBezTo>
                  <a:cubicBezTo>
                    <a:pt x="195" y="50"/>
                    <a:pt x="192" y="44"/>
                    <a:pt x="187" y="43"/>
                  </a:cubicBezTo>
                  <a:cubicBezTo>
                    <a:pt x="176" y="43"/>
                    <a:pt x="178" y="52"/>
                    <a:pt x="171" y="55"/>
                  </a:cubicBezTo>
                  <a:cubicBezTo>
                    <a:pt x="163" y="57"/>
                    <a:pt x="166" y="43"/>
                    <a:pt x="166" y="43"/>
                  </a:cubicBezTo>
                  <a:cubicBezTo>
                    <a:pt x="154" y="44"/>
                    <a:pt x="154" y="44"/>
                    <a:pt x="154" y="44"/>
                  </a:cubicBezTo>
                  <a:cubicBezTo>
                    <a:pt x="154" y="44"/>
                    <a:pt x="150" y="44"/>
                    <a:pt x="146" y="42"/>
                  </a:cubicBezTo>
                  <a:cubicBezTo>
                    <a:pt x="142" y="39"/>
                    <a:pt x="148" y="31"/>
                    <a:pt x="153" y="29"/>
                  </a:cubicBezTo>
                  <a:cubicBezTo>
                    <a:pt x="159" y="27"/>
                    <a:pt x="154" y="19"/>
                    <a:pt x="154" y="19"/>
                  </a:cubicBezTo>
                  <a:cubicBezTo>
                    <a:pt x="150" y="19"/>
                    <a:pt x="150" y="19"/>
                    <a:pt x="150" y="19"/>
                  </a:cubicBezTo>
                  <a:cubicBezTo>
                    <a:pt x="144" y="11"/>
                    <a:pt x="144" y="11"/>
                    <a:pt x="144" y="11"/>
                  </a:cubicBezTo>
                  <a:cubicBezTo>
                    <a:pt x="134" y="8"/>
                    <a:pt x="134" y="8"/>
                    <a:pt x="134" y="8"/>
                  </a:cubicBezTo>
                  <a:cubicBezTo>
                    <a:pt x="125" y="8"/>
                    <a:pt x="125" y="8"/>
                    <a:pt x="125" y="8"/>
                  </a:cubicBezTo>
                  <a:cubicBezTo>
                    <a:pt x="125" y="8"/>
                    <a:pt x="116" y="0"/>
                    <a:pt x="109" y="1"/>
                  </a:cubicBezTo>
                  <a:cubicBezTo>
                    <a:pt x="102" y="2"/>
                    <a:pt x="107" y="14"/>
                    <a:pt x="107" y="14"/>
                  </a:cubicBezTo>
                  <a:cubicBezTo>
                    <a:pt x="103" y="10"/>
                    <a:pt x="103" y="10"/>
                    <a:pt x="103" y="10"/>
                  </a:cubicBezTo>
                  <a:lnTo>
                    <a:pt x="93" y="17"/>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13" name="Freeform 74"/>
            <p:cNvSpPr>
              <a:spLocks noEditPoints="1"/>
            </p:cNvSpPr>
            <p:nvPr/>
          </p:nvSpPr>
          <p:spPr bwMode="gray">
            <a:xfrm>
              <a:off x="4424363" y="2562225"/>
              <a:ext cx="293687" cy="309563"/>
            </a:xfrm>
            <a:custGeom>
              <a:avLst/>
              <a:gdLst>
                <a:gd name="T0" fmla="*/ 341 w 523"/>
                <a:gd name="T1" fmla="*/ 483 h 554"/>
                <a:gd name="T2" fmla="*/ 278 w 523"/>
                <a:gd name="T3" fmla="*/ 485 h 554"/>
                <a:gd name="T4" fmla="*/ 281 w 523"/>
                <a:gd name="T5" fmla="*/ 507 h 554"/>
                <a:gd name="T6" fmla="*/ 330 w 523"/>
                <a:gd name="T7" fmla="*/ 531 h 554"/>
                <a:gd name="T8" fmla="*/ 372 w 523"/>
                <a:gd name="T9" fmla="*/ 513 h 554"/>
                <a:gd name="T10" fmla="*/ 378 w 523"/>
                <a:gd name="T11" fmla="*/ 479 h 554"/>
                <a:gd name="T12" fmla="*/ 68 w 523"/>
                <a:gd name="T13" fmla="*/ 320 h 554"/>
                <a:gd name="T14" fmla="*/ 75 w 523"/>
                <a:gd name="T15" fmla="*/ 381 h 554"/>
                <a:gd name="T16" fmla="*/ 78 w 523"/>
                <a:gd name="T17" fmla="*/ 424 h 554"/>
                <a:gd name="T18" fmla="*/ 103 w 523"/>
                <a:gd name="T19" fmla="*/ 414 h 554"/>
                <a:gd name="T20" fmla="*/ 133 w 523"/>
                <a:gd name="T21" fmla="*/ 388 h 554"/>
                <a:gd name="T22" fmla="*/ 140 w 523"/>
                <a:gd name="T23" fmla="*/ 352 h 554"/>
                <a:gd name="T24" fmla="*/ 481 w 523"/>
                <a:gd name="T25" fmla="*/ 337 h 554"/>
                <a:gd name="T26" fmla="*/ 414 w 523"/>
                <a:gd name="T27" fmla="*/ 281 h 554"/>
                <a:gd name="T28" fmla="*/ 311 w 523"/>
                <a:gd name="T29" fmla="*/ 216 h 554"/>
                <a:gd name="T30" fmla="*/ 249 w 523"/>
                <a:gd name="T31" fmla="*/ 148 h 554"/>
                <a:gd name="T32" fmla="*/ 244 w 523"/>
                <a:gd name="T33" fmla="*/ 92 h 554"/>
                <a:gd name="T34" fmla="*/ 294 w 523"/>
                <a:gd name="T35" fmla="*/ 46 h 554"/>
                <a:gd name="T36" fmla="*/ 265 w 523"/>
                <a:gd name="T37" fmla="*/ 29 h 554"/>
                <a:gd name="T38" fmla="*/ 243 w 523"/>
                <a:gd name="T39" fmla="*/ 16 h 554"/>
                <a:gd name="T40" fmla="*/ 195 w 523"/>
                <a:gd name="T41" fmla="*/ 7 h 554"/>
                <a:gd name="T42" fmla="*/ 165 w 523"/>
                <a:gd name="T43" fmla="*/ 16 h 554"/>
                <a:gd name="T44" fmla="*/ 154 w 523"/>
                <a:gd name="T45" fmla="*/ 40 h 554"/>
                <a:gd name="T46" fmla="*/ 124 w 523"/>
                <a:gd name="T47" fmla="*/ 44 h 554"/>
                <a:gd name="T48" fmla="*/ 107 w 523"/>
                <a:gd name="T49" fmla="*/ 54 h 554"/>
                <a:gd name="T50" fmla="*/ 85 w 523"/>
                <a:gd name="T51" fmla="*/ 51 h 554"/>
                <a:gd name="T52" fmla="*/ 60 w 523"/>
                <a:gd name="T53" fmla="*/ 62 h 554"/>
                <a:gd name="T54" fmla="*/ 19 w 523"/>
                <a:gd name="T55" fmla="*/ 64 h 554"/>
                <a:gd name="T56" fmla="*/ 28 w 523"/>
                <a:gd name="T57" fmla="*/ 93 h 554"/>
                <a:gd name="T58" fmla="*/ 6 w 523"/>
                <a:gd name="T59" fmla="*/ 118 h 554"/>
                <a:gd name="T60" fmla="*/ 12 w 523"/>
                <a:gd name="T61" fmla="*/ 141 h 554"/>
                <a:gd name="T62" fmla="*/ 45 w 523"/>
                <a:gd name="T63" fmla="*/ 160 h 554"/>
                <a:gd name="T64" fmla="*/ 58 w 523"/>
                <a:gd name="T65" fmla="*/ 173 h 554"/>
                <a:gd name="T66" fmla="*/ 160 w 523"/>
                <a:gd name="T67" fmla="*/ 192 h 554"/>
                <a:gd name="T68" fmla="*/ 193 w 523"/>
                <a:gd name="T69" fmla="*/ 236 h 554"/>
                <a:gd name="T70" fmla="*/ 259 w 523"/>
                <a:gd name="T71" fmla="*/ 294 h 554"/>
                <a:gd name="T72" fmla="*/ 325 w 523"/>
                <a:gd name="T73" fmla="*/ 334 h 554"/>
                <a:gd name="T74" fmla="*/ 397 w 523"/>
                <a:gd name="T75" fmla="*/ 373 h 554"/>
                <a:gd name="T76" fmla="*/ 418 w 523"/>
                <a:gd name="T77" fmla="*/ 446 h 554"/>
                <a:gd name="T78" fmla="*/ 395 w 523"/>
                <a:gd name="T79" fmla="*/ 489 h 554"/>
                <a:gd name="T80" fmla="*/ 435 w 523"/>
                <a:gd name="T81" fmla="*/ 466 h 554"/>
                <a:gd name="T82" fmla="*/ 452 w 523"/>
                <a:gd name="T83" fmla="*/ 408 h 554"/>
                <a:gd name="T84" fmla="*/ 468 w 523"/>
                <a:gd name="T85" fmla="*/ 361 h 554"/>
                <a:gd name="T86" fmla="*/ 515 w 523"/>
                <a:gd name="T87" fmla="*/ 363 h 5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3" h="554">
                  <a:moveTo>
                    <a:pt x="378" y="479"/>
                  </a:moveTo>
                  <a:cubicBezTo>
                    <a:pt x="378" y="479"/>
                    <a:pt x="365" y="472"/>
                    <a:pt x="358" y="474"/>
                  </a:cubicBezTo>
                  <a:cubicBezTo>
                    <a:pt x="351" y="476"/>
                    <a:pt x="341" y="483"/>
                    <a:pt x="341" y="483"/>
                  </a:cubicBezTo>
                  <a:cubicBezTo>
                    <a:pt x="341" y="483"/>
                    <a:pt x="322" y="486"/>
                    <a:pt x="314" y="486"/>
                  </a:cubicBezTo>
                  <a:cubicBezTo>
                    <a:pt x="306" y="486"/>
                    <a:pt x="292" y="470"/>
                    <a:pt x="289" y="473"/>
                  </a:cubicBezTo>
                  <a:cubicBezTo>
                    <a:pt x="286" y="476"/>
                    <a:pt x="278" y="485"/>
                    <a:pt x="278" y="485"/>
                  </a:cubicBezTo>
                  <a:cubicBezTo>
                    <a:pt x="265" y="477"/>
                    <a:pt x="265" y="477"/>
                    <a:pt x="265" y="477"/>
                  </a:cubicBezTo>
                  <a:cubicBezTo>
                    <a:pt x="265" y="477"/>
                    <a:pt x="245" y="482"/>
                    <a:pt x="253" y="494"/>
                  </a:cubicBezTo>
                  <a:cubicBezTo>
                    <a:pt x="264" y="510"/>
                    <a:pt x="276" y="505"/>
                    <a:pt x="281" y="507"/>
                  </a:cubicBezTo>
                  <a:cubicBezTo>
                    <a:pt x="286" y="509"/>
                    <a:pt x="291" y="517"/>
                    <a:pt x="293" y="521"/>
                  </a:cubicBezTo>
                  <a:cubicBezTo>
                    <a:pt x="295" y="525"/>
                    <a:pt x="317" y="535"/>
                    <a:pt x="317" y="535"/>
                  </a:cubicBezTo>
                  <a:cubicBezTo>
                    <a:pt x="330" y="531"/>
                    <a:pt x="330" y="531"/>
                    <a:pt x="330" y="531"/>
                  </a:cubicBezTo>
                  <a:cubicBezTo>
                    <a:pt x="330" y="531"/>
                    <a:pt x="344" y="552"/>
                    <a:pt x="363" y="553"/>
                  </a:cubicBezTo>
                  <a:cubicBezTo>
                    <a:pt x="382" y="554"/>
                    <a:pt x="377" y="537"/>
                    <a:pt x="377" y="537"/>
                  </a:cubicBezTo>
                  <a:cubicBezTo>
                    <a:pt x="377" y="537"/>
                    <a:pt x="372" y="520"/>
                    <a:pt x="372" y="513"/>
                  </a:cubicBezTo>
                  <a:cubicBezTo>
                    <a:pt x="372" y="506"/>
                    <a:pt x="377" y="496"/>
                    <a:pt x="383" y="491"/>
                  </a:cubicBezTo>
                  <a:cubicBezTo>
                    <a:pt x="389" y="486"/>
                    <a:pt x="383" y="469"/>
                    <a:pt x="383" y="469"/>
                  </a:cubicBezTo>
                  <a:lnTo>
                    <a:pt x="378" y="479"/>
                  </a:lnTo>
                  <a:close/>
                  <a:moveTo>
                    <a:pt x="119" y="312"/>
                  </a:moveTo>
                  <a:cubicBezTo>
                    <a:pt x="107" y="311"/>
                    <a:pt x="95" y="332"/>
                    <a:pt x="87" y="332"/>
                  </a:cubicBezTo>
                  <a:cubicBezTo>
                    <a:pt x="79" y="332"/>
                    <a:pt x="68" y="320"/>
                    <a:pt x="68" y="320"/>
                  </a:cubicBezTo>
                  <a:cubicBezTo>
                    <a:pt x="64" y="331"/>
                    <a:pt x="64" y="331"/>
                    <a:pt x="64" y="331"/>
                  </a:cubicBezTo>
                  <a:cubicBezTo>
                    <a:pt x="64" y="331"/>
                    <a:pt x="79" y="344"/>
                    <a:pt x="79" y="354"/>
                  </a:cubicBezTo>
                  <a:cubicBezTo>
                    <a:pt x="79" y="364"/>
                    <a:pt x="75" y="381"/>
                    <a:pt x="75" y="381"/>
                  </a:cubicBezTo>
                  <a:cubicBezTo>
                    <a:pt x="81" y="388"/>
                    <a:pt x="81" y="388"/>
                    <a:pt x="81" y="388"/>
                  </a:cubicBezTo>
                  <a:cubicBezTo>
                    <a:pt x="73" y="393"/>
                    <a:pt x="73" y="393"/>
                    <a:pt x="73" y="393"/>
                  </a:cubicBezTo>
                  <a:cubicBezTo>
                    <a:pt x="78" y="424"/>
                    <a:pt x="78" y="424"/>
                    <a:pt x="78" y="424"/>
                  </a:cubicBezTo>
                  <a:cubicBezTo>
                    <a:pt x="69" y="424"/>
                    <a:pt x="69" y="424"/>
                    <a:pt x="69" y="424"/>
                  </a:cubicBezTo>
                  <a:cubicBezTo>
                    <a:pt x="82" y="435"/>
                    <a:pt x="82" y="435"/>
                    <a:pt x="82" y="435"/>
                  </a:cubicBezTo>
                  <a:cubicBezTo>
                    <a:pt x="98" y="435"/>
                    <a:pt x="103" y="414"/>
                    <a:pt x="103" y="414"/>
                  </a:cubicBezTo>
                  <a:cubicBezTo>
                    <a:pt x="103" y="414"/>
                    <a:pt x="115" y="430"/>
                    <a:pt x="124" y="423"/>
                  </a:cubicBezTo>
                  <a:cubicBezTo>
                    <a:pt x="133" y="416"/>
                    <a:pt x="129" y="398"/>
                    <a:pt x="129" y="398"/>
                  </a:cubicBezTo>
                  <a:cubicBezTo>
                    <a:pt x="133" y="388"/>
                    <a:pt x="133" y="388"/>
                    <a:pt x="133" y="388"/>
                  </a:cubicBezTo>
                  <a:cubicBezTo>
                    <a:pt x="133" y="371"/>
                    <a:pt x="133" y="371"/>
                    <a:pt x="133" y="371"/>
                  </a:cubicBezTo>
                  <a:cubicBezTo>
                    <a:pt x="133" y="371"/>
                    <a:pt x="127" y="369"/>
                    <a:pt x="128" y="364"/>
                  </a:cubicBezTo>
                  <a:cubicBezTo>
                    <a:pt x="129" y="359"/>
                    <a:pt x="140" y="359"/>
                    <a:pt x="140" y="352"/>
                  </a:cubicBezTo>
                  <a:cubicBezTo>
                    <a:pt x="140" y="345"/>
                    <a:pt x="131" y="313"/>
                    <a:pt x="119" y="312"/>
                  </a:cubicBezTo>
                  <a:close/>
                  <a:moveTo>
                    <a:pt x="515" y="363"/>
                  </a:moveTo>
                  <a:cubicBezTo>
                    <a:pt x="507" y="354"/>
                    <a:pt x="481" y="337"/>
                    <a:pt x="481" y="337"/>
                  </a:cubicBezTo>
                  <a:cubicBezTo>
                    <a:pt x="451" y="321"/>
                    <a:pt x="451" y="321"/>
                    <a:pt x="451" y="321"/>
                  </a:cubicBezTo>
                  <a:cubicBezTo>
                    <a:pt x="451" y="321"/>
                    <a:pt x="398" y="308"/>
                    <a:pt x="402" y="299"/>
                  </a:cubicBezTo>
                  <a:cubicBezTo>
                    <a:pt x="406" y="290"/>
                    <a:pt x="415" y="289"/>
                    <a:pt x="414" y="281"/>
                  </a:cubicBezTo>
                  <a:cubicBezTo>
                    <a:pt x="413" y="273"/>
                    <a:pt x="365" y="271"/>
                    <a:pt x="365" y="271"/>
                  </a:cubicBezTo>
                  <a:cubicBezTo>
                    <a:pt x="365" y="271"/>
                    <a:pt x="351" y="266"/>
                    <a:pt x="334" y="249"/>
                  </a:cubicBezTo>
                  <a:cubicBezTo>
                    <a:pt x="317" y="232"/>
                    <a:pt x="311" y="216"/>
                    <a:pt x="311" y="216"/>
                  </a:cubicBezTo>
                  <a:cubicBezTo>
                    <a:pt x="311" y="216"/>
                    <a:pt x="306" y="192"/>
                    <a:pt x="296" y="186"/>
                  </a:cubicBezTo>
                  <a:cubicBezTo>
                    <a:pt x="286" y="180"/>
                    <a:pt x="275" y="170"/>
                    <a:pt x="275" y="170"/>
                  </a:cubicBezTo>
                  <a:cubicBezTo>
                    <a:pt x="249" y="148"/>
                    <a:pt x="249" y="148"/>
                    <a:pt x="249" y="148"/>
                  </a:cubicBezTo>
                  <a:cubicBezTo>
                    <a:pt x="249" y="148"/>
                    <a:pt x="235" y="126"/>
                    <a:pt x="240" y="124"/>
                  </a:cubicBezTo>
                  <a:cubicBezTo>
                    <a:pt x="245" y="122"/>
                    <a:pt x="253" y="120"/>
                    <a:pt x="253" y="115"/>
                  </a:cubicBezTo>
                  <a:cubicBezTo>
                    <a:pt x="253" y="110"/>
                    <a:pt x="236" y="101"/>
                    <a:pt x="244" y="92"/>
                  </a:cubicBezTo>
                  <a:cubicBezTo>
                    <a:pt x="252" y="83"/>
                    <a:pt x="275" y="77"/>
                    <a:pt x="275" y="77"/>
                  </a:cubicBezTo>
                  <a:cubicBezTo>
                    <a:pt x="289" y="71"/>
                    <a:pt x="289" y="71"/>
                    <a:pt x="289" y="71"/>
                  </a:cubicBezTo>
                  <a:cubicBezTo>
                    <a:pt x="294" y="46"/>
                    <a:pt x="294" y="46"/>
                    <a:pt x="294" y="46"/>
                  </a:cubicBezTo>
                  <a:cubicBezTo>
                    <a:pt x="286" y="43"/>
                    <a:pt x="286" y="43"/>
                    <a:pt x="286" y="43"/>
                  </a:cubicBezTo>
                  <a:cubicBezTo>
                    <a:pt x="286" y="43"/>
                    <a:pt x="294" y="36"/>
                    <a:pt x="291" y="30"/>
                  </a:cubicBezTo>
                  <a:cubicBezTo>
                    <a:pt x="288" y="25"/>
                    <a:pt x="265" y="29"/>
                    <a:pt x="265" y="29"/>
                  </a:cubicBezTo>
                  <a:cubicBezTo>
                    <a:pt x="253" y="29"/>
                    <a:pt x="253" y="29"/>
                    <a:pt x="253" y="29"/>
                  </a:cubicBezTo>
                  <a:cubicBezTo>
                    <a:pt x="248" y="16"/>
                    <a:pt x="248" y="16"/>
                    <a:pt x="248" y="16"/>
                  </a:cubicBezTo>
                  <a:cubicBezTo>
                    <a:pt x="243" y="16"/>
                    <a:pt x="243" y="16"/>
                    <a:pt x="243" y="16"/>
                  </a:cubicBezTo>
                  <a:cubicBezTo>
                    <a:pt x="243" y="16"/>
                    <a:pt x="242" y="2"/>
                    <a:pt x="233" y="1"/>
                  </a:cubicBezTo>
                  <a:cubicBezTo>
                    <a:pt x="223" y="0"/>
                    <a:pt x="221" y="9"/>
                    <a:pt x="221" y="9"/>
                  </a:cubicBezTo>
                  <a:cubicBezTo>
                    <a:pt x="195" y="7"/>
                    <a:pt x="195" y="7"/>
                    <a:pt x="195" y="7"/>
                  </a:cubicBezTo>
                  <a:cubicBezTo>
                    <a:pt x="185" y="19"/>
                    <a:pt x="185" y="19"/>
                    <a:pt x="185" y="19"/>
                  </a:cubicBezTo>
                  <a:cubicBezTo>
                    <a:pt x="179" y="15"/>
                    <a:pt x="179" y="15"/>
                    <a:pt x="179" y="15"/>
                  </a:cubicBezTo>
                  <a:cubicBezTo>
                    <a:pt x="165" y="16"/>
                    <a:pt x="165" y="16"/>
                    <a:pt x="165" y="16"/>
                  </a:cubicBezTo>
                  <a:cubicBezTo>
                    <a:pt x="163" y="29"/>
                    <a:pt x="163" y="29"/>
                    <a:pt x="163" y="29"/>
                  </a:cubicBezTo>
                  <a:cubicBezTo>
                    <a:pt x="163" y="29"/>
                    <a:pt x="161" y="25"/>
                    <a:pt x="150" y="27"/>
                  </a:cubicBezTo>
                  <a:cubicBezTo>
                    <a:pt x="139" y="29"/>
                    <a:pt x="154" y="40"/>
                    <a:pt x="154" y="40"/>
                  </a:cubicBezTo>
                  <a:cubicBezTo>
                    <a:pt x="149" y="46"/>
                    <a:pt x="149" y="46"/>
                    <a:pt x="149" y="46"/>
                  </a:cubicBezTo>
                  <a:cubicBezTo>
                    <a:pt x="138" y="41"/>
                    <a:pt x="138" y="41"/>
                    <a:pt x="138" y="41"/>
                  </a:cubicBezTo>
                  <a:cubicBezTo>
                    <a:pt x="124" y="44"/>
                    <a:pt x="124" y="44"/>
                    <a:pt x="124" y="44"/>
                  </a:cubicBezTo>
                  <a:cubicBezTo>
                    <a:pt x="118" y="32"/>
                    <a:pt x="118" y="32"/>
                    <a:pt x="118" y="32"/>
                  </a:cubicBezTo>
                  <a:cubicBezTo>
                    <a:pt x="113" y="48"/>
                    <a:pt x="113" y="48"/>
                    <a:pt x="113" y="48"/>
                  </a:cubicBezTo>
                  <a:cubicBezTo>
                    <a:pt x="107" y="54"/>
                    <a:pt x="107" y="54"/>
                    <a:pt x="107" y="54"/>
                  </a:cubicBezTo>
                  <a:cubicBezTo>
                    <a:pt x="106" y="69"/>
                    <a:pt x="106" y="69"/>
                    <a:pt x="106" y="69"/>
                  </a:cubicBezTo>
                  <a:cubicBezTo>
                    <a:pt x="90" y="52"/>
                    <a:pt x="90" y="52"/>
                    <a:pt x="90" y="52"/>
                  </a:cubicBezTo>
                  <a:cubicBezTo>
                    <a:pt x="85" y="51"/>
                    <a:pt x="85" y="51"/>
                    <a:pt x="85" y="51"/>
                  </a:cubicBezTo>
                  <a:cubicBezTo>
                    <a:pt x="85" y="51"/>
                    <a:pt x="81" y="36"/>
                    <a:pt x="77" y="36"/>
                  </a:cubicBezTo>
                  <a:cubicBezTo>
                    <a:pt x="73" y="36"/>
                    <a:pt x="66" y="42"/>
                    <a:pt x="66" y="42"/>
                  </a:cubicBezTo>
                  <a:cubicBezTo>
                    <a:pt x="66" y="42"/>
                    <a:pt x="70" y="53"/>
                    <a:pt x="60" y="62"/>
                  </a:cubicBezTo>
                  <a:cubicBezTo>
                    <a:pt x="50" y="70"/>
                    <a:pt x="45" y="57"/>
                    <a:pt x="40" y="57"/>
                  </a:cubicBezTo>
                  <a:cubicBezTo>
                    <a:pt x="35" y="57"/>
                    <a:pt x="26" y="64"/>
                    <a:pt x="26" y="64"/>
                  </a:cubicBezTo>
                  <a:cubicBezTo>
                    <a:pt x="19" y="64"/>
                    <a:pt x="19" y="64"/>
                    <a:pt x="19" y="64"/>
                  </a:cubicBezTo>
                  <a:cubicBezTo>
                    <a:pt x="19" y="68"/>
                    <a:pt x="9" y="72"/>
                    <a:pt x="9" y="72"/>
                  </a:cubicBezTo>
                  <a:cubicBezTo>
                    <a:pt x="17" y="80"/>
                    <a:pt x="17" y="80"/>
                    <a:pt x="17" y="80"/>
                  </a:cubicBezTo>
                  <a:cubicBezTo>
                    <a:pt x="17" y="80"/>
                    <a:pt x="28" y="84"/>
                    <a:pt x="28" y="93"/>
                  </a:cubicBezTo>
                  <a:cubicBezTo>
                    <a:pt x="28" y="102"/>
                    <a:pt x="9" y="103"/>
                    <a:pt x="9" y="103"/>
                  </a:cubicBezTo>
                  <a:cubicBezTo>
                    <a:pt x="0" y="105"/>
                    <a:pt x="0" y="105"/>
                    <a:pt x="0" y="105"/>
                  </a:cubicBezTo>
                  <a:cubicBezTo>
                    <a:pt x="6" y="118"/>
                    <a:pt x="6" y="118"/>
                    <a:pt x="6" y="118"/>
                  </a:cubicBezTo>
                  <a:cubicBezTo>
                    <a:pt x="13" y="118"/>
                    <a:pt x="13" y="118"/>
                    <a:pt x="13" y="118"/>
                  </a:cubicBezTo>
                  <a:cubicBezTo>
                    <a:pt x="13" y="118"/>
                    <a:pt x="17" y="121"/>
                    <a:pt x="18" y="126"/>
                  </a:cubicBezTo>
                  <a:cubicBezTo>
                    <a:pt x="19" y="131"/>
                    <a:pt x="13" y="131"/>
                    <a:pt x="12" y="141"/>
                  </a:cubicBezTo>
                  <a:cubicBezTo>
                    <a:pt x="11" y="151"/>
                    <a:pt x="25" y="152"/>
                    <a:pt x="25" y="152"/>
                  </a:cubicBezTo>
                  <a:cubicBezTo>
                    <a:pt x="28" y="158"/>
                    <a:pt x="28" y="158"/>
                    <a:pt x="28" y="158"/>
                  </a:cubicBezTo>
                  <a:cubicBezTo>
                    <a:pt x="28" y="158"/>
                    <a:pt x="42" y="156"/>
                    <a:pt x="45" y="160"/>
                  </a:cubicBezTo>
                  <a:cubicBezTo>
                    <a:pt x="48" y="164"/>
                    <a:pt x="42" y="174"/>
                    <a:pt x="38" y="174"/>
                  </a:cubicBezTo>
                  <a:cubicBezTo>
                    <a:pt x="36" y="174"/>
                    <a:pt x="35" y="176"/>
                    <a:pt x="35" y="179"/>
                  </a:cubicBezTo>
                  <a:cubicBezTo>
                    <a:pt x="44" y="178"/>
                    <a:pt x="54" y="177"/>
                    <a:pt x="58" y="173"/>
                  </a:cubicBezTo>
                  <a:cubicBezTo>
                    <a:pt x="65" y="166"/>
                    <a:pt x="83" y="145"/>
                    <a:pt x="93" y="145"/>
                  </a:cubicBezTo>
                  <a:cubicBezTo>
                    <a:pt x="103" y="145"/>
                    <a:pt x="132" y="152"/>
                    <a:pt x="144" y="162"/>
                  </a:cubicBezTo>
                  <a:cubicBezTo>
                    <a:pt x="156" y="172"/>
                    <a:pt x="160" y="192"/>
                    <a:pt x="160" y="192"/>
                  </a:cubicBezTo>
                  <a:cubicBezTo>
                    <a:pt x="168" y="200"/>
                    <a:pt x="168" y="200"/>
                    <a:pt x="168" y="200"/>
                  </a:cubicBezTo>
                  <a:cubicBezTo>
                    <a:pt x="168" y="200"/>
                    <a:pt x="160" y="221"/>
                    <a:pt x="169" y="226"/>
                  </a:cubicBezTo>
                  <a:cubicBezTo>
                    <a:pt x="178" y="231"/>
                    <a:pt x="193" y="236"/>
                    <a:pt x="193" y="236"/>
                  </a:cubicBezTo>
                  <a:cubicBezTo>
                    <a:pt x="197" y="249"/>
                    <a:pt x="197" y="249"/>
                    <a:pt x="197" y="249"/>
                  </a:cubicBezTo>
                  <a:cubicBezTo>
                    <a:pt x="217" y="250"/>
                    <a:pt x="217" y="250"/>
                    <a:pt x="217" y="250"/>
                  </a:cubicBezTo>
                  <a:cubicBezTo>
                    <a:pt x="217" y="250"/>
                    <a:pt x="250" y="284"/>
                    <a:pt x="259" y="294"/>
                  </a:cubicBezTo>
                  <a:cubicBezTo>
                    <a:pt x="268" y="304"/>
                    <a:pt x="276" y="313"/>
                    <a:pt x="276" y="313"/>
                  </a:cubicBezTo>
                  <a:cubicBezTo>
                    <a:pt x="303" y="314"/>
                    <a:pt x="303" y="314"/>
                    <a:pt x="303" y="314"/>
                  </a:cubicBezTo>
                  <a:cubicBezTo>
                    <a:pt x="303" y="314"/>
                    <a:pt x="310" y="329"/>
                    <a:pt x="325" y="334"/>
                  </a:cubicBezTo>
                  <a:cubicBezTo>
                    <a:pt x="340" y="339"/>
                    <a:pt x="359" y="335"/>
                    <a:pt x="362" y="342"/>
                  </a:cubicBezTo>
                  <a:cubicBezTo>
                    <a:pt x="365" y="349"/>
                    <a:pt x="366" y="372"/>
                    <a:pt x="379" y="375"/>
                  </a:cubicBezTo>
                  <a:cubicBezTo>
                    <a:pt x="392" y="378"/>
                    <a:pt x="397" y="373"/>
                    <a:pt x="397" y="373"/>
                  </a:cubicBezTo>
                  <a:cubicBezTo>
                    <a:pt x="397" y="373"/>
                    <a:pt x="400" y="392"/>
                    <a:pt x="402" y="406"/>
                  </a:cubicBezTo>
                  <a:cubicBezTo>
                    <a:pt x="404" y="420"/>
                    <a:pt x="417" y="419"/>
                    <a:pt x="417" y="429"/>
                  </a:cubicBezTo>
                  <a:cubicBezTo>
                    <a:pt x="417" y="439"/>
                    <a:pt x="418" y="446"/>
                    <a:pt x="418" y="446"/>
                  </a:cubicBezTo>
                  <a:cubicBezTo>
                    <a:pt x="405" y="445"/>
                    <a:pt x="405" y="445"/>
                    <a:pt x="405" y="445"/>
                  </a:cubicBezTo>
                  <a:cubicBezTo>
                    <a:pt x="404" y="460"/>
                    <a:pt x="404" y="460"/>
                    <a:pt x="404" y="460"/>
                  </a:cubicBezTo>
                  <a:cubicBezTo>
                    <a:pt x="404" y="460"/>
                    <a:pt x="384" y="489"/>
                    <a:pt x="395" y="489"/>
                  </a:cubicBezTo>
                  <a:cubicBezTo>
                    <a:pt x="406" y="489"/>
                    <a:pt x="414" y="483"/>
                    <a:pt x="414" y="483"/>
                  </a:cubicBezTo>
                  <a:cubicBezTo>
                    <a:pt x="422" y="468"/>
                    <a:pt x="422" y="468"/>
                    <a:pt x="422" y="468"/>
                  </a:cubicBezTo>
                  <a:cubicBezTo>
                    <a:pt x="435" y="466"/>
                    <a:pt x="435" y="466"/>
                    <a:pt x="435" y="466"/>
                  </a:cubicBezTo>
                  <a:cubicBezTo>
                    <a:pt x="435" y="466"/>
                    <a:pt x="432" y="444"/>
                    <a:pt x="436" y="441"/>
                  </a:cubicBezTo>
                  <a:cubicBezTo>
                    <a:pt x="440" y="438"/>
                    <a:pt x="461" y="432"/>
                    <a:pt x="461" y="432"/>
                  </a:cubicBezTo>
                  <a:cubicBezTo>
                    <a:pt x="461" y="432"/>
                    <a:pt x="456" y="412"/>
                    <a:pt x="452" y="408"/>
                  </a:cubicBezTo>
                  <a:cubicBezTo>
                    <a:pt x="448" y="404"/>
                    <a:pt x="430" y="399"/>
                    <a:pt x="431" y="392"/>
                  </a:cubicBezTo>
                  <a:cubicBezTo>
                    <a:pt x="432" y="385"/>
                    <a:pt x="445" y="351"/>
                    <a:pt x="453" y="354"/>
                  </a:cubicBezTo>
                  <a:cubicBezTo>
                    <a:pt x="461" y="357"/>
                    <a:pt x="468" y="361"/>
                    <a:pt x="468" y="361"/>
                  </a:cubicBezTo>
                  <a:cubicBezTo>
                    <a:pt x="488" y="361"/>
                    <a:pt x="488" y="361"/>
                    <a:pt x="488" y="361"/>
                  </a:cubicBezTo>
                  <a:cubicBezTo>
                    <a:pt x="488" y="361"/>
                    <a:pt x="491" y="384"/>
                    <a:pt x="505" y="385"/>
                  </a:cubicBezTo>
                  <a:cubicBezTo>
                    <a:pt x="519" y="386"/>
                    <a:pt x="523" y="372"/>
                    <a:pt x="515" y="363"/>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14" name="Freeform 75"/>
            <p:cNvSpPr>
              <a:spLocks/>
            </p:cNvSpPr>
            <p:nvPr/>
          </p:nvSpPr>
          <p:spPr bwMode="gray">
            <a:xfrm>
              <a:off x="4554538" y="2446338"/>
              <a:ext cx="157162" cy="74613"/>
            </a:xfrm>
            <a:custGeom>
              <a:avLst/>
              <a:gdLst>
                <a:gd name="T0" fmla="*/ 268 w 280"/>
                <a:gd name="T1" fmla="*/ 67 h 132"/>
                <a:gd name="T2" fmla="*/ 255 w 280"/>
                <a:gd name="T3" fmla="*/ 60 h 132"/>
                <a:gd name="T4" fmla="*/ 240 w 280"/>
                <a:gd name="T5" fmla="*/ 57 h 132"/>
                <a:gd name="T6" fmla="*/ 219 w 280"/>
                <a:gd name="T7" fmla="*/ 42 h 132"/>
                <a:gd name="T8" fmla="*/ 196 w 280"/>
                <a:gd name="T9" fmla="*/ 47 h 132"/>
                <a:gd name="T10" fmla="*/ 177 w 280"/>
                <a:gd name="T11" fmla="*/ 35 h 132"/>
                <a:gd name="T12" fmla="*/ 178 w 280"/>
                <a:gd name="T13" fmla="*/ 28 h 132"/>
                <a:gd name="T14" fmla="*/ 159 w 280"/>
                <a:gd name="T15" fmla="*/ 24 h 132"/>
                <a:gd name="T16" fmla="*/ 132 w 280"/>
                <a:gd name="T17" fmla="*/ 13 h 132"/>
                <a:gd name="T18" fmla="*/ 116 w 280"/>
                <a:gd name="T19" fmla="*/ 2 h 132"/>
                <a:gd name="T20" fmla="*/ 108 w 280"/>
                <a:gd name="T21" fmla="*/ 11 h 132"/>
                <a:gd name="T22" fmla="*/ 87 w 280"/>
                <a:gd name="T23" fmla="*/ 11 h 132"/>
                <a:gd name="T24" fmla="*/ 72 w 280"/>
                <a:gd name="T25" fmla="*/ 19 h 132"/>
                <a:gd name="T26" fmla="*/ 56 w 280"/>
                <a:gd name="T27" fmla="*/ 24 h 132"/>
                <a:gd name="T28" fmla="*/ 38 w 280"/>
                <a:gd name="T29" fmla="*/ 36 h 132"/>
                <a:gd name="T30" fmla="*/ 21 w 280"/>
                <a:gd name="T31" fmla="*/ 36 h 132"/>
                <a:gd name="T32" fmla="*/ 11 w 280"/>
                <a:gd name="T33" fmla="*/ 42 h 132"/>
                <a:gd name="T34" fmla="*/ 5 w 280"/>
                <a:gd name="T35" fmla="*/ 50 h 132"/>
                <a:gd name="T36" fmla="*/ 17 w 280"/>
                <a:gd name="T37" fmla="*/ 60 h 132"/>
                <a:gd name="T38" fmla="*/ 19 w 280"/>
                <a:gd name="T39" fmla="*/ 74 h 132"/>
                <a:gd name="T40" fmla="*/ 27 w 280"/>
                <a:gd name="T41" fmla="*/ 82 h 132"/>
                <a:gd name="T42" fmla="*/ 42 w 280"/>
                <a:gd name="T43" fmla="*/ 90 h 132"/>
                <a:gd name="T44" fmla="*/ 49 w 280"/>
                <a:gd name="T45" fmla="*/ 98 h 132"/>
                <a:gd name="T46" fmla="*/ 65 w 280"/>
                <a:gd name="T47" fmla="*/ 108 h 132"/>
                <a:gd name="T48" fmla="*/ 87 w 280"/>
                <a:gd name="T49" fmla="*/ 131 h 132"/>
                <a:gd name="T50" fmla="*/ 110 w 280"/>
                <a:gd name="T51" fmla="*/ 132 h 132"/>
                <a:gd name="T52" fmla="*/ 115 w 280"/>
                <a:gd name="T53" fmla="*/ 119 h 132"/>
                <a:gd name="T54" fmla="*/ 142 w 280"/>
                <a:gd name="T55" fmla="*/ 112 h 132"/>
                <a:gd name="T56" fmla="*/ 158 w 280"/>
                <a:gd name="T57" fmla="*/ 113 h 132"/>
                <a:gd name="T58" fmla="*/ 173 w 280"/>
                <a:gd name="T59" fmla="*/ 120 h 132"/>
                <a:gd name="T60" fmla="*/ 200 w 280"/>
                <a:gd name="T61" fmla="*/ 123 h 132"/>
                <a:gd name="T62" fmla="*/ 221 w 280"/>
                <a:gd name="T63" fmla="*/ 116 h 132"/>
                <a:gd name="T64" fmla="*/ 255 w 280"/>
                <a:gd name="T65" fmla="*/ 105 h 132"/>
                <a:gd name="T66" fmla="*/ 269 w 280"/>
                <a:gd name="T67" fmla="*/ 86 h 132"/>
                <a:gd name="T68" fmla="*/ 275 w 280"/>
                <a:gd name="T69" fmla="*/ 73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0" h="132">
                  <a:moveTo>
                    <a:pt x="275" y="73"/>
                  </a:moveTo>
                  <a:cubicBezTo>
                    <a:pt x="268" y="67"/>
                    <a:pt x="268" y="67"/>
                    <a:pt x="268" y="67"/>
                  </a:cubicBezTo>
                  <a:cubicBezTo>
                    <a:pt x="269" y="62"/>
                    <a:pt x="269" y="62"/>
                    <a:pt x="269" y="62"/>
                  </a:cubicBezTo>
                  <a:cubicBezTo>
                    <a:pt x="269" y="62"/>
                    <a:pt x="259" y="60"/>
                    <a:pt x="255" y="60"/>
                  </a:cubicBezTo>
                  <a:cubicBezTo>
                    <a:pt x="251" y="60"/>
                    <a:pt x="247" y="51"/>
                    <a:pt x="247" y="51"/>
                  </a:cubicBezTo>
                  <a:cubicBezTo>
                    <a:pt x="240" y="57"/>
                    <a:pt x="240" y="57"/>
                    <a:pt x="240" y="57"/>
                  </a:cubicBezTo>
                  <a:cubicBezTo>
                    <a:pt x="240" y="57"/>
                    <a:pt x="235" y="44"/>
                    <a:pt x="227" y="43"/>
                  </a:cubicBezTo>
                  <a:cubicBezTo>
                    <a:pt x="219" y="42"/>
                    <a:pt x="219" y="42"/>
                    <a:pt x="219" y="42"/>
                  </a:cubicBezTo>
                  <a:cubicBezTo>
                    <a:pt x="219" y="42"/>
                    <a:pt x="224" y="35"/>
                    <a:pt x="211" y="39"/>
                  </a:cubicBezTo>
                  <a:cubicBezTo>
                    <a:pt x="198" y="43"/>
                    <a:pt x="196" y="47"/>
                    <a:pt x="196" y="47"/>
                  </a:cubicBezTo>
                  <a:cubicBezTo>
                    <a:pt x="196" y="47"/>
                    <a:pt x="185" y="45"/>
                    <a:pt x="181" y="43"/>
                  </a:cubicBezTo>
                  <a:cubicBezTo>
                    <a:pt x="177" y="41"/>
                    <a:pt x="177" y="35"/>
                    <a:pt x="177" y="35"/>
                  </a:cubicBezTo>
                  <a:cubicBezTo>
                    <a:pt x="171" y="32"/>
                    <a:pt x="171" y="32"/>
                    <a:pt x="171" y="32"/>
                  </a:cubicBezTo>
                  <a:cubicBezTo>
                    <a:pt x="178" y="28"/>
                    <a:pt x="178" y="28"/>
                    <a:pt x="178" y="28"/>
                  </a:cubicBezTo>
                  <a:cubicBezTo>
                    <a:pt x="175" y="23"/>
                    <a:pt x="175" y="23"/>
                    <a:pt x="175" y="23"/>
                  </a:cubicBezTo>
                  <a:cubicBezTo>
                    <a:pt x="175" y="23"/>
                    <a:pt x="162" y="24"/>
                    <a:pt x="159" y="24"/>
                  </a:cubicBezTo>
                  <a:cubicBezTo>
                    <a:pt x="156" y="24"/>
                    <a:pt x="158" y="18"/>
                    <a:pt x="146" y="14"/>
                  </a:cubicBezTo>
                  <a:cubicBezTo>
                    <a:pt x="134" y="10"/>
                    <a:pt x="132" y="13"/>
                    <a:pt x="132" y="13"/>
                  </a:cubicBezTo>
                  <a:cubicBezTo>
                    <a:pt x="129" y="4"/>
                    <a:pt x="129" y="4"/>
                    <a:pt x="129" y="4"/>
                  </a:cubicBezTo>
                  <a:cubicBezTo>
                    <a:pt x="116" y="2"/>
                    <a:pt x="116" y="2"/>
                    <a:pt x="116" y="2"/>
                  </a:cubicBezTo>
                  <a:cubicBezTo>
                    <a:pt x="116" y="2"/>
                    <a:pt x="116" y="2"/>
                    <a:pt x="116" y="2"/>
                  </a:cubicBezTo>
                  <a:cubicBezTo>
                    <a:pt x="114" y="6"/>
                    <a:pt x="111" y="11"/>
                    <a:pt x="108" y="11"/>
                  </a:cubicBezTo>
                  <a:cubicBezTo>
                    <a:pt x="103" y="12"/>
                    <a:pt x="98" y="0"/>
                    <a:pt x="96" y="1"/>
                  </a:cubicBezTo>
                  <a:cubicBezTo>
                    <a:pt x="94" y="2"/>
                    <a:pt x="89" y="8"/>
                    <a:pt x="87" y="11"/>
                  </a:cubicBezTo>
                  <a:cubicBezTo>
                    <a:pt x="84" y="14"/>
                    <a:pt x="73" y="13"/>
                    <a:pt x="73" y="13"/>
                  </a:cubicBezTo>
                  <a:cubicBezTo>
                    <a:pt x="73" y="13"/>
                    <a:pt x="75" y="18"/>
                    <a:pt x="72" y="19"/>
                  </a:cubicBezTo>
                  <a:cubicBezTo>
                    <a:pt x="69" y="20"/>
                    <a:pt x="58" y="20"/>
                    <a:pt x="58" y="20"/>
                  </a:cubicBezTo>
                  <a:cubicBezTo>
                    <a:pt x="56" y="24"/>
                    <a:pt x="56" y="24"/>
                    <a:pt x="56" y="24"/>
                  </a:cubicBezTo>
                  <a:cubicBezTo>
                    <a:pt x="45" y="27"/>
                    <a:pt x="45" y="27"/>
                    <a:pt x="45" y="27"/>
                  </a:cubicBezTo>
                  <a:cubicBezTo>
                    <a:pt x="38" y="36"/>
                    <a:pt x="38" y="36"/>
                    <a:pt x="38" y="36"/>
                  </a:cubicBezTo>
                  <a:cubicBezTo>
                    <a:pt x="38" y="36"/>
                    <a:pt x="40" y="32"/>
                    <a:pt x="31" y="30"/>
                  </a:cubicBezTo>
                  <a:cubicBezTo>
                    <a:pt x="23" y="28"/>
                    <a:pt x="21" y="36"/>
                    <a:pt x="21" y="36"/>
                  </a:cubicBezTo>
                  <a:cubicBezTo>
                    <a:pt x="14" y="36"/>
                    <a:pt x="14" y="36"/>
                    <a:pt x="14" y="36"/>
                  </a:cubicBezTo>
                  <a:cubicBezTo>
                    <a:pt x="14" y="36"/>
                    <a:pt x="15" y="41"/>
                    <a:pt x="11" y="42"/>
                  </a:cubicBezTo>
                  <a:cubicBezTo>
                    <a:pt x="7" y="42"/>
                    <a:pt x="7" y="36"/>
                    <a:pt x="3" y="38"/>
                  </a:cubicBezTo>
                  <a:cubicBezTo>
                    <a:pt x="0" y="41"/>
                    <a:pt x="5" y="50"/>
                    <a:pt x="5" y="50"/>
                  </a:cubicBezTo>
                  <a:cubicBezTo>
                    <a:pt x="11" y="51"/>
                    <a:pt x="11" y="51"/>
                    <a:pt x="11" y="51"/>
                  </a:cubicBezTo>
                  <a:cubicBezTo>
                    <a:pt x="17" y="60"/>
                    <a:pt x="17" y="60"/>
                    <a:pt x="17" y="60"/>
                  </a:cubicBezTo>
                  <a:cubicBezTo>
                    <a:pt x="17" y="60"/>
                    <a:pt x="9" y="64"/>
                    <a:pt x="10" y="66"/>
                  </a:cubicBezTo>
                  <a:cubicBezTo>
                    <a:pt x="11" y="68"/>
                    <a:pt x="19" y="74"/>
                    <a:pt x="19" y="74"/>
                  </a:cubicBezTo>
                  <a:cubicBezTo>
                    <a:pt x="21" y="80"/>
                    <a:pt x="21" y="80"/>
                    <a:pt x="21" y="80"/>
                  </a:cubicBezTo>
                  <a:cubicBezTo>
                    <a:pt x="27" y="82"/>
                    <a:pt x="27" y="82"/>
                    <a:pt x="27" y="82"/>
                  </a:cubicBezTo>
                  <a:cubicBezTo>
                    <a:pt x="27" y="82"/>
                    <a:pt x="21" y="87"/>
                    <a:pt x="29" y="88"/>
                  </a:cubicBezTo>
                  <a:cubicBezTo>
                    <a:pt x="36" y="88"/>
                    <a:pt x="42" y="90"/>
                    <a:pt x="42" y="90"/>
                  </a:cubicBezTo>
                  <a:cubicBezTo>
                    <a:pt x="45" y="98"/>
                    <a:pt x="45" y="98"/>
                    <a:pt x="45" y="98"/>
                  </a:cubicBezTo>
                  <a:cubicBezTo>
                    <a:pt x="49" y="98"/>
                    <a:pt x="49" y="98"/>
                    <a:pt x="49" y="98"/>
                  </a:cubicBezTo>
                  <a:cubicBezTo>
                    <a:pt x="55" y="107"/>
                    <a:pt x="55" y="107"/>
                    <a:pt x="55" y="107"/>
                  </a:cubicBezTo>
                  <a:cubicBezTo>
                    <a:pt x="55" y="107"/>
                    <a:pt x="60" y="105"/>
                    <a:pt x="65" y="108"/>
                  </a:cubicBezTo>
                  <a:cubicBezTo>
                    <a:pt x="71" y="112"/>
                    <a:pt x="72" y="119"/>
                    <a:pt x="72" y="119"/>
                  </a:cubicBezTo>
                  <a:cubicBezTo>
                    <a:pt x="72" y="119"/>
                    <a:pt x="80" y="131"/>
                    <a:pt x="87" y="131"/>
                  </a:cubicBezTo>
                  <a:cubicBezTo>
                    <a:pt x="95" y="131"/>
                    <a:pt x="101" y="127"/>
                    <a:pt x="101" y="127"/>
                  </a:cubicBezTo>
                  <a:cubicBezTo>
                    <a:pt x="110" y="132"/>
                    <a:pt x="110" y="132"/>
                    <a:pt x="110" y="132"/>
                  </a:cubicBezTo>
                  <a:cubicBezTo>
                    <a:pt x="111" y="120"/>
                    <a:pt x="111" y="120"/>
                    <a:pt x="111" y="120"/>
                  </a:cubicBezTo>
                  <a:cubicBezTo>
                    <a:pt x="115" y="119"/>
                    <a:pt x="115" y="119"/>
                    <a:pt x="115" y="119"/>
                  </a:cubicBezTo>
                  <a:cubicBezTo>
                    <a:pt x="115" y="119"/>
                    <a:pt x="122" y="106"/>
                    <a:pt x="125" y="105"/>
                  </a:cubicBezTo>
                  <a:cubicBezTo>
                    <a:pt x="129" y="104"/>
                    <a:pt x="142" y="112"/>
                    <a:pt x="142" y="112"/>
                  </a:cubicBezTo>
                  <a:cubicBezTo>
                    <a:pt x="151" y="118"/>
                    <a:pt x="151" y="118"/>
                    <a:pt x="151" y="118"/>
                  </a:cubicBezTo>
                  <a:cubicBezTo>
                    <a:pt x="158" y="113"/>
                    <a:pt x="158" y="113"/>
                    <a:pt x="158" y="113"/>
                  </a:cubicBezTo>
                  <a:cubicBezTo>
                    <a:pt x="165" y="121"/>
                    <a:pt x="165" y="121"/>
                    <a:pt x="165" y="121"/>
                  </a:cubicBezTo>
                  <a:cubicBezTo>
                    <a:pt x="173" y="120"/>
                    <a:pt x="173" y="120"/>
                    <a:pt x="173" y="120"/>
                  </a:cubicBezTo>
                  <a:cubicBezTo>
                    <a:pt x="173" y="120"/>
                    <a:pt x="177" y="113"/>
                    <a:pt x="184" y="115"/>
                  </a:cubicBezTo>
                  <a:cubicBezTo>
                    <a:pt x="192" y="118"/>
                    <a:pt x="200" y="123"/>
                    <a:pt x="200" y="123"/>
                  </a:cubicBezTo>
                  <a:cubicBezTo>
                    <a:pt x="200" y="123"/>
                    <a:pt x="205" y="119"/>
                    <a:pt x="209" y="118"/>
                  </a:cubicBezTo>
                  <a:cubicBezTo>
                    <a:pt x="212" y="117"/>
                    <a:pt x="218" y="117"/>
                    <a:pt x="221" y="116"/>
                  </a:cubicBezTo>
                  <a:cubicBezTo>
                    <a:pt x="222" y="118"/>
                    <a:pt x="228" y="120"/>
                    <a:pt x="233" y="117"/>
                  </a:cubicBezTo>
                  <a:cubicBezTo>
                    <a:pt x="240" y="112"/>
                    <a:pt x="255" y="105"/>
                    <a:pt x="255" y="105"/>
                  </a:cubicBezTo>
                  <a:cubicBezTo>
                    <a:pt x="255" y="92"/>
                    <a:pt x="255" y="92"/>
                    <a:pt x="255" y="92"/>
                  </a:cubicBezTo>
                  <a:cubicBezTo>
                    <a:pt x="269" y="86"/>
                    <a:pt x="269" y="86"/>
                    <a:pt x="269" y="86"/>
                  </a:cubicBezTo>
                  <a:cubicBezTo>
                    <a:pt x="280" y="79"/>
                    <a:pt x="280" y="79"/>
                    <a:pt x="280" y="79"/>
                  </a:cubicBezTo>
                  <a:cubicBezTo>
                    <a:pt x="277" y="76"/>
                    <a:pt x="275" y="73"/>
                    <a:pt x="275" y="73"/>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15" name="Freeform 76"/>
            <p:cNvSpPr>
              <a:spLocks/>
            </p:cNvSpPr>
            <p:nvPr/>
          </p:nvSpPr>
          <p:spPr bwMode="gray">
            <a:xfrm>
              <a:off x="4598988" y="2338388"/>
              <a:ext cx="234950" cy="168275"/>
            </a:xfrm>
            <a:custGeom>
              <a:avLst/>
              <a:gdLst>
                <a:gd name="T0" fmla="*/ 312 w 419"/>
                <a:gd name="T1" fmla="*/ 276 h 301"/>
                <a:gd name="T2" fmla="*/ 351 w 419"/>
                <a:gd name="T3" fmla="*/ 293 h 301"/>
                <a:gd name="T4" fmla="*/ 371 w 419"/>
                <a:gd name="T5" fmla="*/ 301 h 301"/>
                <a:gd name="T6" fmla="*/ 364 w 419"/>
                <a:gd name="T7" fmla="*/ 265 h 301"/>
                <a:gd name="T8" fmla="*/ 417 w 419"/>
                <a:gd name="T9" fmla="*/ 224 h 301"/>
                <a:gd name="T10" fmla="*/ 416 w 419"/>
                <a:gd name="T11" fmla="*/ 203 h 301"/>
                <a:gd name="T12" fmla="*/ 390 w 419"/>
                <a:gd name="T13" fmla="*/ 180 h 301"/>
                <a:gd name="T14" fmla="*/ 389 w 419"/>
                <a:gd name="T15" fmla="*/ 167 h 301"/>
                <a:gd name="T16" fmla="*/ 387 w 419"/>
                <a:gd name="T17" fmla="*/ 140 h 301"/>
                <a:gd name="T18" fmla="*/ 379 w 419"/>
                <a:gd name="T19" fmla="*/ 123 h 301"/>
                <a:gd name="T20" fmla="*/ 394 w 419"/>
                <a:gd name="T21" fmla="*/ 106 h 301"/>
                <a:gd name="T22" fmla="*/ 392 w 419"/>
                <a:gd name="T23" fmla="*/ 78 h 301"/>
                <a:gd name="T24" fmla="*/ 373 w 419"/>
                <a:gd name="T25" fmla="*/ 46 h 301"/>
                <a:gd name="T26" fmla="*/ 344 w 419"/>
                <a:gd name="T27" fmla="*/ 22 h 301"/>
                <a:gd name="T28" fmla="*/ 313 w 419"/>
                <a:gd name="T29" fmla="*/ 26 h 301"/>
                <a:gd name="T30" fmla="*/ 257 w 419"/>
                <a:gd name="T31" fmla="*/ 20 h 301"/>
                <a:gd name="T32" fmla="*/ 231 w 419"/>
                <a:gd name="T33" fmla="*/ 18 h 301"/>
                <a:gd name="T34" fmla="*/ 189 w 419"/>
                <a:gd name="T35" fmla="*/ 22 h 301"/>
                <a:gd name="T36" fmla="*/ 149 w 419"/>
                <a:gd name="T37" fmla="*/ 0 h 301"/>
                <a:gd name="T38" fmla="*/ 81 w 419"/>
                <a:gd name="T39" fmla="*/ 28 h 301"/>
                <a:gd name="T40" fmla="*/ 12 w 419"/>
                <a:gd name="T41" fmla="*/ 48 h 301"/>
                <a:gd name="T42" fmla="*/ 7 w 419"/>
                <a:gd name="T43" fmla="*/ 58 h 301"/>
                <a:gd name="T44" fmla="*/ 14 w 419"/>
                <a:gd name="T45" fmla="*/ 75 h 301"/>
                <a:gd name="T46" fmla="*/ 3 w 419"/>
                <a:gd name="T47" fmla="*/ 102 h 301"/>
                <a:gd name="T48" fmla="*/ 14 w 419"/>
                <a:gd name="T49" fmla="*/ 111 h 301"/>
                <a:gd name="T50" fmla="*/ 24 w 419"/>
                <a:gd name="T51" fmla="*/ 122 h 301"/>
                <a:gd name="T52" fmla="*/ 25 w 419"/>
                <a:gd name="T53" fmla="*/ 132 h 301"/>
                <a:gd name="T54" fmla="*/ 29 w 419"/>
                <a:gd name="T55" fmla="*/ 142 h 301"/>
                <a:gd name="T56" fmla="*/ 30 w 419"/>
                <a:gd name="T57" fmla="*/ 161 h 301"/>
                <a:gd name="T58" fmla="*/ 38 w 419"/>
                <a:gd name="T59" fmla="*/ 173 h 301"/>
                <a:gd name="T60" fmla="*/ 41 w 419"/>
                <a:gd name="T61" fmla="*/ 187 h 301"/>
                <a:gd name="T62" fmla="*/ 50 w 419"/>
                <a:gd name="T63" fmla="*/ 197 h 301"/>
                <a:gd name="T64" fmla="*/ 67 w 419"/>
                <a:gd name="T65" fmla="*/ 207 h 301"/>
                <a:gd name="T66" fmla="*/ 96 w 419"/>
                <a:gd name="T67" fmla="*/ 216 h 301"/>
                <a:gd name="T68" fmla="*/ 92 w 419"/>
                <a:gd name="T69" fmla="*/ 225 h 301"/>
                <a:gd name="T70" fmla="*/ 102 w 419"/>
                <a:gd name="T71" fmla="*/ 236 h 301"/>
                <a:gd name="T72" fmla="*/ 132 w 419"/>
                <a:gd name="T73" fmla="*/ 232 h 301"/>
                <a:gd name="T74" fmla="*/ 148 w 419"/>
                <a:gd name="T75" fmla="*/ 236 h 301"/>
                <a:gd name="T76" fmla="*/ 168 w 419"/>
                <a:gd name="T77" fmla="*/ 244 h 301"/>
                <a:gd name="T78" fmla="*/ 190 w 419"/>
                <a:gd name="T79" fmla="*/ 255 h 301"/>
                <a:gd name="T80" fmla="*/ 196 w 419"/>
                <a:gd name="T81" fmla="*/ 266 h 301"/>
                <a:gd name="T82" fmla="*/ 229 w 419"/>
                <a:gd name="T83" fmla="*/ 272 h 301"/>
                <a:gd name="T84" fmla="*/ 244 w 419"/>
                <a:gd name="T85" fmla="*/ 281 h 301"/>
                <a:gd name="T86" fmla="*/ 258 w 419"/>
                <a:gd name="T87" fmla="*/ 279 h 301"/>
                <a:gd name="T88" fmla="*/ 288 w 419"/>
                <a:gd name="T89" fmla="*/ 284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19" h="301">
                  <a:moveTo>
                    <a:pt x="288" y="284"/>
                  </a:moveTo>
                  <a:cubicBezTo>
                    <a:pt x="293" y="284"/>
                    <a:pt x="298" y="276"/>
                    <a:pt x="312" y="276"/>
                  </a:cubicBezTo>
                  <a:cubicBezTo>
                    <a:pt x="326" y="276"/>
                    <a:pt x="325" y="283"/>
                    <a:pt x="332" y="289"/>
                  </a:cubicBezTo>
                  <a:cubicBezTo>
                    <a:pt x="339" y="295"/>
                    <a:pt x="345" y="293"/>
                    <a:pt x="351" y="293"/>
                  </a:cubicBezTo>
                  <a:cubicBezTo>
                    <a:pt x="357" y="293"/>
                    <a:pt x="355" y="300"/>
                    <a:pt x="355" y="300"/>
                  </a:cubicBezTo>
                  <a:cubicBezTo>
                    <a:pt x="371" y="301"/>
                    <a:pt x="371" y="301"/>
                    <a:pt x="371" y="301"/>
                  </a:cubicBezTo>
                  <a:cubicBezTo>
                    <a:pt x="371" y="301"/>
                    <a:pt x="362" y="295"/>
                    <a:pt x="363" y="285"/>
                  </a:cubicBezTo>
                  <a:cubicBezTo>
                    <a:pt x="364" y="275"/>
                    <a:pt x="364" y="265"/>
                    <a:pt x="364" y="265"/>
                  </a:cubicBezTo>
                  <a:cubicBezTo>
                    <a:pt x="399" y="230"/>
                    <a:pt x="399" y="230"/>
                    <a:pt x="399" y="230"/>
                  </a:cubicBezTo>
                  <a:cubicBezTo>
                    <a:pt x="399" y="230"/>
                    <a:pt x="419" y="229"/>
                    <a:pt x="417" y="224"/>
                  </a:cubicBezTo>
                  <a:cubicBezTo>
                    <a:pt x="415" y="219"/>
                    <a:pt x="409" y="211"/>
                    <a:pt x="409" y="211"/>
                  </a:cubicBezTo>
                  <a:cubicBezTo>
                    <a:pt x="416" y="203"/>
                    <a:pt x="416" y="203"/>
                    <a:pt x="416" y="203"/>
                  </a:cubicBezTo>
                  <a:cubicBezTo>
                    <a:pt x="416" y="203"/>
                    <a:pt x="404" y="200"/>
                    <a:pt x="401" y="191"/>
                  </a:cubicBezTo>
                  <a:cubicBezTo>
                    <a:pt x="398" y="182"/>
                    <a:pt x="390" y="180"/>
                    <a:pt x="390" y="180"/>
                  </a:cubicBezTo>
                  <a:cubicBezTo>
                    <a:pt x="388" y="167"/>
                    <a:pt x="388" y="167"/>
                    <a:pt x="388" y="167"/>
                  </a:cubicBezTo>
                  <a:cubicBezTo>
                    <a:pt x="388" y="167"/>
                    <a:pt x="388" y="167"/>
                    <a:pt x="389" y="167"/>
                  </a:cubicBezTo>
                  <a:cubicBezTo>
                    <a:pt x="386" y="158"/>
                    <a:pt x="386" y="158"/>
                    <a:pt x="386" y="158"/>
                  </a:cubicBezTo>
                  <a:cubicBezTo>
                    <a:pt x="386" y="158"/>
                    <a:pt x="389" y="144"/>
                    <a:pt x="387" y="140"/>
                  </a:cubicBezTo>
                  <a:cubicBezTo>
                    <a:pt x="385" y="136"/>
                    <a:pt x="371" y="133"/>
                    <a:pt x="369" y="127"/>
                  </a:cubicBezTo>
                  <a:cubicBezTo>
                    <a:pt x="367" y="121"/>
                    <a:pt x="376" y="123"/>
                    <a:pt x="379" y="123"/>
                  </a:cubicBezTo>
                  <a:cubicBezTo>
                    <a:pt x="382" y="123"/>
                    <a:pt x="380" y="111"/>
                    <a:pt x="380" y="111"/>
                  </a:cubicBezTo>
                  <a:cubicBezTo>
                    <a:pt x="394" y="106"/>
                    <a:pt x="394" y="106"/>
                    <a:pt x="394" y="106"/>
                  </a:cubicBezTo>
                  <a:cubicBezTo>
                    <a:pt x="394" y="106"/>
                    <a:pt x="396" y="98"/>
                    <a:pt x="398" y="94"/>
                  </a:cubicBezTo>
                  <a:cubicBezTo>
                    <a:pt x="400" y="90"/>
                    <a:pt x="392" y="78"/>
                    <a:pt x="392" y="78"/>
                  </a:cubicBezTo>
                  <a:cubicBezTo>
                    <a:pt x="392" y="78"/>
                    <a:pt x="381" y="69"/>
                    <a:pt x="381" y="64"/>
                  </a:cubicBezTo>
                  <a:cubicBezTo>
                    <a:pt x="381" y="59"/>
                    <a:pt x="373" y="46"/>
                    <a:pt x="373" y="46"/>
                  </a:cubicBezTo>
                  <a:cubicBezTo>
                    <a:pt x="373" y="33"/>
                    <a:pt x="373" y="33"/>
                    <a:pt x="373" y="33"/>
                  </a:cubicBezTo>
                  <a:cubicBezTo>
                    <a:pt x="373" y="33"/>
                    <a:pt x="357" y="24"/>
                    <a:pt x="344" y="22"/>
                  </a:cubicBezTo>
                  <a:cubicBezTo>
                    <a:pt x="331" y="20"/>
                    <a:pt x="336" y="27"/>
                    <a:pt x="336" y="27"/>
                  </a:cubicBezTo>
                  <a:cubicBezTo>
                    <a:pt x="336" y="27"/>
                    <a:pt x="321" y="27"/>
                    <a:pt x="313" y="26"/>
                  </a:cubicBezTo>
                  <a:cubicBezTo>
                    <a:pt x="305" y="25"/>
                    <a:pt x="274" y="27"/>
                    <a:pt x="274" y="27"/>
                  </a:cubicBezTo>
                  <a:cubicBezTo>
                    <a:pt x="274" y="27"/>
                    <a:pt x="266" y="22"/>
                    <a:pt x="257" y="20"/>
                  </a:cubicBezTo>
                  <a:cubicBezTo>
                    <a:pt x="248" y="18"/>
                    <a:pt x="236" y="23"/>
                    <a:pt x="236" y="23"/>
                  </a:cubicBezTo>
                  <a:cubicBezTo>
                    <a:pt x="231" y="18"/>
                    <a:pt x="231" y="18"/>
                    <a:pt x="231" y="18"/>
                  </a:cubicBezTo>
                  <a:cubicBezTo>
                    <a:pt x="231" y="19"/>
                    <a:pt x="231" y="19"/>
                    <a:pt x="231" y="19"/>
                  </a:cubicBezTo>
                  <a:cubicBezTo>
                    <a:pt x="231" y="19"/>
                    <a:pt x="195" y="23"/>
                    <a:pt x="189" y="22"/>
                  </a:cubicBezTo>
                  <a:cubicBezTo>
                    <a:pt x="183" y="21"/>
                    <a:pt x="178" y="4"/>
                    <a:pt x="178" y="4"/>
                  </a:cubicBezTo>
                  <a:cubicBezTo>
                    <a:pt x="178" y="4"/>
                    <a:pt x="164" y="0"/>
                    <a:pt x="149" y="0"/>
                  </a:cubicBezTo>
                  <a:cubicBezTo>
                    <a:pt x="134" y="0"/>
                    <a:pt x="94" y="17"/>
                    <a:pt x="94" y="17"/>
                  </a:cubicBezTo>
                  <a:cubicBezTo>
                    <a:pt x="81" y="28"/>
                    <a:pt x="81" y="28"/>
                    <a:pt x="81" y="28"/>
                  </a:cubicBezTo>
                  <a:cubicBezTo>
                    <a:pt x="41" y="33"/>
                    <a:pt x="41" y="33"/>
                    <a:pt x="41" y="33"/>
                  </a:cubicBezTo>
                  <a:cubicBezTo>
                    <a:pt x="41" y="33"/>
                    <a:pt x="10" y="44"/>
                    <a:pt x="12" y="48"/>
                  </a:cubicBezTo>
                  <a:cubicBezTo>
                    <a:pt x="14" y="52"/>
                    <a:pt x="14" y="62"/>
                    <a:pt x="14" y="62"/>
                  </a:cubicBezTo>
                  <a:cubicBezTo>
                    <a:pt x="7" y="58"/>
                    <a:pt x="7" y="58"/>
                    <a:pt x="7" y="58"/>
                  </a:cubicBezTo>
                  <a:cubicBezTo>
                    <a:pt x="8" y="61"/>
                    <a:pt x="9" y="65"/>
                    <a:pt x="8" y="68"/>
                  </a:cubicBezTo>
                  <a:cubicBezTo>
                    <a:pt x="6" y="74"/>
                    <a:pt x="11" y="66"/>
                    <a:pt x="14" y="75"/>
                  </a:cubicBezTo>
                  <a:cubicBezTo>
                    <a:pt x="16" y="83"/>
                    <a:pt x="18" y="85"/>
                    <a:pt x="12" y="89"/>
                  </a:cubicBezTo>
                  <a:cubicBezTo>
                    <a:pt x="6" y="94"/>
                    <a:pt x="0" y="95"/>
                    <a:pt x="3" y="102"/>
                  </a:cubicBezTo>
                  <a:cubicBezTo>
                    <a:pt x="6" y="109"/>
                    <a:pt x="10" y="105"/>
                    <a:pt x="10" y="105"/>
                  </a:cubicBezTo>
                  <a:cubicBezTo>
                    <a:pt x="14" y="111"/>
                    <a:pt x="14" y="111"/>
                    <a:pt x="14" y="111"/>
                  </a:cubicBezTo>
                  <a:cubicBezTo>
                    <a:pt x="14" y="111"/>
                    <a:pt x="18" y="107"/>
                    <a:pt x="21" y="111"/>
                  </a:cubicBezTo>
                  <a:cubicBezTo>
                    <a:pt x="24" y="116"/>
                    <a:pt x="24" y="122"/>
                    <a:pt x="24" y="122"/>
                  </a:cubicBezTo>
                  <a:cubicBezTo>
                    <a:pt x="24" y="122"/>
                    <a:pt x="18" y="125"/>
                    <a:pt x="19" y="128"/>
                  </a:cubicBezTo>
                  <a:cubicBezTo>
                    <a:pt x="20" y="131"/>
                    <a:pt x="25" y="132"/>
                    <a:pt x="25" y="132"/>
                  </a:cubicBezTo>
                  <a:cubicBezTo>
                    <a:pt x="25" y="132"/>
                    <a:pt x="22" y="139"/>
                    <a:pt x="24" y="139"/>
                  </a:cubicBezTo>
                  <a:cubicBezTo>
                    <a:pt x="26" y="140"/>
                    <a:pt x="29" y="142"/>
                    <a:pt x="29" y="142"/>
                  </a:cubicBezTo>
                  <a:cubicBezTo>
                    <a:pt x="29" y="142"/>
                    <a:pt x="20" y="148"/>
                    <a:pt x="20" y="153"/>
                  </a:cubicBezTo>
                  <a:cubicBezTo>
                    <a:pt x="21" y="159"/>
                    <a:pt x="30" y="161"/>
                    <a:pt x="30" y="161"/>
                  </a:cubicBezTo>
                  <a:cubicBezTo>
                    <a:pt x="29" y="173"/>
                    <a:pt x="29" y="173"/>
                    <a:pt x="29" y="173"/>
                  </a:cubicBezTo>
                  <a:cubicBezTo>
                    <a:pt x="29" y="173"/>
                    <a:pt x="37" y="167"/>
                    <a:pt x="38" y="173"/>
                  </a:cubicBezTo>
                  <a:cubicBezTo>
                    <a:pt x="40" y="178"/>
                    <a:pt x="36" y="183"/>
                    <a:pt x="36" y="183"/>
                  </a:cubicBezTo>
                  <a:cubicBezTo>
                    <a:pt x="36" y="183"/>
                    <a:pt x="42" y="184"/>
                    <a:pt x="41" y="187"/>
                  </a:cubicBezTo>
                  <a:cubicBezTo>
                    <a:pt x="40" y="189"/>
                    <a:pt x="39" y="192"/>
                    <a:pt x="37" y="195"/>
                  </a:cubicBezTo>
                  <a:cubicBezTo>
                    <a:pt x="50" y="197"/>
                    <a:pt x="50" y="197"/>
                    <a:pt x="50" y="197"/>
                  </a:cubicBezTo>
                  <a:cubicBezTo>
                    <a:pt x="53" y="206"/>
                    <a:pt x="53" y="206"/>
                    <a:pt x="53" y="206"/>
                  </a:cubicBezTo>
                  <a:cubicBezTo>
                    <a:pt x="53" y="206"/>
                    <a:pt x="55" y="203"/>
                    <a:pt x="67" y="207"/>
                  </a:cubicBezTo>
                  <a:cubicBezTo>
                    <a:pt x="79" y="211"/>
                    <a:pt x="77" y="217"/>
                    <a:pt x="80" y="217"/>
                  </a:cubicBezTo>
                  <a:cubicBezTo>
                    <a:pt x="83" y="217"/>
                    <a:pt x="96" y="216"/>
                    <a:pt x="96" y="216"/>
                  </a:cubicBezTo>
                  <a:cubicBezTo>
                    <a:pt x="99" y="221"/>
                    <a:pt x="99" y="221"/>
                    <a:pt x="99" y="221"/>
                  </a:cubicBezTo>
                  <a:cubicBezTo>
                    <a:pt x="92" y="225"/>
                    <a:pt x="92" y="225"/>
                    <a:pt x="92" y="225"/>
                  </a:cubicBezTo>
                  <a:cubicBezTo>
                    <a:pt x="98" y="228"/>
                    <a:pt x="98" y="228"/>
                    <a:pt x="98" y="228"/>
                  </a:cubicBezTo>
                  <a:cubicBezTo>
                    <a:pt x="98" y="228"/>
                    <a:pt x="98" y="234"/>
                    <a:pt x="102" y="236"/>
                  </a:cubicBezTo>
                  <a:cubicBezTo>
                    <a:pt x="106" y="238"/>
                    <a:pt x="117" y="240"/>
                    <a:pt x="117" y="240"/>
                  </a:cubicBezTo>
                  <a:cubicBezTo>
                    <a:pt x="117" y="240"/>
                    <a:pt x="119" y="236"/>
                    <a:pt x="132" y="232"/>
                  </a:cubicBezTo>
                  <a:cubicBezTo>
                    <a:pt x="145" y="228"/>
                    <a:pt x="140" y="235"/>
                    <a:pt x="140" y="235"/>
                  </a:cubicBezTo>
                  <a:cubicBezTo>
                    <a:pt x="140" y="235"/>
                    <a:pt x="140" y="235"/>
                    <a:pt x="148" y="236"/>
                  </a:cubicBezTo>
                  <a:cubicBezTo>
                    <a:pt x="156" y="237"/>
                    <a:pt x="161" y="250"/>
                    <a:pt x="161" y="250"/>
                  </a:cubicBezTo>
                  <a:cubicBezTo>
                    <a:pt x="168" y="244"/>
                    <a:pt x="168" y="244"/>
                    <a:pt x="168" y="244"/>
                  </a:cubicBezTo>
                  <a:cubicBezTo>
                    <a:pt x="168" y="244"/>
                    <a:pt x="172" y="253"/>
                    <a:pt x="176" y="253"/>
                  </a:cubicBezTo>
                  <a:cubicBezTo>
                    <a:pt x="180" y="253"/>
                    <a:pt x="190" y="255"/>
                    <a:pt x="190" y="255"/>
                  </a:cubicBezTo>
                  <a:cubicBezTo>
                    <a:pt x="189" y="260"/>
                    <a:pt x="189" y="260"/>
                    <a:pt x="189" y="260"/>
                  </a:cubicBezTo>
                  <a:cubicBezTo>
                    <a:pt x="196" y="266"/>
                    <a:pt x="196" y="266"/>
                    <a:pt x="196" y="266"/>
                  </a:cubicBezTo>
                  <a:cubicBezTo>
                    <a:pt x="196" y="266"/>
                    <a:pt x="206" y="278"/>
                    <a:pt x="209" y="278"/>
                  </a:cubicBezTo>
                  <a:cubicBezTo>
                    <a:pt x="212" y="278"/>
                    <a:pt x="222" y="270"/>
                    <a:pt x="229" y="272"/>
                  </a:cubicBezTo>
                  <a:cubicBezTo>
                    <a:pt x="236" y="274"/>
                    <a:pt x="237" y="281"/>
                    <a:pt x="237" y="281"/>
                  </a:cubicBezTo>
                  <a:cubicBezTo>
                    <a:pt x="244" y="281"/>
                    <a:pt x="244" y="281"/>
                    <a:pt x="244" y="281"/>
                  </a:cubicBezTo>
                  <a:cubicBezTo>
                    <a:pt x="244" y="281"/>
                    <a:pt x="241" y="288"/>
                    <a:pt x="250" y="288"/>
                  </a:cubicBezTo>
                  <a:cubicBezTo>
                    <a:pt x="259" y="288"/>
                    <a:pt x="258" y="279"/>
                    <a:pt x="258" y="279"/>
                  </a:cubicBezTo>
                  <a:cubicBezTo>
                    <a:pt x="277" y="280"/>
                    <a:pt x="277" y="280"/>
                    <a:pt x="277" y="280"/>
                  </a:cubicBezTo>
                  <a:cubicBezTo>
                    <a:pt x="277" y="280"/>
                    <a:pt x="283" y="284"/>
                    <a:pt x="288" y="284"/>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16" name="Freeform 77"/>
            <p:cNvSpPr>
              <a:spLocks/>
            </p:cNvSpPr>
            <p:nvPr/>
          </p:nvSpPr>
          <p:spPr bwMode="gray">
            <a:xfrm>
              <a:off x="4406900" y="2473325"/>
              <a:ext cx="19050" cy="17463"/>
            </a:xfrm>
            <a:custGeom>
              <a:avLst/>
              <a:gdLst>
                <a:gd name="T0" fmla="*/ 13 w 36"/>
                <a:gd name="T1" fmla="*/ 32 h 32"/>
                <a:gd name="T2" fmla="*/ 19 w 36"/>
                <a:gd name="T3" fmla="*/ 27 h 32"/>
                <a:gd name="T4" fmla="*/ 30 w 36"/>
                <a:gd name="T5" fmla="*/ 29 h 32"/>
                <a:gd name="T6" fmla="*/ 35 w 36"/>
                <a:gd name="T7" fmla="*/ 20 h 32"/>
                <a:gd name="T8" fmla="*/ 20 w 36"/>
                <a:gd name="T9" fmla="*/ 8 h 32"/>
                <a:gd name="T10" fmla="*/ 20 w 36"/>
                <a:gd name="T11" fmla="*/ 0 h 32"/>
                <a:gd name="T12" fmla="*/ 12 w 36"/>
                <a:gd name="T13" fmla="*/ 4 h 32"/>
                <a:gd name="T14" fmla="*/ 2 w 36"/>
                <a:gd name="T15" fmla="*/ 18 h 32"/>
                <a:gd name="T16" fmla="*/ 13 w 36"/>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 h="32">
                  <a:moveTo>
                    <a:pt x="13" y="32"/>
                  </a:moveTo>
                  <a:cubicBezTo>
                    <a:pt x="19" y="27"/>
                    <a:pt x="19" y="27"/>
                    <a:pt x="19" y="27"/>
                  </a:cubicBezTo>
                  <a:cubicBezTo>
                    <a:pt x="30" y="29"/>
                    <a:pt x="30" y="29"/>
                    <a:pt x="30" y="29"/>
                  </a:cubicBezTo>
                  <a:cubicBezTo>
                    <a:pt x="30" y="29"/>
                    <a:pt x="36" y="25"/>
                    <a:pt x="35" y="20"/>
                  </a:cubicBezTo>
                  <a:cubicBezTo>
                    <a:pt x="34" y="16"/>
                    <a:pt x="24" y="14"/>
                    <a:pt x="20" y="8"/>
                  </a:cubicBezTo>
                  <a:cubicBezTo>
                    <a:pt x="19" y="6"/>
                    <a:pt x="19" y="3"/>
                    <a:pt x="20" y="0"/>
                  </a:cubicBezTo>
                  <a:cubicBezTo>
                    <a:pt x="19" y="1"/>
                    <a:pt x="16" y="2"/>
                    <a:pt x="12" y="4"/>
                  </a:cubicBezTo>
                  <a:cubicBezTo>
                    <a:pt x="1" y="10"/>
                    <a:pt x="0" y="16"/>
                    <a:pt x="2" y="18"/>
                  </a:cubicBezTo>
                  <a:cubicBezTo>
                    <a:pt x="3" y="20"/>
                    <a:pt x="9" y="27"/>
                    <a:pt x="13" y="32"/>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17" name="Freeform 78"/>
            <p:cNvSpPr>
              <a:spLocks/>
            </p:cNvSpPr>
            <p:nvPr/>
          </p:nvSpPr>
          <p:spPr bwMode="gray">
            <a:xfrm>
              <a:off x="4497388" y="2505075"/>
              <a:ext cx="171450" cy="77788"/>
            </a:xfrm>
            <a:custGeom>
              <a:avLst/>
              <a:gdLst>
                <a:gd name="T0" fmla="*/ 307 w 308"/>
                <a:gd name="T1" fmla="*/ 48 h 138"/>
                <a:gd name="T2" fmla="*/ 301 w 308"/>
                <a:gd name="T3" fmla="*/ 33 h 138"/>
                <a:gd name="T4" fmla="*/ 287 w 308"/>
                <a:gd name="T5" fmla="*/ 11 h 138"/>
                <a:gd name="T6" fmla="*/ 268 w 308"/>
                <a:gd name="T7" fmla="*/ 17 h 138"/>
                <a:gd name="T8" fmla="*/ 254 w 308"/>
                <a:gd name="T9" fmla="*/ 14 h 138"/>
                <a:gd name="T10" fmla="*/ 228 w 308"/>
                <a:gd name="T11" fmla="*/ 1 h 138"/>
                <a:gd name="T12" fmla="*/ 214 w 308"/>
                <a:gd name="T13" fmla="*/ 16 h 138"/>
                <a:gd name="T14" fmla="*/ 204 w 308"/>
                <a:gd name="T15" fmla="*/ 23 h 138"/>
                <a:gd name="T16" fmla="*/ 175 w 308"/>
                <a:gd name="T17" fmla="*/ 15 h 138"/>
                <a:gd name="T18" fmla="*/ 156 w 308"/>
                <a:gd name="T19" fmla="*/ 27 h 138"/>
                <a:gd name="T20" fmla="*/ 160 w 308"/>
                <a:gd name="T21" fmla="*/ 45 h 138"/>
                <a:gd name="T22" fmla="*/ 133 w 308"/>
                <a:gd name="T23" fmla="*/ 57 h 138"/>
                <a:gd name="T24" fmla="*/ 141 w 308"/>
                <a:gd name="T25" fmla="*/ 68 h 138"/>
                <a:gd name="T26" fmla="*/ 131 w 308"/>
                <a:gd name="T27" fmla="*/ 77 h 138"/>
                <a:gd name="T28" fmla="*/ 109 w 308"/>
                <a:gd name="T29" fmla="*/ 71 h 138"/>
                <a:gd name="T30" fmla="*/ 84 w 308"/>
                <a:gd name="T31" fmla="*/ 78 h 138"/>
                <a:gd name="T32" fmla="*/ 63 w 308"/>
                <a:gd name="T33" fmla="*/ 88 h 138"/>
                <a:gd name="T34" fmla="*/ 33 w 308"/>
                <a:gd name="T35" fmla="*/ 76 h 138"/>
                <a:gd name="T36" fmla="*/ 26 w 308"/>
                <a:gd name="T37" fmla="*/ 91 h 138"/>
                <a:gd name="T38" fmla="*/ 0 w 308"/>
                <a:gd name="T39" fmla="*/ 84 h 138"/>
                <a:gd name="T40" fmla="*/ 2 w 308"/>
                <a:gd name="T41" fmla="*/ 97 h 138"/>
                <a:gd name="T42" fmla="*/ 11 w 308"/>
                <a:gd name="T43" fmla="*/ 106 h 138"/>
                <a:gd name="T44" fmla="*/ 32 w 308"/>
                <a:gd name="T45" fmla="*/ 106 h 138"/>
                <a:gd name="T46" fmla="*/ 50 w 308"/>
                <a:gd name="T47" fmla="*/ 117 h 138"/>
                <a:gd name="T48" fmla="*/ 66 w 308"/>
                <a:gd name="T49" fmla="*/ 109 h 138"/>
                <a:gd name="T50" fmla="*/ 104 w 308"/>
                <a:gd name="T51" fmla="*/ 103 h 138"/>
                <a:gd name="T52" fmla="*/ 119 w 308"/>
                <a:gd name="T53" fmla="*/ 118 h 138"/>
                <a:gd name="T54" fmla="*/ 136 w 308"/>
                <a:gd name="T55" fmla="*/ 131 h 138"/>
                <a:gd name="T56" fmla="*/ 162 w 308"/>
                <a:gd name="T57" fmla="*/ 136 h 138"/>
                <a:gd name="T58" fmla="*/ 183 w 308"/>
                <a:gd name="T59" fmla="*/ 132 h 138"/>
                <a:gd name="T60" fmla="*/ 207 w 308"/>
                <a:gd name="T61" fmla="*/ 138 h 138"/>
                <a:gd name="T62" fmla="*/ 247 w 308"/>
                <a:gd name="T63" fmla="*/ 130 h 138"/>
                <a:gd name="T64" fmla="*/ 270 w 308"/>
                <a:gd name="T65" fmla="*/ 131 h 138"/>
                <a:gd name="T66" fmla="*/ 277 w 308"/>
                <a:gd name="T67" fmla="*/ 107 h 138"/>
                <a:gd name="T68" fmla="*/ 290 w 308"/>
                <a:gd name="T69" fmla="*/ 91 h 138"/>
                <a:gd name="T70" fmla="*/ 290 w 308"/>
                <a:gd name="T71" fmla="*/ 78 h 138"/>
                <a:gd name="T72" fmla="*/ 306 w 308"/>
                <a:gd name="T73" fmla="*/ 69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38">
                  <a:moveTo>
                    <a:pt x="306" y="69"/>
                  </a:moveTo>
                  <a:cubicBezTo>
                    <a:pt x="306" y="69"/>
                    <a:pt x="308" y="55"/>
                    <a:pt x="307" y="48"/>
                  </a:cubicBezTo>
                  <a:cubicBezTo>
                    <a:pt x="306" y="42"/>
                    <a:pt x="300" y="43"/>
                    <a:pt x="300" y="43"/>
                  </a:cubicBezTo>
                  <a:cubicBezTo>
                    <a:pt x="301" y="33"/>
                    <a:pt x="301" y="33"/>
                    <a:pt x="301" y="33"/>
                  </a:cubicBezTo>
                  <a:cubicBezTo>
                    <a:pt x="303" y="19"/>
                    <a:pt x="303" y="19"/>
                    <a:pt x="303" y="19"/>
                  </a:cubicBezTo>
                  <a:cubicBezTo>
                    <a:pt x="303" y="19"/>
                    <a:pt x="295" y="14"/>
                    <a:pt x="287" y="11"/>
                  </a:cubicBezTo>
                  <a:cubicBezTo>
                    <a:pt x="280" y="9"/>
                    <a:pt x="276" y="16"/>
                    <a:pt x="276" y="16"/>
                  </a:cubicBezTo>
                  <a:cubicBezTo>
                    <a:pt x="268" y="17"/>
                    <a:pt x="268" y="17"/>
                    <a:pt x="268" y="17"/>
                  </a:cubicBezTo>
                  <a:cubicBezTo>
                    <a:pt x="261" y="9"/>
                    <a:pt x="261" y="9"/>
                    <a:pt x="261" y="9"/>
                  </a:cubicBezTo>
                  <a:cubicBezTo>
                    <a:pt x="254" y="14"/>
                    <a:pt x="254" y="14"/>
                    <a:pt x="254" y="14"/>
                  </a:cubicBezTo>
                  <a:cubicBezTo>
                    <a:pt x="245" y="8"/>
                    <a:pt x="245" y="8"/>
                    <a:pt x="245" y="8"/>
                  </a:cubicBezTo>
                  <a:cubicBezTo>
                    <a:pt x="245" y="8"/>
                    <a:pt x="232" y="0"/>
                    <a:pt x="228" y="1"/>
                  </a:cubicBezTo>
                  <a:cubicBezTo>
                    <a:pt x="225" y="2"/>
                    <a:pt x="218" y="15"/>
                    <a:pt x="218" y="15"/>
                  </a:cubicBezTo>
                  <a:cubicBezTo>
                    <a:pt x="214" y="16"/>
                    <a:pt x="214" y="16"/>
                    <a:pt x="214" y="16"/>
                  </a:cubicBezTo>
                  <a:cubicBezTo>
                    <a:pt x="213" y="28"/>
                    <a:pt x="213" y="28"/>
                    <a:pt x="213" y="28"/>
                  </a:cubicBezTo>
                  <a:cubicBezTo>
                    <a:pt x="204" y="23"/>
                    <a:pt x="204" y="23"/>
                    <a:pt x="204" y="23"/>
                  </a:cubicBezTo>
                  <a:cubicBezTo>
                    <a:pt x="204" y="23"/>
                    <a:pt x="198" y="27"/>
                    <a:pt x="190" y="27"/>
                  </a:cubicBezTo>
                  <a:cubicBezTo>
                    <a:pt x="183" y="27"/>
                    <a:pt x="175" y="15"/>
                    <a:pt x="175" y="15"/>
                  </a:cubicBezTo>
                  <a:cubicBezTo>
                    <a:pt x="168" y="26"/>
                    <a:pt x="168" y="26"/>
                    <a:pt x="168" y="26"/>
                  </a:cubicBezTo>
                  <a:cubicBezTo>
                    <a:pt x="156" y="27"/>
                    <a:pt x="156" y="27"/>
                    <a:pt x="156" y="27"/>
                  </a:cubicBezTo>
                  <a:cubicBezTo>
                    <a:pt x="160" y="34"/>
                    <a:pt x="160" y="34"/>
                    <a:pt x="160" y="34"/>
                  </a:cubicBezTo>
                  <a:cubicBezTo>
                    <a:pt x="160" y="45"/>
                    <a:pt x="160" y="45"/>
                    <a:pt x="160" y="45"/>
                  </a:cubicBezTo>
                  <a:cubicBezTo>
                    <a:pt x="160" y="45"/>
                    <a:pt x="147" y="42"/>
                    <a:pt x="142" y="43"/>
                  </a:cubicBezTo>
                  <a:cubicBezTo>
                    <a:pt x="138" y="44"/>
                    <a:pt x="133" y="57"/>
                    <a:pt x="133" y="57"/>
                  </a:cubicBezTo>
                  <a:cubicBezTo>
                    <a:pt x="141" y="59"/>
                    <a:pt x="141" y="59"/>
                    <a:pt x="141" y="59"/>
                  </a:cubicBezTo>
                  <a:cubicBezTo>
                    <a:pt x="141" y="68"/>
                    <a:pt x="141" y="68"/>
                    <a:pt x="141" y="68"/>
                  </a:cubicBezTo>
                  <a:cubicBezTo>
                    <a:pt x="141" y="68"/>
                    <a:pt x="142" y="78"/>
                    <a:pt x="141" y="84"/>
                  </a:cubicBezTo>
                  <a:cubicBezTo>
                    <a:pt x="139" y="91"/>
                    <a:pt x="131" y="77"/>
                    <a:pt x="131" y="77"/>
                  </a:cubicBezTo>
                  <a:cubicBezTo>
                    <a:pt x="118" y="72"/>
                    <a:pt x="118" y="72"/>
                    <a:pt x="118" y="72"/>
                  </a:cubicBezTo>
                  <a:cubicBezTo>
                    <a:pt x="109" y="71"/>
                    <a:pt x="109" y="71"/>
                    <a:pt x="109" y="71"/>
                  </a:cubicBezTo>
                  <a:cubicBezTo>
                    <a:pt x="98" y="77"/>
                    <a:pt x="98" y="77"/>
                    <a:pt x="98" y="77"/>
                  </a:cubicBezTo>
                  <a:cubicBezTo>
                    <a:pt x="84" y="78"/>
                    <a:pt x="84" y="78"/>
                    <a:pt x="84" y="78"/>
                  </a:cubicBezTo>
                  <a:cubicBezTo>
                    <a:pt x="75" y="86"/>
                    <a:pt x="75" y="86"/>
                    <a:pt x="75" y="86"/>
                  </a:cubicBezTo>
                  <a:cubicBezTo>
                    <a:pt x="75" y="86"/>
                    <a:pt x="69" y="88"/>
                    <a:pt x="63" y="88"/>
                  </a:cubicBezTo>
                  <a:cubicBezTo>
                    <a:pt x="56" y="88"/>
                    <a:pt x="46" y="77"/>
                    <a:pt x="46" y="77"/>
                  </a:cubicBezTo>
                  <a:cubicBezTo>
                    <a:pt x="33" y="76"/>
                    <a:pt x="33" y="76"/>
                    <a:pt x="33" y="76"/>
                  </a:cubicBezTo>
                  <a:cubicBezTo>
                    <a:pt x="33" y="85"/>
                    <a:pt x="33" y="85"/>
                    <a:pt x="33" y="85"/>
                  </a:cubicBezTo>
                  <a:cubicBezTo>
                    <a:pt x="33" y="85"/>
                    <a:pt x="30" y="90"/>
                    <a:pt x="26" y="91"/>
                  </a:cubicBezTo>
                  <a:cubicBezTo>
                    <a:pt x="22" y="92"/>
                    <a:pt x="21" y="82"/>
                    <a:pt x="12" y="81"/>
                  </a:cubicBezTo>
                  <a:cubicBezTo>
                    <a:pt x="6" y="79"/>
                    <a:pt x="2" y="82"/>
                    <a:pt x="0" y="84"/>
                  </a:cubicBezTo>
                  <a:cubicBezTo>
                    <a:pt x="1" y="86"/>
                    <a:pt x="2" y="89"/>
                    <a:pt x="0" y="91"/>
                  </a:cubicBezTo>
                  <a:cubicBezTo>
                    <a:pt x="1" y="93"/>
                    <a:pt x="2" y="95"/>
                    <a:pt x="2" y="97"/>
                  </a:cubicBezTo>
                  <a:cubicBezTo>
                    <a:pt x="2" y="100"/>
                    <a:pt x="2" y="105"/>
                    <a:pt x="2" y="107"/>
                  </a:cubicBezTo>
                  <a:cubicBezTo>
                    <a:pt x="11" y="106"/>
                    <a:pt x="11" y="106"/>
                    <a:pt x="11" y="106"/>
                  </a:cubicBezTo>
                  <a:cubicBezTo>
                    <a:pt x="11" y="106"/>
                    <a:pt x="8" y="120"/>
                    <a:pt x="16" y="118"/>
                  </a:cubicBezTo>
                  <a:cubicBezTo>
                    <a:pt x="23" y="115"/>
                    <a:pt x="21" y="106"/>
                    <a:pt x="32" y="106"/>
                  </a:cubicBezTo>
                  <a:cubicBezTo>
                    <a:pt x="37" y="107"/>
                    <a:pt x="40" y="113"/>
                    <a:pt x="41" y="117"/>
                  </a:cubicBezTo>
                  <a:cubicBezTo>
                    <a:pt x="50" y="117"/>
                    <a:pt x="50" y="117"/>
                    <a:pt x="50" y="117"/>
                  </a:cubicBezTo>
                  <a:cubicBezTo>
                    <a:pt x="56" y="121"/>
                    <a:pt x="56" y="121"/>
                    <a:pt x="56" y="121"/>
                  </a:cubicBezTo>
                  <a:cubicBezTo>
                    <a:pt x="66" y="109"/>
                    <a:pt x="66" y="109"/>
                    <a:pt x="66" y="109"/>
                  </a:cubicBezTo>
                  <a:cubicBezTo>
                    <a:pt x="92" y="111"/>
                    <a:pt x="92" y="111"/>
                    <a:pt x="92" y="111"/>
                  </a:cubicBezTo>
                  <a:cubicBezTo>
                    <a:pt x="92" y="111"/>
                    <a:pt x="94" y="102"/>
                    <a:pt x="104" y="103"/>
                  </a:cubicBezTo>
                  <a:cubicBezTo>
                    <a:pt x="113" y="104"/>
                    <a:pt x="114" y="118"/>
                    <a:pt x="114" y="118"/>
                  </a:cubicBezTo>
                  <a:cubicBezTo>
                    <a:pt x="119" y="118"/>
                    <a:pt x="119" y="118"/>
                    <a:pt x="119" y="118"/>
                  </a:cubicBezTo>
                  <a:cubicBezTo>
                    <a:pt x="124" y="131"/>
                    <a:pt x="124" y="131"/>
                    <a:pt x="124" y="131"/>
                  </a:cubicBezTo>
                  <a:cubicBezTo>
                    <a:pt x="136" y="131"/>
                    <a:pt x="136" y="131"/>
                    <a:pt x="136" y="131"/>
                  </a:cubicBezTo>
                  <a:cubicBezTo>
                    <a:pt x="136" y="131"/>
                    <a:pt x="159" y="127"/>
                    <a:pt x="162" y="132"/>
                  </a:cubicBezTo>
                  <a:cubicBezTo>
                    <a:pt x="162" y="134"/>
                    <a:pt x="162" y="135"/>
                    <a:pt x="162" y="136"/>
                  </a:cubicBezTo>
                  <a:cubicBezTo>
                    <a:pt x="171" y="136"/>
                    <a:pt x="171" y="136"/>
                    <a:pt x="171" y="136"/>
                  </a:cubicBezTo>
                  <a:cubicBezTo>
                    <a:pt x="171" y="136"/>
                    <a:pt x="180" y="132"/>
                    <a:pt x="183" y="132"/>
                  </a:cubicBezTo>
                  <a:cubicBezTo>
                    <a:pt x="186" y="132"/>
                    <a:pt x="192" y="136"/>
                    <a:pt x="192" y="136"/>
                  </a:cubicBezTo>
                  <a:cubicBezTo>
                    <a:pt x="192" y="136"/>
                    <a:pt x="200" y="138"/>
                    <a:pt x="207" y="138"/>
                  </a:cubicBezTo>
                  <a:cubicBezTo>
                    <a:pt x="214" y="138"/>
                    <a:pt x="214" y="129"/>
                    <a:pt x="214" y="129"/>
                  </a:cubicBezTo>
                  <a:cubicBezTo>
                    <a:pt x="247" y="130"/>
                    <a:pt x="247" y="130"/>
                    <a:pt x="247" y="130"/>
                  </a:cubicBezTo>
                  <a:cubicBezTo>
                    <a:pt x="254" y="126"/>
                    <a:pt x="254" y="126"/>
                    <a:pt x="254" y="126"/>
                  </a:cubicBezTo>
                  <a:cubicBezTo>
                    <a:pt x="270" y="131"/>
                    <a:pt x="270" y="131"/>
                    <a:pt x="270" y="131"/>
                  </a:cubicBezTo>
                  <a:cubicBezTo>
                    <a:pt x="272" y="119"/>
                    <a:pt x="272" y="119"/>
                    <a:pt x="272" y="119"/>
                  </a:cubicBezTo>
                  <a:cubicBezTo>
                    <a:pt x="277" y="107"/>
                    <a:pt x="277" y="107"/>
                    <a:pt x="277" y="107"/>
                  </a:cubicBezTo>
                  <a:cubicBezTo>
                    <a:pt x="290" y="105"/>
                    <a:pt x="290" y="105"/>
                    <a:pt x="290" y="105"/>
                  </a:cubicBezTo>
                  <a:cubicBezTo>
                    <a:pt x="290" y="91"/>
                    <a:pt x="290" y="91"/>
                    <a:pt x="290" y="91"/>
                  </a:cubicBezTo>
                  <a:cubicBezTo>
                    <a:pt x="298" y="79"/>
                    <a:pt x="298" y="79"/>
                    <a:pt x="298" y="79"/>
                  </a:cubicBezTo>
                  <a:cubicBezTo>
                    <a:pt x="290" y="78"/>
                    <a:pt x="290" y="78"/>
                    <a:pt x="290" y="78"/>
                  </a:cubicBezTo>
                  <a:cubicBezTo>
                    <a:pt x="291" y="69"/>
                    <a:pt x="291" y="69"/>
                    <a:pt x="291" y="69"/>
                  </a:cubicBezTo>
                  <a:lnTo>
                    <a:pt x="306" y="69"/>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18" name="Freeform 79"/>
            <p:cNvSpPr>
              <a:spLocks/>
            </p:cNvSpPr>
            <p:nvPr/>
          </p:nvSpPr>
          <p:spPr bwMode="gray">
            <a:xfrm>
              <a:off x="4344988" y="2378075"/>
              <a:ext cx="101600" cy="80963"/>
            </a:xfrm>
            <a:custGeom>
              <a:avLst/>
              <a:gdLst>
                <a:gd name="T0" fmla="*/ 14 w 182"/>
                <a:gd name="T1" fmla="*/ 104 h 145"/>
                <a:gd name="T2" fmla="*/ 0 w 182"/>
                <a:gd name="T3" fmla="*/ 116 h 145"/>
                <a:gd name="T4" fmla="*/ 0 w 182"/>
                <a:gd name="T5" fmla="*/ 116 h 145"/>
                <a:gd name="T6" fmla="*/ 9 w 182"/>
                <a:gd name="T7" fmla="*/ 108 h 145"/>
                <a:gd name="T8" fmla="*/ 10 w 182"/>
                <a:gd name="T9" fmla="*/ 110 h 145"/>
                <a:gd name="T10" fmla="*/ 18 w 182"/>
                <a:gd name="T11" fmla="*/ 108 h 145"/>
                <a:gd name="T12" fmla="*/ 22 w 182"/>
                <a:gd name="T13" fmla="*/ 114 h 145"/>
                <a:gd name="T14" fmla="*/ 34 w 182"/>
                <a:gd name="T15" fmla="*/ 112 h 145"/>
                <a:gd name="T16" fmla="*/ 43 w 182"/>
                <a:gd name="T17" fmla="*/ 117 h 145"/>
                <a:gd name="T18" fmla="*/ 46 w 182"/>
                <a:gd name="T19" fmla="*/ 110 h 145"/>
                <a:gd name="T20" fmla="*/ 56 w 182"/>
                <a:gd name="T21" fmla="*/ 112 h 145"/>
                <a:gd name="T22" fmla="*/ 56 w 182"/>
                <a:gd name="T23" fmla="*/ 106 h 145"/>
                <a:gd name="T24" fmla="*/ 65 w 182"/>
                <a:gd name="T25" fmla="*/ 108 h 145"/>
                <a:gd name="T26" fmla="*/ 71 w 182"/>
                <a:gd name="T27" fmla="*/ 104 h 145"/>
                <a:gd name="T28" fmla="*/ 90 w 182"/>
                <a:gd name="T29" fmla="*/ 104 h 145"/>
                <a:gd name="T30" fmla="*/ 94 w 182"/>
                <a:gd name="T31" fmla="*/ 114 h 145"/>
                <a:gd name="T32" fmla="*/ 108 w 182"/>
                <a:gd name="T33" fmla="*/ 114 h 145"/>
                <a:gd name="T34" fmla="*/ 119 w 182"/>
                <a:gd name="T35" fmla="*/ 121 h 145"/>
                <a:gd name="T36" fmla="*/ 114 w 182"/>
                <a:gd name="T37" fmla="*/ 130 h 145"/>
                <a:gd name="T38" fmla="*/ 112 w 182"/>
                <a:gd name="T39" fmla="*/ 140 h 145"/>
                <a:gd name="T40" fmla="*/ 123 w 182"/>
                <a:gd name="T41" fmla="*/ 140 h 145"/>
                <a:gd name="T42" fmla="*/ 127 w 182"/>
                <a:gd name="T43" fmla="*/ 124 h 145"/>
                <a:gd name="T44" fmla="*/ 123 w 182"/>
                <a:gd name="T45" fmla="*/ 116 h 145"/>
                <a:gd name="T46" fmla="*/ 134 w 182"/>
                <a:gd name="T47" fmla="*/ 106 h 145"/>
                <a:gd name="T48" fmla="*/ 130 w 182"/>
                <a:gd name="T49" fmla="*/ 95 h 145"/>
                <a:gd name="T50" fmla="*/ 124 w 182"/>
                <a:gd name="T51" fmla="*/ 80 h 145"/>
                <a:gd name="T52" fmla="*/ 148 w 182"/>
                <a:gd name="T53" fmla="*/ 85 h 145"/>
                <a:gd name="T54" fmla="*/ 152 w 182"/>
                <a:gd name="T55" fmla="*/ 77 h 145"/>
                <a:gd name="T56" fmla="*/ 158 w 182"/>
                <a:gd name="T57" fmla="*/ 78 h 145"/>
                <a:gd name="T58" fmla="*/ 160 w 182"/>
                <a:gd name="T59" fmla="*/ 67 h 145"/>
                <a:gd name="T60" fmla="*/ 168 w 182"/>
                <a:gd name="T61" fmla="*/ 59 h 145"/>
                <a:gd name="T62" fmla="*/ 153 w 182"/>
                <a:gd name="T63" fmla="*/ 47 h 145"/>
                <a:gd name="T64" fmla="*/ 164 w 182"/>
                <a:gd name="T65" fmla="*/ 40 h 145"/>
                <a:gd name="T66" fmla="*/ 172 w 182"/>
                <a:gd name="T67" fmla="*/ 40 h 145"/>
                <a:gd name="T68" fmla="*/ 170 w 182"/>
                <a:gd name="T69" fmla="*/ 28 h 145"/>
                <a:gd name="T70" fmla="*/ 182 w 182"/>
                <a:gd name="T71" fmla="*/ 20 h 145"/>
                <a:gd name="T72" fmla="*/ 177 w 182"/>
                <a:gd name="T73" fmla="*/ 12 h 145"/>
                <a:gd name="T74" fmla="*/ 180 w 182"/>
                <a:gd name="T75" fmla="*/ 10 h 145"/>
                <a:gd name="T76" fmla="*/ 176 w 182"/>
                <a:gd name="T77" fmla="*/ 7 h 145"/>
                <a:gd name="T78" fmla="*/ 154 w 182"/>
                <a:gd name="T79" fmla="*/ 1 h 145"/>
                <a:gd name="T80" fmla="*/ 125 w 182"/>
                <a:gd name="T81" fmla="*/ 0 h 145"/>
                <a:gd name="T82" fmla="*/ 103 w 182"/>
                <a:gd name="T83" fmla="*/ 10 h 145"/>
                <a:gd name="T84" fmla="*/ 107 w 182"/>
                <a:gd name="T85" fmla="*/ 21 h 145"/>
                <a:gd name="T86" fmla="*/ 111 w 182"/>
                <a:gd name="T87" fmla="*/ 34 h 145"/>
                <a:gd name="T88" fmla="*/ 116 w 182"/>
                <a:gd name="T89" fmla="*/ 40 h 145"/>
                <a:gd name="T90" fmla="*/ 122 w 182"/>
                <a:gd name="T91" fmla="*/ 48 h 145"/>
                <a:gd name="T92" fmla="*/ 104 w 182"/>
                <a:gd name="T93" fmla="*/ 60 h 145"/>
                <a:gd name="T94" fmla="*/ 92 w 182"/>
                <a:gd name="T95" fmla="*/ 52 h 145"/>
                <a:gd name="T96" fmla="*/ 100 w 182"/>
                <a:gd name="T97" fmla="*/ 37 h 145"/>
                <a:gd name="T98" fmla="*/ 102 w 182"/>
                <a:gd name="T99" fmla="*/ 24 h 145"/>
                <a:gd name="T100" fmla="*/ 97 w 182"/>
                <a:gd name="T101" fmla="*/ 16 h 145"/>
                <a:gd name="T102" fmla="*/ 81 w 182"/>
                <a:gd name="T103" fmla="*/ 30 h 145"/>
                <a:gd name="T104" fmla="*/ 64 w 182"/>
                <a:gd name="T105" fmla="*/ 49 h 145"/>
                <a:gd name="T106" fmla="*/ 60 w 182"/>
                <a:gd name="T107" fmla="*/ 69 h 145"/>
                <a:gd name="T108" fmla="*/ 42 w 182"/>
                <a:gd name="T109" fmla="*/ 89 h 145"/>
                <a:gd name="T110" fmla="*/ 48 w 182"/>
                <a:gd name="T111" fmla="*/ 97 h 145"/>
                <a:gd name="T112" fmla="*/ 31 w 182"/>
                <a:gd name="T113" fmla="*/ 98 h 145"/>
                <a:gd name="T114" fmla="*/ 14 w 182"/>
                <a:gd name="T115" fmla="*/ 10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2" h="145">
                  <a:moveTo>
                    <a:pt x="14" y="104"/>
                  </a:moveTo>
                  <a:cubicBezTo>
                    <a:pt x="0" y="116"/>
                    <a:pt x="0" y="116"/>
                    <a:pt x="0" y="116"/>
                  </a:cubicBezTo>
                  <a:cubicBezTo>
                    <a:pt x="0" y="116"/>
                    <a:pt x="0" y="116"/>
                    <a:pt x="0" y="116"/>
                  </a:cubicBezTo>
                  <a:cubicBezTo>
                    <a:pt x="9" y="108"/>
                    <a:pt x="9" y="108"/>
                    <a:pt x="9" y="108"/>
                  </a:cubicBezTo>
                  <a:cubicBezTo>
                    <a:pt x="10" y="110"/>
                    <a:pt x="10" y="110"/>
                    <a:pt x="10" y="110"/>
                  </a:cubicBezTo>
                  <a:cubicBezTo>
                    <a:pt x="18" y="108"/>
                    <a:pt x="18" y="108"/>
                    <a:pt x="18" y="108"/>
                  </a:cubicBezTo>
                  <a:cubicBezTo>
                    <a:pt x="22" y="114"/>
                    <a:pt x="22" y="114"/>
                    <a:pt x="22" y="114"/>
                  </a:cubicBezTo>
                  <a:cubicBezTo>
                    <a:pt x="22" y="114"/>
                    <a:pt x="30" y="113"/>
                    <a:pt x="34" y="112"/>
                  </a:cubicBezTo>
                  <a:cubicBezTo>
                    <a:pt x="39" y="112"/>
                    <a:pt x="43" y="117"/>
                    <a:pt x="43" y="117"/>
                  </a:cubicBezTo>
                  <a:cubicBezTo>
                    <a:pt x="46" y="110"/>
                    <a:pt x="46" y="110"/>
                    <a:pt x="46" y="110"/>
                  </a:cubicBezTo>
                  <a:cubicBezTo>
                    <a:pt x="56" y="112"/>
                    <a:pt x="56" y="112"/>
                    <a:pt x="56" y="112"/>
                  </a:cubicBezTo>
                  <a:cubicBezTo>
                    <a:pt x="56" y="106"/>
                    <a:pt x="56" y="106"/>
                    <a:pt x="56" y="106"/>
                  </a:cubicBezTo>
                  <a:cubicBezTo>
                    <a:pt x="65" y="108"/>
                    <a:pt x="65" y="108"/>
                    <a:pt x="65" y="108"/>
                  </a:cubicBezTo>
                  <a:cubicBezTo>
                    <a:pt x="65" y="108"/>
                    <a:pt x="66" y="105"/>
                    <a:pt x="71" y="104"/>
                  </a:cubicBezTo>
                  <a:cubicBezTo>
                    <a:pt x="76" y="102"/>
                    <a:pt x="90" y="104"/>
                    <a:pt x="90" y="104"/>
                  </a:cubicBezTo>
                  <a:cubicBezTo>
                    <a:pt x="90" y="104"/>
                    <a:pt x="91" y="110"/>
                    <a:pt x="94" y="114"/>
                  </a:cubicBezTo>
                  <a:cubicBezTo>
                    <a:pt x="96" y="118"/>
                    <a:pt x="108" y="114"/>
                    <a:pt x="108" y="114"/>
                  </a:cubicBezTo>
                  <a:cubicBezTo>
                    <a:pt x="108" y="114"/>
                    <a:pt x="118" y="112"/>
                    <a:pt x="119" y="121"/>
                  </a:cubicBezTo>
                  <a:cubicBezTo>
                    <a:pt x="120" y="130"/>
                    <a:pt x="114" y="130"/>
                    <a:pt x="114" y="130"/>
                  </a:cubicBezTo>
                  <a:cubicBezTo>
                    <a:pt x="114" y="130"/>
                    <a:pt x="110" y="134"/>
                    <a:pt x="112" y="140"/>
                  </a:cubicBezTo>
                  <a:cubicBezTo>
                    <a:pt x="114" y="145"/>
                    <a:pt x="123" y="140"/>
                    <a:pt x="123" y="140"/>
                  </a:cubicBezTo>
                  <a:cubicBezTo>
                    <a:pt x="123" y="140"/>
                    <a:pt x="126" y="126"/>
                    <a:pt x="127" y="124"/>
                  </a:cubicBezTo>
                  <a:cubicBezTo>
                    <a:pt x="128" y="122"/>
                    <a:pt x="123" y="116"/>
                    <a:pt x="123" y="116"/>
                  </a:cubicBezTo>
                  <a:cubicBezTo>
                    <a:pt x="123" y="116"/>
                    <a:pt x="134" y="110"/>
                    <a:pt x="134" y="106"/>
                  </a:cubicBezTo>
                  <a:cubicBezTo>
                    <a:pt x="135" y="103"/>
                    <a:pt x="130" y="95"/>
                    <a:pt x="130" y="95"/>
                  </a:cubicBezTo>
                  <a:cubicBezTo>
                    <a:pt x="124" y="80"/>
                    <a:pt x="124" y="80"/>
                    <a:pt x="124" y="80"/>
                  </a:cubicBezTo>
                  <a:cubicBezTo>
                    <a:pt x="124" y="80"/>
                    <a:pt x="146" y="88"/>
                    <a:pt x="148" y="85"/>
                  </a:cubicBezTo>
                  <a:cubicBezTo>
                    <a:pt x="150" y="82"/>
                    <a:pt x="152" y="77"/>
                    <a:pt x="152" y="77"/>
                  </a:cubicBezTo>
                  <a:cubicBezTo>
                    <a:pt x="158" y="78"/>
                    <a:pt x="158" y="78"/>
                    <a:pt x="158" y="78"/>
                  </a:cubicBezTo>
                  <a:cubicBezTo>
                    <a:pt x="160" y="67"/>
                    <a:pt x="160" y="67"/>
                    <a:pt x="160" y="67"/>
                  </a:cubicBezTo>
                  <a:cubicBezTo>
                    <a:pt x="160" y="67"/>
                    <a:pt x="168" y="63"/>
                    <a:pt x="168" y="59"/>
                  </a:cubicBezTo>
                  <a:cubicBezTo>
                    <a:pt x="168" y="55"/>
                    <a:pt x="154" y="50"/>
                    <a:pt x="153" y="47"/>
                  </a:cubicBezTo>
                  <a:cubicBezTo>
                    <a:pt x="152" y="44"/>
                    <a:pt x="164" y="40"/>
                    <a:pt x="164" y="40"/>
                  </a:cubicBezTo>
                  <a:cubicBezTo>
                    <a:pt x="172" y="40"/>
                    <a:pt x="172" y="40"/>
                    <a:pt x="172" y="40"/>
                  </a:cubicBezTo>
                  <a:cubicBezTo>
                    <a:pt x="172" y="40"/>
                    <a:pt x="168" y="32"/>
                    <a:pt x="170" y="28"/>
                  </a:cubicBezTo>
                  <a:cubicBezTo>
                    <a:pt x="171" y="24"/>
                    <a:pt x="182" y="20"/>
                    <a:pt x="182" y="20"/>
                  </a:cubicBezTo>
                  <a:cubicBezTo>
                    <a:pt x="177" y="12"/>
                    <a:pt x="177" y="12"/>
                    <a:pt x="177" y="12"/>
                  </a:cubicBezTo>
                  <a:cubicBezTo>
                    <a:pt x="180" y="10"/>
                    <a:pt x="180" y="10"/>
                    <a:pt x="180" y="10"/>
                  </a:cubicBezTo>
                  <a:cubicBezTo>
                    <a:pt x="176" y="7"/>
                    <a:pt x="176" y="7"/>
                    <a:pt x="176" y="7"/>
                  </a:cubicBezTo>
                  <a:cubicBezTo>
                    <a:pt x="176" y="7"/>
                    <a:pt x="160" y="1"/>
                    <a:pt x="154" y="1"/>
                  </a:cubicBezTo>
                  <a:cubicBezTo>
                    <a:pt x="148" y="1"/>
                    <a:pt x="125" y="0"/>
                    <a:pt x="125" y="0"/>
                  </a:cubicBezTo>
                  <a:cubicBezTo>
                    <a:pt x="125" y="0"/>
                    <a:pt x="111" y="5"/>
                    <a:pt x="103" y="10"/>
                  </a:cubicBezTo>
                  <a:cubicBezTo>
                    <a:pt x="104" y="14"/>
                    <a:pt x="107" y="19"/>
                    <a:pt x="107" y="21"/>
                  </a:cubicBezTo>
                  <a:cubicBezTo>
                    <a:pt x="108" y="24"/>
                    <a:pt x="111" y="34"/>
                    <a:pt x="111" y="34"/>
                  </a:cubicBezTo>
                  <a:cubicBezTo>
                    <a:pt x="111" y="34"/>
                    <a:pt x="114" y="40"/>
                    <a:pt x="116" y="40"/>
                  </a:cubicBezTo>
                  <a:cubicBezTo>
                    <a:pt x="119" y="40"/>
                    <a:pt x="122" y="43"/>
                    <a:pt x="122" y="48"/>
                  </a:cubicBezTo>
                  <a:cubicBezTo>
                    <a:pt x="123" y="52"/>
                    <a:pt x="111" y="59"/>
                    <a:pt x="104" y="60"/>
                  </a:cubicBezTo>
                  <a:cubicBezTo>
                    <a:pt x="98" y="60"/>
                    <a:pt x="95" y="55"/>
                    <a:pt x="92" y="52"/>
                  </a:cubicBezTo>
                  <a:cubicBezTo>
                    <a:pt x="88" y="48"/>
                    <a:pt x="94" y="45"/>
                    <a:pt x="100" y="37"/>
                  </a:cubicBezTo>
                  <a:cubicBezTo>
                    <a:pt x="106" y="29"/>
                    <a:pt x="102" y="24"/>
                    <a:pt x="102" y="24"/>
                  </a:cubicBezTo>
                  <a:cubicBezTo>
                    <a:pt x="102" y="24"/>
                    <a:pt x="99" y="21"/>
                    <a:pt x="97" y="16"/>
                  </a:cubicBezTo>
                  <a:cubicBezTo>
                    <a:pt x="92" y="23"/>
                    <a:pt x="81" y="30"/>
                    <a:pt x="81" y="30"/>
                  </a:cubicBezTo>
                  <a:cubicBezTo>
                    <a:pt x="81" y="30"/>
                    <a:pt x="64" y="42"/>
                    <a:pt x="64" y="49"/>
                  </a:cubicBezTo>
                  <a:cubicBezTo>
                    <a:pt x="64" y="56"/>
                    <a:pt x="60" y="69"/>
                    <a:pt x="60" y="69"/>
                  </a:cubicBezTo>
                  <a:cubicBezTo>
                    <a:pt x="42" y="89"/>
                    <a:pt x="42" y="89"/>
                    <a:pt x="42" y="89"/>
                  </a:cubicBezTo>
                  <a:cubicBezTo>
                    <a:pt x="48" y="97"/>
                    <a:pt x="48" y="97"/>
                    <a:pt x="48" y="97"/>
                  </a:cubicBezTo>
                  <a:cubicBezTo>
                    <a:pt x="31" y="98"/>
                    <a:pt x="31" y="98"/>
                    <a:pt x="31" y="98"/>
                  </a:cubicBezTo>
                  <a:lnTo>
                    <a:pt x="14" y="104"/>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19" name="Freeform 80"/>
            <p:cNvSpPr>
              <a:spLocks/>
            </p:cNvSpPr>
            <p:nvPr/>
          </p:nvSpPr>
          <p:spPr bwMode="gray">
            <a:xfrm>
              <a:off x="4340225" y="2435225"/>
              <a:ext cx="84137" cy="57150"/>
            </a:xfrm>
            <a:custGeom>
              <a:avLst/>
              <a:gdLst>
                <a:gd name="T0" fmla="*/ 0 w 149"/>
                <a:gd name="T1" fmla="*/ 29 h 102"/>
                <a:gd name="T2" fmla="*/ 6 w 149"/>
                <a:gd name="T3" fmla="*/ 43 h 102"/>
                <a:gd name="T4" fmla="*/ 22 w 149"/>
                <a:gd name="T5" fmla="*/ 47 h 102"/>
                <a:gd name="T6" fmla="*/ 29 w 149"/>
                <a:gd name="T7" fmla="*/ 54 h 102"/>
                <a:gd name="T8" fmla="*/ 52 w 149"/>
                <a:gd name="T9" fmla="*/ 59 h 102"/>
                <a:gd name="T10" fmla="*/ 57 w 149"/>
                <a:gd name="T11" fmla="*/ 78 h 102"/>
                <a:gd name="T12" fmla="*/ 72 w 149"/>
                <a:gd name="T13" fmla="*/ 78 h 102"/>
                <a:gd name="T14" fmla="*/ 82 w 149"/>
                <a:gd name="T15" fmla="*/ 71 h 102"/>
                <a:gd name="T16" fmla="*/ 82 w 149"/>
                <a:gd name="T17" fmla="*/ 87 h 102"/>
                <a:gd name="T18" fmla="*/ 106 w 149"/>
                <a:gd name="T19" fmla="*/ 94 h 102"/>
                <a:gd name="T20" fmla="*/ 109 w 149"/>
                <a:gd name="T21" fmla="*/ 98 h 102"/>
                <a:gd name="T22" fmla="*/ 123 w 149"/>
                <a:gd name="T23" fmla="*/ 98 h 102"/>
                <a:gd name="T24" fmla="*/ 128 w 149"/>
                <a:gd name="T25" fmla="*/ 102 h 102"/>
                <a:gd name="T26" fmla="*/ 131 w 149"/>
                <a:gd name="T27" fmla="*/ 100 h 102"/>
                <a:gd name="T28" fmla="*/ 120 w 149"/>
                <a:gd name="T29" fmla="*/ 86 h 102"/>
                <a:gd name="T30" fmla="*/ 130 w 149"/>
                <a:gd name="T31" fmla="*/ 72 h 102"/>
                <a:gd name="T32" fmla="*/ 138 w 149"/>
                <a:gd name="T33" fmla="*/ 68 h 102"/>
                <a:gd name="T34" fmla="*/ 138 w 149"/>
                <a:gd name="T35" fmla="*/ 68 h 102"/>
                <a:gd name="T36" fmla="*/ 140 w 149"/>
                <a:gd name="T37" fmla="*/ 62 h 102"/>
                <a:gd name="T38" fmla="*/ 149 w 149"/>
                <a:gd name="T39" fmla="*/ 61 h 102"/>
                <a:gd name="T40" fmla="*/ 146 w 149"/>
                <a:gd name="T41" fmla="*/ 48 h 102"/>
                <a:gd name="T42" fmla="*/ 136 w 149"/>
                <a:gd name="T43" fmla="*/ 39 h 102"/>
                <a:gd name="T44" fmla="*/ 131 w 149"/>
                <a:gd name="T45" fmla="*/ 38 h 102"/>
                <a:gd name="T46" fmla="*/ 120 w 149"/>
                <a:gd name="T47" fmla="*/ 38 h 102"/>
                <a:gd name="T48" fmla="*/ 122 w 149"/>
                <a:gd name="T49" fmla="*/ 28 h 102"/>
                <a:gd name="T50" fmla="*/ 127 w 149"/>
                <a:gd name="T51" fmla="*/ 19 h 102"/>
                <a:gd name="T52" fmla="*/ 116 w 149"/>
                <a:gd name="T53" fmla="*/ 12 h 102"/>
                <a:gd name="T54" fmla="*/ 102 w 149"/>
                <a:gd name="T55" fmla="*/ 12 h 102"/>
                <a:gd name="T56" fmla="*/ 98 w 149"/>
                <a:gd name="T57" fmla="*/ 2 h 102"/>
                <a:gd name="T58" fmla="*/ 79 w 149"/>
                <a:gd name="T59" fmla="*/ 2 h 102"/>
                <a:gd name="T60" fmla="*/ 73 w 149"/>
                <a:gd name="T61" fmla="*/ 6 h 102"/>
                <a:gd name="T62" fmla="*/ 64 w 149"/>
                <a:gd name="T63" fmla="*/ 4 h 102"/>
                <a:gd name="T64" fmla="*/ 64 w 149"/>
                <a:gd name="T65" fmla="*/ 10 h 102"/>
                <a:gd name="T66" fmla="*/ 54 w 149"/>
                <a:gd name="T67" fmla="*/ 8 h 102"/>
                <a:gd name="T68" fmla="*/ 51 w 149"/>
                <a:gd name="T69" fmla="*/ 15 h 102"/>
                <a:gd name="T70" fmla="*/ 42 w 149"/>
                <a:gd name="T71" fmla="*/ 10 h 102"/>
                <a:gd name="T72" fmla="*/ 30 w 149"/>
                <a:gd name="T73" fmla="*/ 12 h 102"/>
                <a:gd name="T74" fmla="*/ 26 w 149"/>
                <a:gd name="T75" fmla="*/ 6 h 102"/>
                <a:gd name="T76" fmla="*/ 18 w 149"/>
                <a:gd name="T77" fmla="*/ 8 h 102"/>
                <a:gd name="T78" fmla="*/ 17 w 149"/>
                <a:gd name="T79" fmla="*/ 6 h 102"/>
                <a:gd name="T80" fmla="*/ 1 w 149"/>
                <a:gd name="T81" fmla="*/ 20 h 102"/>
                <a:gd name="T82" fmla="*/ 0 w 149"/>
                <a:gd name="T83" fmla="*/ 2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9" h="102">
                  <a:moveTo>
                    <a:pt x="0" y="29"/>
                  </a:moveTo>
                  <a:cubicBezTo>
                    <a:pt x="6" y="43"/>
                    <a:pt x="6" y="43"/>
                    <a:pt x="6" y="43"/>
                  </a:cubicBezTo>
                  <a:cubicBezTo>
                    <a:pt x="22" y="47"/>
                    <a:pt x="22" y="47"/>
                    <a:pt x="22" y="47"/>
                  </a:cubicBezTo>
                  <a:cubicBezTo>
                    <a:pt x="29" y="54"/>
                    <a:pt x="29" y="54"/>
                    <a:pt x="29" y="54"/>
                  </a:cubicBezTo>
                  <a:cubicBezTo>
                    <a:pt x="29" y="54"/>
                    <a:pt x="47" y="56"/>
                    <a:pt x="52" y="59"/>
                  </a:cubicBezTo>
                  <a:cubicBezTo>
                    <a:pt x="57" y="62"/>
                    <a:pt x="57" y="78"/>
                    <a:pt x="57" y="78"/>
                  </a:cubicBezTo>
                  <a:cubicBezTo>
                    <a:pt x="72" y="78"/>
                    <a:pt x="72" y="78"/>
                    <a:pt x="72" y="78"/>
                  </a:cubicBezTo>
                  <a:cubicBezTo>
                    <a:pt x="82" y="71"/>
                    <a:pt x="82" y="71"/>
                    <a:pt x="82" y="71"/>
                  </a:cubicBezTo>
                  <a:cubicBezTo>
                    <a:pt x="82" y="87"/>
                    <a:pt x="82" y="87"/>
                    <a:pt x="82" y="87"/>
                  </a:cubicBezTo>
                  <a:cubicBezTo>
                    <a:pt x="82" y="87"/>
                    <a:pt x="104" y="91"/>
                    <a:pt x="106" y="94"/>
                  </a:cubicBezTo>
                  <a:cubicBezTo>
                    <a:pt x="108" y="97"/>
                    <a:pt x="109" y="98"/>
                    <a:pt x="109" y="98"/>
                  </a:cubicBezTo>
                  <a:cubicBezTo>
                    <a:pt x="123" y="98"/>
                    <a:pt x="123" y="98"/>
                    <a:pt x="123" y="98"/>
                  </a:cubicBezTo>
                  <a:cubicBezTo>
                    <a:pt x="128" y="102"/>
                    <a:pt x="128" y="102"/>
                    <a:pt x="128" y="102"/>
                  </a:cubicBezTo>
                  <a:cubicBezTo>
                    <a:pt x="131" y="100"/>
                    <a:pt x="131" y="100"/>
                    <a:pt x="131" y="100"/>
                  </a:cubicBezTo>
                  <a:cubicBezTo>
                    <a:pt x="127" y="95"/>
                    <a:pt x="121" y="88"/>
                    <a:pt x="120" y="86"/>
                  </a:cubicBezTo>
                  <a:cubicBezTo>
                    <a:pt x="118" y="84"/>
                    <a:pt x="119" y="78"/>
                    <a:pt x="130" y="72"/>
                  </a:cubicBezTo>
                  <a:cubicBezTo>
                    <a:pt x="134" y="70"/>
                    <a:pt x="137" y="69"/>
                    <a:pt x="138" y="68"/>
                  </a:cubicBezTo>
                  <a:cubicBezTo>
                    <a:pt x="138" y="68"/>
                    <a:pt x="138" y="68"/>
                    <a:pt x="138" y="68"/>
                  </a:cubicBezTo>
                  <a:cubicBezTo>
                    <a:pt x="139" y="65"/>
                    <a:pt x="140" y="62"/>
                    <a:pt x="140" y="62"/>
                  </a:cubicBezTo>
                  <a:cubicBezTo>
                    <a:pt x="149" y="61"/>
                    <a:pt x="149" y="61"/>
                    <a:pt x="149" y="61"/>
                  </a:cubicBezTo>
                  <a:cubicBezTo>
                    <a:pt x="149" y="61"/>
                    <a:pt x="146" y="54"/>
                    <a:pt x="146" y="48"/>
                  </a:cubicBezTo>
                  <a:cubicBezTo>
                    <a:pt x="145" y="42"/>
                    <a:pt x="136" y="39"/>
                    <a:pt x="136" y="39"/>
                  </a:cubicBezTo>
                  <a:cubicBezTo>
                    <a:pt x="131" y="38"/>
                    <a:pt x="131" y="38"/>
                    <a:pt x="131" y="38"/>
                  </a:cubicBezTo>
                  <a:cubicBezTo>
                    <a:pt x="131" y="38"/>
                    <a:pt x="122" y="43"/>
                    <a:pt x="120" y="38"/>
                  </a:cubicBezTo>
                  <a:cubicBezTo>
                    <a:pt x="118" y="32"/>
                    <a:pt x="122" y="28"/>
                    <a:pt x="122" y="28"/>
                  </a:cubicBezTo>
                  <a:cubicBezTo>
                    <a:pt x="122" y="28"/>
                    <a:pt x="128" y="28"/>
                    <a:pt x="127" y="19"/>
                  </a:cubicBezTo>
                  <a:cubicBezTo>
                    <a:pt x="126" y="10"/>
                    <a:pt x="116" y="12"/>
                    <a:pt x="116" y="12"/>
                  </a:cubicBezTo>
                  <a:cubicBezTo>
                    <a:pt x="116" y="12"/>
                    <a:pt x="104" y="16"/>
                    <a:pt x="102" y="12"/>
                  </a:cubicBezTo>
                  <a:cubicBezTo>
                    <a:pt x="99" y="8"/>
                    <a:pt x="98" y="2"/>
                    <a:pt x="98" y="2"/>
                  </a:cubicBezTo>
                  <a:cubicBezTo>
                    <a:pt x="98" y="2"/>
                    <a:pt x="84" y="0"/>
                    <a:pt x="79" y="2"/>
                  </a:cubicBezTo>
                  <a:cubicBezTo>
                    <a:pt x="74" y="3"/>
                    <a:pt x="73" y="6"/>
                    <a:pt x="73" y="6"/>
                  </a:cubicBezTo>
                  <a:cubicBezTo>
                    <a:pt x="64" y="4"/>
                    <a:pt x="64" y="4"/>
                    <a:pt x="64" y="4"/>
                  </a:cubicBezTo>
                  <a:cubicBezTo>
                    <a:pt x="64" y="10"/>
                    <a:pt x="64" y="10"/>
                    <a:pt x="64" y="10"/>
                  </a:cubicBezTo>
                  <a:cubicBezTo>
                    <a:pt x="54" y="8"/>
                    <a:pt x="54" y="8"/>
                    <a:pt x="54" y="8"/>
                  </a:cubicBezTo>
                  <a:cubicBezTo>
                    <a:pt x="51" y="15"/>
                    <a:pt x="51" y="15"/>
                    <a:pt x="51" y="15"/>
                  </a:cubicBezTo>
                  <a:cubicBezTo>
                    <a:pt x="51" y="15"/>
                    <a:pt x="47" y="10"/>
                    <a:pt x="42" y="10"/>
                  </a:cubicBezTo>
                  <a:cubicBezTo>
                    <a:pt x="38" y="11"/>
                    <a:pt x="30" y="12"/>
                    <a:pt x="30" y="12"/>
                  </a:cubicBezTo>
                  <a:cubicBezTo>
                    <a:pt x="26" y="6"/>
                    <a:pt x="26" y="6"/>
                    <a:pt x="26" y="6"/>
                  </a:cubicBezTo>
                  <a:cubicBezTo>
                    <a:pt x="18" y="8"/>
                    <a:pt x="18" y="8"/>
                    <a:pt x="18" y="8"/>
                  </a:cubicBezTo>
                  <a:cubicBezTo>
                    <a:pt x="17" y="6"/>
                    <a:pt x="17" y="6"/>
                    <a:pt x="17" y="6"/>
                  </a:cubicBezTo>
                  <a:cubicBezTo>
                    <a:pt x="1" y="20"/>
                    <a:pt x="1" y="20"/>
                    <a:pt x="1" y="20"/>
                  </a:cubicBezTo>
                  <a:lnTo>
                    <a:pt x="0" y="29"/>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20" name="Freeform 81"/>
            <p:cNvSpPr>
              <a:spLocks/>
            </p:cNvSpPr>
            <p:nvPr/>
          </p:nvSpPr>
          <p:spPr bwMode="gray">
            <a:xfrm>
              <a:off x="4413250" y="2336800"/>
              <a:ext cx="209550" cy="219075"/>
            </a:xfrm>
            <a:custGeom>
              <a:avLst/>
              <a:gdLst>
                <a:gd name="T0" fmla="*/ 21 w 373"/>
                <a:gd name="T1" fmla="*/ 294 h 393"/>
                <a:gd name="T2" fmla="*/ 62 w 373"/>
                <a:gd name="T3" fmla="*/ 297 h 393"/>
                <a:gd name="T4" fmla="*/ 90 w 373"/>
                <a:gd name="T5" fmla="*/ 305 h 393"/>
                <a:gd name="T6" fmla="*/ 74 w 373"/>
                <a:gd name="T7" fmla="*/ 330 h 393"/>
                <a:gd name="T8" fmla="*/ 75 w 373"/>
                <a:gd name="T9" fmla="*/ 381 h 393"/>
                <a:gd name="T10" fmla="*/ 101 w 373"/>
                <a:gd name="T11" fmla="*/ 378 h 393"/>
                <a:gd name="T12" fmla="*/ 128 w 373"/>
                <a:gd name="T13" fmla="*/ 372 h 393"/>
                <a:gd name="T14" fmla="*/ 148 w 373"/>
                <a:gd name="T15" fmla="*/ 383 h 393"/>
                <a:gd name="T16" fmla="*/ 161 w 373"/>
                <a:gd name="T17" fmla="*/ 382 h 393"/>
                <a:gd name="T18" fmla="*/ 182 w 373"/>
                <a:gd name="T19" fmla="*/ 377 h 393"/>
                <a:gd name="T20" fmla="*/ 224 w 373"/>
                <a:gd name="T21" fmla="*/ 387 h 393"/>
                <a:gd name="T22" fmla="*/ 258 w 373"/>
                <a:gd name="T23" fmla="*/ 372 h 393"/>
                <a:gd name="T24" fmla="*/ 290 w 373"/>
                <a:gd name="T25" fmla="*/ 385 h 393"/>
                <a:gd name="T26" fmla="*/ 282 w 373"/>
                <a:gd name="T27" fmla="*/ 358 h 393"/>
                <a:gd name="T28" fmla="*/ 309 w 373"/>
                <a:gd name="T29" fmla="*/ 335 h 393"/>
                <a:gd name="T30" fmla="*/ 324 w 373"/>
                <a:gd name="T31" fmla="*/ 316 h 393"/>
                <a:gd name="T32" fmla="*/ 301 w 373"/>
                <a:gd name="T33" fmla="*/ 295 h 393"/>
                <a:gd name="T34" fmla="*/ 281 w 373"/>
                <a:gd name="T35" fmla="*/ 285 h 393"/>
                <a:gd name="T36" fmla="*/ 271 w 373"/>
                <a:gd name="T37" fmla="*/ 271 h 393"/>
                <a:gd name="T38" fmla="*/ 263 w 373"/>
                <a:gd name="T39" fmla="*/ 248 h 393"/>
                <a:gd name="T40" fmla="*/ 263 w 373"/>
                <a:gd name="T41" fmla="*/ 239 h 393"/>
                <a:gd name="T42" fmla="*/ 283 w 373"/>
                <a:gd name="T43" fmla="*/ 227 h 393"/>
                <a:gd name="T44" fmla="*/ 308 w 373"/>
                <a:gd name="T45" fmla="*/ 221 h 393"/>
                <a:gd name="T46" fmla="*/ 325 w 373"/>
                <a:gd name="T47" fmla="*/ 210 h 393"/>
                <a:gd name="T48" fmla="*/ 360 w 373"/>
                <a:gd name="T49" fmla="*/ 208 h 393"/>
                <a:gd name="T50" fmla="*/ 369 w 373"/>
                <a:gd name="T51" fmla="*/ 177 h 393"/>
                <a:gd name="T52" fmla="*/ 351 w 373"/>
                <a:gd name="T53" fmla="*/ 157 h 393"/>
                <a:gd name="T54" fmla="*/ 356 w 373"/>
                <a:gd name="T55" fmla="*/ 136 h 393"/>
                <a:gd name="T56" fmla="*/ 352 w 373"/>
                <a:gd name="T57" fmla="*/ 115 h 393"/>
                <a:gd name="T58" fmla="*/ 334 w 373"/>
                <a:gd name="T59" fmla="*/ 106 h 393"/>
                <a:gd name="T60" fmla="*/ 339 w 373"/>
                <a:gd name="T61" fmla="*/ 72 h 393"/>
                <a:gd name="T62" fmla="*/ 321 w 373"/>
                <a:gd name="T63" fmla="*/ 55 h 393"/>
                <a:gd name="T64" fmla="*/ 296 w 373"/>
                <a:gd name="T65" fmla="*/ 35 h 393"/>
                <a:gd name="T66" fmla="*/ 226 w 373"/>
                <a:gd name="T67" fmla="*/ 35 h 393"/>
                <a:gd name="T68" fmla="*/ 202 w 373"/>
                <a:gd name="T69" fmla="*/ 35 h 393"/>
                <a:gd name="T70" fmla="*/ 168 w 373"/>
                <a:gd name="T71" fmla="*/ 22 h 393"/>
                <a:gd name="T72" fmla="*/ 145 w 373"/>
                <a:gd name="T73" fmla="*/ 3 h 393"/>
                <a:gd name="T74" fmla="*/ 112 w 373"/>
                <a:gd name="T75" fmla="*/ 0 h 393"/>
                <a:gd name="T76" fmla="*/ 130 w 373"/>
                <a:gd name="T77" fmla="*/ 49 h 393"/>
                <a:gd name="T78" fmla="*/ 105 w 373"/>
                <a:gd name="T79" fmla="*/ 55 h 393"/>
                <a:gd name="T80" fmla="*/ 82 w 373"/>
                <a:gd name="T81" fmla="*/ 62 h 393"/>
                <a:gd name="T82" fmla="*/ 57 w 373"/>
                <a:gd name="T83" fmla="*/ 85 h 393"/>
                <a:gd name="T84" fmla="*/ 47 w 373"/>
                <a:gd name="T85" fmla="*/ 103 h 393"/>
                <a:gd name="T86" fmla="*/ 30 w 373"/>
                <a:gd name="T87" fmla="*/ 122 h 393"/>
                <a:gd name="T88" fmla="*/ 35 w 373"/>
                <a:gd name="T89" fmla="*/ 153 h 393"/>
                <a:gd name="T90" fmla="*/ 1 w 373"/>
                <a:gd name="T91" fmla="*/ 155 h 393"/>
                <a:gd name="T92" fmla="*/ 0 w 373"/>
                <a:gd name="T93" fmla="*/ 191 h 393"/>
                <a:gd name="T94" fmla="*/ 5 w 373"/>
                <a:gd name="T95" fmla="*/ 216 h 393"/>
                <a:gd name="T96" fmla="*/ 9 w 373"/>
                <a:gd name="T97" fmla="*/ 239 h 393"/>
                <a:gd name="T98" fmla="*/ 17 w 373"/>
                <a:gd name="T99" fmla="*/ 274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3" h="393">
                  <a:moveTo>
                    <a:pt x="17" y="274"/>
                  </a:moveTo>
                  <a:cubicBezTo>
                    <a:pt x="17" y="274"/>
                    <a:pt x="19" y="278"/>
                    <a:pt x="22" y="281"/>
                  </a:cubicBezTo>
                  <a:cubicBezTo>
                    <a:pt x="25" y="284"/>
                    <a:pt x="21" y="294"/>
                    <a:pt x="21" y="294"/>
                  </a:cubicBezTo>
                  <a:cubicBezTo>
                    <a:pt x="38" y="294"/>
                    <a:pt x="38" y="294"/>
                    <a:pt x="38" y="294"/>
                  </a:cubicBezTo>
                  <a:cubicBezTo>
                    <a:pt x="38" y="294"/>
                    <a:pt x="36" y="299"/>
                    <a:pt x="42" y="300"/>
                  </a:cubicBezTo>
                  <a:cubicBezTo>
                    <a:pt x="48" y="301"/>
                    <a:pt x="62" y="297"/>
                    <a:pt x="62" y="297"/>
                  </a:cubicBezTo>
                  <a:cubicBezTo>
                    <a:pt x="62" y="301"/>
                    <a:pt x="62" y="301"/>
                    <a:pt x="62" y="301"/>
                  </a:cubicBezTo>
                  <a:cubicBezTo>
                    <a:pt x="80" y="300"/>
                    <a:pt x="80" y="300"/>
                    <a:pt x="80" y="300"/>
                  </a:cubicBezTo>
                  <a:cubicBezTo>
                    <a:pt x="90" y="305"/>
                    <a:pt x="90" y="305"/>
                    <a:pt x="90" y="305"/>
                  </a:cubicBezTo>
                  <a:cubicBezTo>
                    <a:pt x="88" y="311"/>
                    <a:pt x="88" y="311"/>
                    <a:pt x="88" y="311"/>
                  </a:cubicBezTo>
                  <a:cubicBezTo>
                    <a:pt x="74" y="322"/>
                    <a:pt x="74" y="322"/>
                    <a:pt x="74" y="322"/>
                  </a:cubicBezTo>
                  <a:cubicBezTo>
                    <a:pt x="74" y="330"/>
                    <a:pt x="74" y="330"/>
                    <a:pt x="74" y="330"/>
                  </a:cubicBezTo>
                  <a:cubicBezTo>
                    <a:pt x="74" y="330"/>
                    <a:pt x="64" y="349"/>
                    <a:pt x="62" y="360"/>
                  </a:cubicBezTo>
                  <a:cubicBezTo>
                    <a:pt x="60" y="369"/>
                    <a:pt x="63" y="377"/>
                    <a:pt x="64" y="379"/>
                  </a:cubicBezTo>
                  <a:cubicBezTo>
                    <a:pt x="75" y="381"/>
                    <a:pt x="75" y="381"/>
                    <a:pt x="75" y="381"/>
                  </a:cubicBezTo>
                  <a:cubicBezTo>
                    <a:pt x="87" y="381"/>
                    <a:pt x="87" y="381"/>
                    <a:pt x="87" y="381"/>
                  </a:cubicBezTo>
                  <a:cubicBezTo>
                    <a:pt x="97" y="374"/>
                    <a:pt x="97" y="374"/>
                    <a:pt x="97" y="374"/>
                  </a:cubicBezTo>
                  <a:cubicBezTo>
                    <a:pt x="101" y="378"/>
                    <a:pt x="101" y="378"/>
                    <a:pt x="101" y="378"/>
                  </a:cubicBezTo>
                  <a:cubicBezTo>
                    <a:pt x="101" y="378"/>
                    <a:pt x="96" y="366"/>
                    <a:pt x="103" y="365"/>
                  </a:cubicBezTo>
                  <a:cubicBezTo>
                    <a:pt x="110" y="364"/>
                    <a:pt x="119" y="372"/>
                    <a:pt x="119" y="372"/>
                  </a:cubicBezTo>
                  <a:cubicBezTo>
                    <a:pt x="128" y="372"/>
                    <a:pt x="128" y="372"/>
                    <a:pt x="128" y="372"/>
                  </a:cubicBezTo>
                  <a:cubicBezTo>
                    <a:pt x="138" y="375"/>
                    <a:pt x="138" y="375"/>
                    <a:pt x="138" y="375"/>
                  </a:cubicBezTo>
                  <a:cubicBezTo>
                    <a:pt x="144" y="383"/>
                    <a:pt x="144" y="383"/>
                    <a:pt x="144" y="383"/>
                  </a:cubicBezTo>
                  <a:cubicBezTo>
                    <a:pt x="148" y="383"/>
                    <a:pt x="148" y="383"/>
                    <a:pt x="148" y="383"/>
                  </a:cubicBezTo>
                  <a:cubicBezTo>
                    <a:pt x="148" y="383"/>
                    <a:pt x="149" y="384"/>
                    <a:pt x="149" y="385"/>
                  </a:cubicBezTo>
                  <a:cubicBezTo>
                    <a:pt x="149" y="385"/>
                    <a:pt x="149" y="385"/>
                    <a:pt x="149" y="385"/>
                  </a:cubicBezTo>
                  <a:cubicBezTo>
                    <a:pt x="151" y="383"/>
                    <a:pt x="155" y="380"/>
                    <a:pt x="161" y="382"/>
                  </a:cubicBezTo>
                  <a:cubicBezTo>
                    <a:pt x="170" y="383"/>
                    <a:pt x="171" y="393"/>
                    <a:pt x="175" y="392"/>
                  </a:cubicBezTo>
                  <a:cubicBezTo>
                    <a:pt x="179" y="391"/>
                    <a:pt x="182" y="386"/>
                    <a:pt x="182" y="386"/>
                  </a:cubicBezTo>
                  <a:cubicBezTo>
                    <a:pt x="182" y="377"/>
                    <a:pt x="182" y="377"/>
                    <a:pt x="182" y="377"/>
                  </a:cubicBezTo>
                  <a:cubicBezTo>
                    <a:pt x="195" y="378"/>
                    <a:pt x="195" y="378"/>
                    <a:pt x="195" y="378"/>
                  </a:cubicBezTo>
                  <a:cubicBezTo>
                    <a:pt x="195" y="378"/>
                    <a:pt x="205" y="389"/>
                    <a:pt x="212" y="389"/>
                  </a:cubicBezTo>
                  <a:cubicBezTo>
                    <a:pt x="218" y="389"/>
                    <a:pt x="224" y="387"/>
                    <a:pt x="224" y="387"/>
                  </a:cubicBezTo>
                  <a:cubicBezTo>
                    <a:pt x="233" y="379"/>
                    <a:pt x="233" y="379"/>
                    <a:pt x="233" y="379"/>
                  </a:cubicBezTo>
                  <a:cubicBezTo>
                    <a:pt x="247" y="378"/>
                    <a:pt x="247" y="378"/>
                    <a:pt x="247" y="378"/>
                  </a:cubicBezTo>
                  <a:cubicBezTo>
                    <a:pt x="258" y="372"/>
                    <a:pt x="258" y="372"/>
                    <a:pt x="258" y="372"/>
                  </a:cubicBezTo>
                  <a:cubicBezTo>
                    <a:pt x="267" y="373"/>
                    <a:pt x="267" y="373"/>
                    <a:pt x="267" y="373"/>
                  </a:cubicBezTo>
                  <a:cubicBezTo>
                    <a:pt x="280" y="378"/>
                    <a:pt x="280" y="378"/>
                    <a:pt x="280" y="378"/>
                  </a:cubicBezTo>
                  <a:cubicBezTo>
                    <a:pt x="280" y="378"/>
                    <a:pt x="288" y="392"/>
                    <a:pt x="290" y="385"/>
                  </a:cubicBezTo>
                  <a:cubicBezTo>
                    <a:pt x="291" y="379"/>
                    <a:pt x="290" y="369"/>
                    <a:pt x="290" y="369"/>
                  </a:cubicBezTo>
                  <a:cubicBezTo>
                    <a:pt x="290" y="360"/>
                    <a:pt x="290" y="360"/>
                    <a:pt x="290" y="360"/>
                  </a:cubicBezTo>
                  <a:cubicBezTo>
                    <a:pt x="282" y="358"/>
                    <a:pt x="282" y="358"/>
                    <a:pt x="282" y="358"/>
                  </a:cubicBezTo>
                  <a:cubicBezTo>
                    <a:pt x="282" y="358"/>
                    <a:pt x="287" y="345"/>
                    <a:pt x="291" y="344"/>
                  </a:cubicBezTo>
                  <a:cubicBezTo>
                    <a:pt x="296" y="343"/>
                    <a:pt x="309" y="346"/>
                    <a:pt x="309" y="346"/>
                  </a:cubicBezTo>
                  <a:cubicBezTo>
                    <a:pt x="309" y="335"/>
                    <a:pt x="309" y="335"/>
                    <a:pt x="309" y="335"/>
                  </a:cubicBezTo>
                  <a:cubicBezTo>
                    <a:pt x="305" y="328"/>
                    <a:pt x="305" y="328"/>
                    <a:pt x="305" y="328"/>
                  </a:cubicBezTo>
                  <a:cubicBezTo>
                    <a:pt x="317" y="327"/>
                    <a:pt x="317" y="327"/>
                    <a:pt x="317" y="327"/>
                  </a:cubicBezTo>
                  <a:cubicBezTo>
                    <a:pt x="324" y="316"/>
                    <a:pt x="324" y="316"/>
                    <a:pt x="324" y="316"/>
                  </a:cubicBezTo>
                  <a:cubicBezTo>
                    <a:pt x="324" y="316"/>
                    <a:pt x="323" y="309"/>
                    <a:pt x="317" y="305"/>
                  </a:cubicBezTo>
                  <a:cubicBezTo>
                    <a:pt x="312" y="302"/>
                    <a:pt x="307" y="304"/>
                    <a:pt x="307" y="304"/>
                  </a:cubicBezTo>
                  <a:cubicBezTo>
                    <a:pt x="301" y="295"/>
                    <a:pt x="301" y="295"/>
                    <a:pt x="301" y="295"/>
                  </a:cubicBezTo>
                  <a:cubicBezTo>
                    <a:pt x="297" y="295"/>
                    <a:pt x="297" y="295"/>
                    <a:pt x="297" y="295"/>
                  </a:cubicBezTo>
                  <a:cubicBezTo>
                    <a:pt x="294" y="287"/>
                    <a:pt x="294" y="287"/>
                    <a:pt x="294" y="287"/>
                  </a:cubicBezTo>
                  <a:cubicBezTo>
                    <a:pt x="294" y="287"/>
                    <a:pt x="288" y="285"/>
                    <a:pt x="281" y="285"/>
                  </a:cubicBezTo>
                  <a:cubicBezTo>
                    <a:pt x="273" y="284"/>
                    <a:pt x="279" y="279"/>
                    <a:pt x="279" y="279"/>
                  </a:cubicBezTo>
                  <a:cubicBezTo>
                    <a:pt x="273" y="277"/>
                    <a:pt x="273" y="277"/>
                    <a:pt x="273" y="277"/>
                  </a:cubicBezTo>
                  <a:cubicBezTo>
                    <a:pt x="271" y="271"/>
                    <a:pt x="271" y="271"/>
                    <a:pt x="271" y="271"/>
                  </a:cubicBezTo>
                  <a:cubicBezTo>
                    <a:pt x="271" y="271"/>
                    <a:pt x="263" y="265"/>
                    <a:pt x="262" y="263"/>
                  </a:cubicBezTo>
                  <a:cubicBezTo>
                    <a:pt x="261" y="261"/>
                    <a:pt x="269" y="257"/>
                    <a:pt x="269" y="257"/>
                  </a:cubicBezTo>
                  <a:cubicBezTo>
                    <a:pt x="263" y="248"/>
                    <a:pt x="263" y="248"/>
                    <a:pt x="263" y="248"/>
                  </a:cubicBezTo>
                  <a:cubicBezTo>
                    <a:pt x="257" y="247"/>
                    <a:pt x="257" y="247"/>
                    <a:pt x="257" y="247"/>
                  </a:cubicBezTo>
                  <a:cubicBezTo>
                    <a:pt x="257" y="247"/>
                    <a:pt x="252" y="238"/>
                    <a:pt x="255" y="235"/>
                  </a:cubicBezTo>
                  <a:cubicBezTo>
                    <a:pt x="259" y="233"/>
                    <a:pt x="259" y="239"/>
                    <a:pt x="263" y="239"/>
                  </a:cubicBezTo>
                  <a:cubicBezTo>
                    <a:pt x="267" y="238"/>
                    <a:pt x="266" y="233"/>
                    <a:pt x="266" y="233"/>
                  </a:cubicBezTo>
                  <a:cubicBezTo>
                    <a:pt x="273" y="233"/>
                    <a:pt x="273" y="233"/>
                    <a:pt x="273" y="233"/>
                  </a:cubicBezTo>
                  <a:cubicBezTo>
                    <a:pt x="273" y="233"/>
                    <a:pt x="275" y="225"/>
                    <a:pt x="283" y="227"/>
                  </a:cubicBezTo>
                  <a:cubicBezTo>
                    <a:pt x="292" y="229"/>
                    <a:pt x="290" y="233"/>
                    <a:pt x="290" y="233"/>
                  </a:cubicBezTo>
                  <a:cubicBezTo>
                    <a:pt x="297" y="224"/>
                    <a:pt x="297" y="224"/>
                    <a:pt x="297" y="224"/>
                  </a:cubicBezTo>
                  <a:cubicBezTo>
                    <a:pt x="308" y="221"/>
                    <a:pt x="308" y="221"/>
                    <a:pt x="308" y="221"/>
                  </a:cubicBezTo>
                  <a:cubicBezTo>
                    <a:pt x="310" y="217"/>
                    <a:pt x="310" y="217"/>
                    <a:pt x="310" y="217"/>
                  </a:cubicBezTo>
                  <a:cubicBezTo>
                    <a:pt x="310" y="217"/>
                    <a:pt x="321" y="217"/>
                    <a:pt x="324" y="216"/>
                  </a:cubicBezTo>
                  <a:cubicBezTo>
                    <a:pt x="327" y="215"/>
                    <a:pt x="325" y="210"/>
                    <a:pt x="325" y="210"/>
                  </a:cubicBezTo>
                  <a:cubicBezTo>
                    <a:pt x="325" y="210"/>
                    <a:pt x="336" y="211"/>
                    <a:pt x="339" y="208"/>
                  </a:cubicBezTo>
                  <a:cubicBezTo>
                    <a:pt x="341" y="205"/>
                    <a:pt x="346" y="199"/>
                    <a:pt x="348" y="198"/>
                  </a:cubicBezTo>
                  <a:cubicBezTo>
                    <a:pt x="350" y="197"/>
                    <a:pt x="355" y="209"/>
                    <a:pt x="360" y="208"/>
                  </a:cubicBezTo>
                  <a:cubicBezTo>
                    <a:pt x="365" y="207"/>
                    <a:pt x="371" y="195"/>
                    <a:pt x="372" y="191"/>
                  </a:cubicBezTo>
                  <a:cubicBezTo>
                    <a:pt x="373" y="188"/>
                    <a:pt x="367" y="187"/>
                    <a:pt x="367" y="187"/>
                  </a:cubicBezTo>
                  <a:cubicBezTo>
                    <a:pt x="367" y="187"/>
                    <a:pt x="371" y="182"/>
                    <a:pt x="369" y="177"/>
                  </a:cubicBezTo>
                  <a:cubicBezTo>
                    <a:pt x="368" y="171"/>
                    <a:pt x="360" y="177"/>
                    <a:pt x="360" y="177"/>
                  </a:cubicBezTo>
                  <a:cubicBezTo>
                    <a:pt x="361" y="165"/>
                    <a:pt x="361" y="165"/>
                    <a:pt x="361" y="165"/>
                  </a:cubicBezTo>
                  <a:cubicBezTo>
                    <a:pt x="361" y="165"/>
                    <a:pt x="352" y="163"/>
                    <a:pt x="351" y="157"/>
                  </a:cubicBezTo>
                  <a:cubicBezTo>
                    <a:pt x="351" y="152"/>
                    <a:pt x="360" y="146"/>
                    <a:pt x="360" y="146"/>
                  </a:cubicBezTo>
                  <a:cubicBezTo>
                    <a:pt x="360" y="146"/>
                    <a:pt x="357" y="144"/>
                    <a:pt x="355" y="143"/>
                  </a:cubicBezTo>
                  <a:cubicBezTo>
                    <a:pt x="353" y="143"/>
                    <a:pt x="356" y="136"/>
                    <a:pt x="356" y="136"/>
                  </a:cubicBezTo>
                  <a:cubicBezTo>
                    <a:pt x="356" y="136"/>
                    <a:pt x="351" y="135"/>
                    <a:pt x="350" y="132"/>
                  </a:cubicBezTo>
                  <a:cubicBezTo>
                    <a:pt x="349" y="129"/>
                    <a:pt x="355" y="126"/>
                    <a:pt x="355" y="126"/>
                  </a:cubicBezTo>
                  <a:cubicBezTo>
                    <a:pt x="355" y="126"/>
                    <a:pt x="355" y="120"/>
                    <a:pt x="352" y="115"/>
                  </a:cubicBezTo>
                  <a:cubicBezTo>
                    <a:pt x="349" y="111"/>
                    <a:pt x="345" y="115"/>
                    <a:pt x="345" y="115"/>
                  </a:cubicBezTo>
                  <a:cubicBezTo>
                    <a:pt x="341" y="109"/>
                    <a:pt x="341" y="109"/>
                    <a:pt x="341" y="109"/>
                  </a:cubicBezTo>
                  <a:cubicBezTo>
                    <a:pt x="341" y="109"/>
                    <a:pt x="337" y="113"/>
                    <a:pt x="334" y="106"/>
                  </a:cubicBezTo>
                  <a:cubicBezTo>
                    <a:pt x="331" y="99"/>
                    <a:pt x="337" y="98"/>
                    <a:pt x="343" y="93"/>
                  </a:cubicBezTo>
                  <a:cubicBezTo>
                    <a:pt x="349" y="89"/>
                    <a:pt x="347" y="87"/>
                    <a:pt x="345" y="79"/>
                  </a:cubicBezTo>
                  <a:cubicBezTo>
                    <a:pt x="342" y="70"/>
                    <a:pt x="337" y="78"/>
                    <a:pt x="339" y="72"/>
                  </a:cubicBezTo>
                  <a:cubicBezTo>
                    <a:pt x="340" y="69"/>
                    <a:pt x="339" y="65"/>
                    <a:pt x="338" y="62"/>
                  </a:cubicBezTo>
                  <a:cubicBezTo>
                    <a:pt x="334" y="60"/>
                    <a:pt x="334" y="60"/>
                    <a:pt x="334" y="60"/>
                  </a:cubicBezTo>
                  <a:cubicBezTo>
                    <a:pt x="321" y="55"/>
                    <a:pt x="321" y="55"/>
                    <a:pt x="321" y="55"/>
                  </a:cubicBezTo>
                  <a:cubicBezTo>
                    <a:pt x="321" y="55"/>
                    <a:pt x="323" y="50"/>
                    <a:pt x="318" y="44"/>
                  </a:cubicBezTo>
                  <a:cubicBezTo>
                    <a:pt x="313" y="38"/>
                    <a:pt x="301" y="41"/>
                    <a:pt x="301" y="41"/>
                  </a:cubicBezTo>
                  <a:cubicBezTo>
                    <a:pt x="296" y="35"/>
                    <a:pt x="296" y="35"/>
                    <a:pt x="296" y="35"/>
                  </a:cubicBezTo>
                  <a:cubicBezTo>
                    <a:pt x="296" y="35"/>
                    <a:pt x="270" y="23"/>
                    <a:pt x="265" y="26"/>
                  </a:cubicBezTo>
                  <a:cubicBezTo>
                    <a:pt x="260" y="29"/>
                    <a:pt x="253" y="36"/>
                    <a:pt x="253" y="36"/>
                  </a:cubicBezTo>
                  <a:cubicBezTo>
                    <a:pt x="226" y="35"/>
                    <a:pt x="226" y="35"/>
                    <a:pt x="226" y="35"/>
                  </a:cubicBezTo>
                  <a:cubicBezTo>
                    <a:pt x="226" y="47"/>
                    <a:pt x="226" y="47"/>
                    <a:pt x="226" y="47"/>
                  </a:cubicBezTo>
                  <a:cubicBezTo>
                    <a:pt x="200" y="46"/>
                    <a:pt x="200" y="46"/>
                    <a:pt x="200" y="46"/>
                  </a:cubicBezTo>
                  <a:cubicBezTo>
                    <a:pt x="200" y="46"/>
                    <a:pt x="198" y="38"/>
                    <a:pt x="202" y="35"/>
                  </a:cubicBezTo>
                  <a:cubicBezTo>
                    <a:pt x="206" y="32"/>
                    <a:pt x="209" y="20"/>
                    <a:pt x="209" y="20"/>
                  </a:cubicBezTo>
                  <a:cubicBezTo>
                    <a:pt x="196" y="27"/>
                    <a:pt x="196" y="27"/>
                    <a:pt x="196" y="27"/>
                  </a:cubicBezTo>
                  <a:cubicBezTo>
                    <a:pt x="168" y="22"/>
                    <a:pt x="168" y="22"/>
                    <a:pt x="168" y="22"/>
                  </a:cubicBezTo>
                  <a:cubicBezTo>
                    <a:pt x="168" y="22"/>
                    <a:pt x="160" y="14"/>
                    <a:pt x="156" y="4"/>
                  </a:cubicBezTo>
                  <a:cubicBezTo>
                    <a:pt x="154" y="5"/>
                    <a:pt x="153" y="6"/>
                    <a:pt x="153" y="6"/>
                  </a:cubicBezTo>
                  <a:cubicBezTo>
                    <a:pt x="153" y="6"/>
                    <a:pt x="152" y="2"/>
                    <a:pt x="145" y="3"/>
                  </a:cubicBezTo>
                  <a:cubicBezTo>
                    <a:pt x="137" y="3"/>
                    <a:pt x="135" y="5"/>
                    <a:pt x="135" y="5"/>
                  </a:cubicBezTo>
                  <a:cubicBezTo>
                    <a:pt x="135" y="5"/>
                    <a:pt x="127" y="0"/>
                    <a:pt x="123" y="0"/>
                  </a:cubicBezTo>
                  <a:cubicBezTo>
                    <a:pt x="119" y="0"/>
                    <a:pt x="112" y="0"/>
                    <a:pt x="112" y="0"/>
                  </a:cubicBezTo>
                  <a:cubicBezTo>
                    <a:pt x="126" y="23"/>
                    <a:pt x="126" y="23"/>
                    <a:pt x="126" y="23"/>
                  </a:cubicBezTo>
                  <a:cubicBezTo>
                    <a:pt x="117" y="31"/>
                    <a:pt x="117" y="31"/>
                    <a:pt x="117" y="31"/>
                  </a:cubicBezTo>
                  <a:cubicBezTo>
                    <a:pt x="130" y="49"/>
                    <a:pt x="130" y="49"/>
                    <a:pt x="130" y="49"/>
                  </a:cubicBezTo>
                  <a:cubicBezTo>
                    <a:pt x="142" y="58"/>
                    <a:pt x="142" y="58"/>
                    <a:pt x="142" y="58"/>
                  </a:cubicBezTo>
                  <a:cubicBezTo>
                    <a:pt x="123" y="51"/>
                    <a:pt x="123" y="51"/>
                    <a:pt x="123" y="51"/>
                  </a:cubicBezTo>
                  <a:cubicBezTo>
                    <a:pt x="105" y="55"/>
                    <a:pt x="105" y="55"/>
                    <a:pt x="105" y="55"/>
                  </a:cubicBezTo>
                  <a:cubicBezTo>
                    <a:pt x="105" y="55"/>
                    <a:pt x="110" y="70"/>
                    <a:pt x="104" y="72"/>
                  </a:cubicBezTo>
                  <a:cubicBezTo>
                    <a:pt x="98" y="74"/>
                    <a:pt x="88" y="72"/>
                    <a:pt x="88" y="72"/>
                  </a:cubicBezTo>
                  <a:cubicBezTo>
                    <a:pt x="82" y="62"/>
                    <a:pt x="82" y="62"/>
                    <a:pt x="82" y="62"/>
                  </a:cubicBezTo>
                  <a:cubicBezTo>
                    <a:pt x="82" y="62"/>
                    <a:pt x="55" y="59"/>
                    <a:pt x="54" y="64"/>
                  </a:cubicBezTo>
                  <a:cubicBezTo>
                    <a:pt x="53" y="69"/>
                    <a:pt x="53" y="82"/>
                    <a:pt x="53" y="82"/>
                  </a:cubicBezTo>
                  <a:cubicBezTo>
                    <a:pt x="57" y="85"/>
                    <a:pt x="57" y="85"/>
                    <a:pt x="57" y="85"/>
                  </a:cubicBezTo>
                  <a:cubicBezTo>
                    <a:pt x="54" y="87"/>
                    <a:pt x="54" y="87"/>
                    <a:pt x="54" y="87"/>
                  </a:cubicBezTo>
                  <a:cubicBezTo>
                    <a:pt x="59" y="95"/>
                    <a:pt x="59" y="95"/>
                    <a:pt x="59" y="95"/>
                  </a:cubicBezTo>
                  <a:cubicBezTo>
                    <a:pt x="59" y="95"/>
                    <a:pt x="48" y="99"/>
                    <a:pt x="47" y="103"/>
                  </a:cubicBezTo>
                  <a:cubicBezTo>
                    <a:pt x="45" y="107"/>
                    <a:pt x="49" y="115"/>
                    <a:pt x="49" y="115"/>
                  </a:cubicBezTo>
                  <a:cubicBezTo>
                    <a:pt x="41" y="115"/>
                    <a:pt x="41" y="115"/>
                    <a:pt x="41" y="115"/>
                  </a:cubicBezTo>
                  <a:cubicBezTo>
                    <a:pt x="41" y="115"/>
                    <a:pt x="29" y="119"/>
                    <a:pt x="30" y="122"/>
                  </a:cubicBezTo>
                  <a:cubicBezTo>
                    <a:pt x="31" y="125"/>
                    <a:pt x="45" y="130"/>
                    <a:pt x="45" y="134"/>
                  </a:cubicBezTo>
                  <a:cubicBezTo>
                    <a:pt x="45" y="138"/>
                    <a:pt x="37" y="142"/>
                    <a:pt x="37" y="142"/>
                  </a:cubicBezTo>
                  <a:cubicBezTo>
                    <a:pt x="35" y="153"/>
                    <a:pt x="35" y="153"/>
                    <a:pt x="35" y="153"/>
                  </a:cubicBezTo>
                  <a:cubicBezTo>
                    <a:pt x="29" y="152"/>
                    <a:pt x="29" y="152"/>
                    <a:pt x="29" y="152"/>
                  </a:cubicBezTo>
                  <a:cubicBezTo>
                    <a:pt x="29" y="152"/>
                    <a:pt x="27" y="157"/>
                    <a:pt x="25" y="160"/>
                  </a:cubicBezTo>
                  <a:cubicBezTo>
                    <a:pt x="23" y="163"/>
                    <a:pt x="1" y="155"/>
                    <a:pt x="1" y="155"/>
                  </a:cubicBezTo>
                  <a:cubicBezTo>
                    <a:pt x="7" y="170"/>
                    <a:pt x="7" y="170"/>
                    <a:pt x="7" y="170"/>
                  </a:cubicBezTo>
                  <a:cubicBezTo>
                    <a:pt x="7" y="170"/>
                    <a:pt x="12" y="178"/>
                    <a:pt x="11" y="181"/>
                  </a:cubicBezTo>
                  <a:cubicBezTo>
                    <a:pt x="11" y="185"/>
                    <a:pt x="0" y="191"/>
                    <a:pt x="0" y="191"/>
                  </a:cubicBezTo>
                  <a:cubicBezTo>
                    <a:pt x="0" y="191"/>
                    <a:pt x="5" y="197"/>
                    <a:pt x="4" y="199"/>
                  </a:cubicBezTo>
                  <a:cubicBezTo>
                    <a:pt x="3" y="201"/>
                    <a:pt x="0" y="215"/>
                    <a:pt x="0" y="215"/>
                  </a:cubicBezTo>
                  <a:cubicBezTo>
                    <a:pt x="5" y="216"/>
                    <a:pt x="5" y="216"/>
                    <a:pt x="5" y="216"/>
                  </a:cubicBezTo>
                  <a:cubicBezTo>
                    <a:pt x="5" y="216"/>
                    <a:pt x="14" y="219"/>
                    <a:pt x="15" y="225"/>
                  </a:cubicBezTo>
                  <a:cubicBezTo>
                    <a:pt x="15" y="231"/>
                    <a:pt x="18" y="238"/>
                    <a:pt x="18" y="238"/>
                  </a:cubicBezTo>
                  <a:cubicBezTo>
                    <a:pt x="9" y="239"/>
                    <a:pt x="9" y="239"/>
                    <a:pt x="9" y="239"/>
                  </a:cubicBezTo>
                  <a:cubicBezTo>
                    <a:pt x="9" y="239"/>
                    <a:pt x="4" y="247"/>
                    <a:pt x="7" y="253"/>
                  </a:cubicBezTo>
                  <a:cubicBezTo>
                    <a:pt x="11" y="259"/>
                    <a:pt x="21" y="261"/>
                    <a:pt x="22" y="265"/>
                  </a:cubicBezTo>
                  <a:cubicBezTo>
                    <a:pt x="23" y="270"/>
                    <a:pt x="17" y="274"/>
                    <a:pt x="17" y="274"/>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21" name="Freeform 82"/>
            <p:cNvSpPr>
              <a:spLocks/>
            </p:cNvSpPr>
            <p:nvPr/>
          </p:nvSpPr>
          <p:spPr bwMode="gray">
            <a:xfrm>
              <a:off x="4298950" y="2693988"/>
              <a:ext cx="11112" cy="6350"/>
            </a:xfrm>
            <a:custGeom>
              <a:avLst/>
              <a:gdLst>
                <a:gd name="T0" fmla="*/ 5 w 20"/>
                <a:gd name="T1" fmla="*/ 13 h 13"/>
                <a:gd name="T2" fmla="*/ 18 w 20"/>
                <a:gd name="T3" fmla="*/ 10 h 13"/>
                <a:gd name="T4" fmla="*/ 20 w 20"/>
                <a:gd name="T5" fmla="*/ 10 h 13"/>
                <a:gd name="T6" fmla="*/ 19 w 20"/>
                <a:gd name="T7" fmla="*/ 1 h 13"/>
                <a:gd name="T8" fmla="*/ 5 w 20"/>
                <a:gd name="T9" fmla="*/ 1 h 13"/>
                <a:gd name="T10" fmla="*/ 0 w 20"/>
                <a:gd name="T11" fmla="*/ 2 h 13"/>
                <a:gd name="T12" fmla="*/ 5 w 20"/>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20" h="13">
                  <a:moveTo>
                    <a:pt x="5" y="13"/>
                  </a:moveTo>
                  <a:cubicBezTo>
                    <a:pt x="5" y="13"/>
                    <a:pt x="14" y="11"/>
                    <a:pt x="18" y="10"/>
                  </a:cubicBezTo>
                  <a:cubicBezTo>
                    <a:pt x="19" y="10"/>
                    <a:pt x="20" y="10"/>
                    <a:pt x="20" y="10"/>
                  </a:cubicBezTo>
                  <a:cubicBezTo>
                    <a:pt x="19" y="1"/>
                    <a:pt x="19" y="1"/>
                    <a:pt x="19" y="1"/>
                  </a:cubicBezTo>
                  <a:cubicBezTo>
                    <a:pt x="19" y="1"/>
                    <a:pt x="15" y="0"/>
                    <a:pt x="5" y="1"/>
                  </a:cubicBezTo>
                  <a:cubicBezTo>
                    <a:pt x="3" y="1"/>
                    <a:pt x="1" y="1"/>
                    <a:pt x="0" y="2"/>
                  </a:cubicBezTo>
                  <a:lnTo>
                    <a:pt x="5" y="13"/>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22" name="Freeform 83"/>
            <p:cNvSpPr>
              <a:spLocks/>
            </p:cNvSpPr>
            <p:nvPr/>
          </p:nvSpPr>
          <p:spPr bwMode="gray">
            <a:xfrm>
              <a:off x="6311900" y="2414588"/>
              <a:ext cx="787400" cy="312738"/>
            </a:xfrm>
            <a:custGeom>
              <a:avLst/>
              <a:gdLst>
                <a:gd name="T0" fmla="*/ 1353 w 1406"/>
                <a:gd name="T1" fmla="*/ 245 h 558"/>
                <a:gd name="T2" fmla="*/ 1312 w 1406"/>
                <a:gd name="T3" fmla="*/ 214 h 558"/>
                <a:gd name="T4" fmla="*/ 1247 w 1406"/>
                <a:gd name="T5" fmla="*/ 225 h 558"/>
                <a:gd name="T6" fmla="*/ 1182 w 1406"/>
                <a:gd name="T7" fmla="*/ 215 h 558"/>
                <a:gd name="T8" fmla="*/ 1179 w 1406"/>
                <a:gd name="T9" fmla="*/ 178 h 558"/>
                <a:gd name="T10" fmla="*/ 1162 w 1406"/>
                <a:gd name="T11" fmla="*/ 114 h 558"/>
                <a:gd name="T12" fmla="*/ 1091 w 1406"/>
                <a:gd name="T13" fmla="*/ 102 h 558"/>
                <a:gd name="T14" fmla="*/ 1025 w 1406"/>
                <a:gd name="T15" fmla="*/ 136 h 558"/>
                <a:gd name="T16" fmla="*/ 967 w 1406"/>
                <a:gd name="T17" fmla="*/ 143 h 558"/>
                <a:gd name="T18" fmla="*/ 922 w 1406"/>
                <a:gd name="T19" fmla="*/ 156 h 558"/>
                <a:gd name="T20" fmla="*/ 855 w 1406"/>
                <a:gd name="T21" fmla="*/ 148 h 558"/>
                <a:gd name="T22" fmla="*/ 812 w 1406"/>
                <a:gd name="T23" fmla="*/ 114 h 558"/>
                <a:gd name="T24" fmla="*/ 728 w 1406"/>
                <a:gd name="T25" fmla="*/ 97 h 558"/>
                <a:gd name="T26" fmla="*/ 607 w 1406"/>
                <a:gd name="T27" fmla="*/ 95 h 558"/>
                <a:gd name="T28" fmla="*/ 563 w 1406"/>
                <a:gd name="T29" fmla="*/ 83 h 558"/>
                <a:gd name="T30" fmla="*/ 472 w 1406"/>
                <a:gd name="T31" fmla="*/ 22 h 558"/>
                <a:gd name="T32" fmla="*/ 384 w 1406"/>
                <a:gd name="T33" fmla="*/ 0 h 558"/>
                <a:gd name="T34" fmla="*/ 373 w 1406"/>
                <a:gd name="T35" fmla="*/ 33 h 558"/>
                <a:gd name="T36" fmla="*/ 372 w 1406"/>
                <a:gd name="T37" fmla="*/ 60 h 558"/>
                <a:gd name="T38" fmla="*/ 391 w 1406"/>
                <a:gd name="T39" fmla="*/ 110 h 558"/>
                <a:gd name="T40" fmla="*/ 335 w 1406"/>
                <a:gd name="T41" fmla="*/ 119 h 558"/>
                <a:gd name="T42" fmla="*/ 301 w 1406"/>
                <a:gd name="T43" fmla="*/ 118 h 558"/>
                <a:gd name="T44" fmla="*/ 278 w 1406"/>
                <a:gd name="T45" fmla="*/ 107 h 558"/>
                <a:gd name="T46" fmla="*/ 182 w 1406"/>
                <a:gd name="T47" fmla="*/ 86 h 558"/>
                <a:gd name="T48" fmla="*/ 155 w 1406"/>
                <a:gd name="T49" fmla="*/ 70 h 558"/>
                <a:gd name="T50" fmla="*/ 119 w 1406"/>
                <a:gd name="T51" fmla="*/ 88 h 558"/>
                <a:gd name="T52" fmla="*/ 83 w 1406"/>
                <a:gd name="T53" fmla="*/ 100 h 558"/>
                <a:gd name="T54" fmla="*/ 47 w 1406"/>
                <a:gd name="T55" fmla="*/ 130 h 558"/>
                <a:gd name="T56" fmla="*/ 9 w 1406"/>
                <a:gd name="T57" fmla="*/ 151 h 558"/>
                <a:gd name="T58" fmla="*/ 18 w 1406"/>
                <a:gd name="T59" fmla="*/ 174 h 558"/>
                <a:gd name="T60" fmla="*/ 54 w 1406"/>
                <a:gd name="T61" fmla="*/ 203 h 558"/>
                <a:gd name="T62" fmla="*/ 107 w 1406"/>
                <a:gd name="T63" fmla="*/ 221 h 558"/>
                <a:gd name="T64" fmla="*/ 179 w 1406"/>
                <a:gd name="T65" fmla="*/ 276 h 558"/>
                <a:gd name="T66" fmla="*/ 192 w 1406"/>
                <a:gd name="T67" fmla="*/ 326 h 558"/>
                <a:gd name="T68" fmla="*/ 274 w 1406"/>
                <a:gd name="T69" fmla="*/ 374 h 558"/>
                <a:gd name="T70" fmla="*/ 361 w 1406"/>
                <a:gd name="T71" fmla="*/ 397 h 558"/>
                <a:gd name="T72" fmla="*/ 430 w 1406"/>
                <a:gd name="T73" fmla="*/ 429 h 558"/>
                <a:gd name="T74" fmla="*/ 502 w 1406"/>
                <a:gd name="T75" fmla="*/ 498 h 558"/>
                <a:gd name="T76" fmla="*/ 610 w 1406"/>
                <a:gd name="T77" fmla="*/ 499 h 558"/>
                <a:gd name="T78" fmla="*/ 679 w 1406"/>
                <a:gd name="T79" fmla="*/ 501 h 558"/>
                <a:gd name="T80" fmla="*/ 795 w 1406"/>
                <a:gd name="T81" fmla="*/ 531 h 558"/>
                <a:gd name="T82" fmla="*/ 873 w 1406"/>
                <a:gd name="T83" fmla="*/ 550 h 558"/>
                <a:gd name="T84" fmla="*/ 1066 w 1406"/>
                <a:gd name="T85" fmla="*/ 510 h 558"/>
                <a:gd name="T86" fmla="*/ 1112 w 1406"/>
                <a:gd name="T87" fmla="*/ 463 h 558"/>
                <a:gd name="T88" fmla="*/ 1108 w 1406"/>
                <a:gd name="T89" fmla="*/ 407 h 558"/>
                <a:gd name="T90" fmla="*/ 1160 w 1406"/>
                <a:gd name="T91" fmla="*/ 388 h 558"/>
                <a:gd name="T92" fmla="*/ 1213 w 1406"/>
                <a:gd name="T93" fmla="*/ 350 h 558"/>
                <a:gd name="T94" fmla="*/ 1270 w 1406"/>
                <a:gd name="T95" fmla="*/ 314 h 558"/>
                <a:gd name="T96" fmla="*/ 1320 w 1406"/>
                <a:gd name="T97" fmla="*/ 294 h 558"/>
                <a:gd name="T98" fmla="*/ 1355 w 1406"/>
                <a:gd name="T99" fmla="*/ 279 h 558"/>
                <a:gd name="T100" fmla="*/ 1394 w 1406"/>
                <a:gd name="T101" fmla="*/ 273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06" h="558">
                  <a:moveTo>
                    <a:pt x="1394" y="273"/>
                  </a:moveTo>
                  <a:cubicBezTo>
                    <a:pt x="1385" y="267"/>
                    <a:pt x="1380" y="256"/>
                    <a:pt x="1380" y="256"/>
                  </a:cubicBezTo>
                  <a:cubicBezTo>
                    <a:pt x="1380" y="256"/>
                    <a:pt x="1362" y="252"/>
                    <a:pt x="1353" y="245"/>
                  </a:cubicBezTo>
                  <a:cubicBezTo>
                    <a:pt x="1344" y="238"/>
                    <a:pt x="1336" y="231"/>
                    <a:pt x="1336" y="231"/>
                  </a:cubicBezTo>
                  <a:cubicBezTo>
                    <a:pt x="1336" y="231"/>
                    <a:pt x="1333" y="231"/>
                    <a:pt x="1324" y="230"/>
                  </a:cubicBezTo>
                  <a:cubicBezTo>
                    <a:pt x="1315" y="229"/>
                    <a:pt x="1312" y="214"/>
                    <a:pt x="1312" y="214"/>
                  </a:cubicBezTo>
                  <a:cubicBezTo>
                    <a:pt x="1271" y="214"/>
                    <a:pt x="1271" y="214"/>
                    <a:pt x="1271" y="214"/>
                  </a:cubicBezTo>
                  <a:cubicBezTo>
                    <a:pt x="1271" y="214"/>
                    <a:pt x="1270" y="232"/>
                    <a:pt x="1264" y="234"/>
                  </a:cubicBezTo>
                  <a:cubicBezTo>
                    <a:pt x="1258" y="236"/>
                    <a:pt x="1247" y="225"/>
                    <a:pt x="1247" y="225"/>
                  </a:cubicBezTo>
                  <a:cubicBezTo>
                    <a:pt x="1247" y="225"/>
                    <a:pt x="1237" y="221"/>
                    <a:pt x="1218" y="222"/>
                  </a:cubicBezTo>
                  <a:cubicBezTo>
                    <a:pt x="1199" y="223"/>
                    <a:pt x="1215" y="230"/>
                    <a:pt x="1206" y="233"/>
                  </a:cubicBezTo>
                  <a:cubicBezTo>
                    <a:pt x="1197" y="236"/>
                    <a:pt x="1185" y="225"/>
                    <a:pt x="1182" y="215"/>
                  </a:cubicBezTo>
                  <a:cubicBezTo>
                    <a:pt x="1179" y="205"/>
                    <a:pt x="1184" y="202"/>
                    <a:pt x="1184" y="202"/>
                  </a:cubicBezTo>
                  <a:cubicBezTo>
                    <a:pt x="1180" y="196"/>
                    <a:pt x="1180" y="196"/>
                    <a:pt x="1180" y="196"/>
                  </a:cubicBezTo>
                  <a:cubicBezTo>
                    <a:pt x="1179" y="178"/>
                    <a:pt x="1179" y="178"/>
                    <a:pt x="1179" y="178"/>
                  </a:cubicBezTo>
                  <a:cubicBezTo>
                    <a:pt x="1174" y="172"/>
                    <a:pt x="1174" y="172"/>
                    <a:pt x="1174" y="172"/>
                  </a:cubicBezTo>
                  <a:cubicBezTo>
                    <a:pt x="1173" y="117"/>
                    <a:pt x="1173" y="117"/>
                    <a:pt x="1173" y="117"/>
                  </a:cubicBezTo>
                  <a:cubicBezTo>
                    <a:pt x="1162" y="114"/>
                    <a:pt x="1162" y="114"/>
                    <a:pt x="1162" y="114"/>
                  </a:cubicBezTo>
                  <a:cubicBezTo>
                    <a:pt x="1144" y="111"/>
                    <a:pt x="1144" y="111"/>
                    <a:pt x="1144" y="111"/>
                  </a:cubicBezTo>
                  <a:cubicBezTo>
                    <a:pt x="1144" y="111"/>
                    <a:pt x="1138" y="118"/>
                    <a:pt x="1124" y="118"/>
                  </a:cubicBezTo>
                  <a:cubicBezTo>
                    <a:pt x="1110" y="118"/>
                    <a:pt x="1100" y="102"/>
                    <a:pt x="1091" y="102"/>
                  </a:cubicBezTo>
                  <a:cubicBezTo>
                    <a:pt x="1082" y="102"/>
                    <a:pt x="1055" y="98"/>
                    <a:pt x="1055" y="98"/>
                  </a:cubicBezTo>
                  <a:cubicBezTo>
                    <a:pt x="1032" y="121"/>
                    <a:pt x="1032" y="121"/>
                    <a:pt x="1032" y="121"/>
                  </a:cubicBezTo>
                  <a:cubicBezTo>
                    <a:pt x="1032" y="121"/>
                    <a:pt x="1035" y="132"/>
                    <a:pt x="1025" y="136"/>
                  </a:cubicBezTo>
                  <a:cubicBezTo>
                    <a:pt x="1015" y="140"/>
                    <a:pt x="1003" y="137"/>
                    <a:pt x="1003" y="137"/>
                  </a:cubicBezTo>
                  <a:cubicBezTo>
                    <a:pt x="993" y="142"/>
                    <a:pt x="993" y="142"/>
                    <a:pt x="993" y="142"/>
                  </a:cubicBezTo>
                  <a:cubicBezTo>
                    <a:pt x="993" y="142"/>
                    <a:pt x="976" y="141"/>
                    <a:pt x="967" y="143"/>
                  </a:cubicBezTo>
                  <a:cubicBezTo>
                    <a:pt x="958" y="145"/>
                    <a:pt x="960" y="150"/>
                    <a:pt x="955" y="156"/>
                  </a:cubicBezTo>
                  <a:cubicBezTo>
                    <a:pt x="950" y="162"/>
                    <a:pt x="942" y="153"/>
                    <a:pt x="938" y="151"/>
                  </a:cubicBezTo>
                  <a:cubicBezTo>
                    <a:pt x="934" y="149"/>
                    <a:pt x="922" y="156"/>
                    <a:pt x="922" y="156"/>
                  </a:cubicBezTo>
                  <a:cubicBezTo>
                    <a:pt x="922" y="156"/>
                    <a:pt x="898" y="156"/>
                    <a:pt x="895" y="153"/>
                  </a:cubicBezTo>
                  <a:cubicBezTo>
                    <a:pt x="892" y="150"/>
                    <a:pt x="885" y="147"/>
                    <a:pt x="885" y="147"/>
                  </a:cubicBezTo>
                  <a:cubicBezTo>
                    <a:pt x="885" y="147"/>
                    <a:pt x="875" y="150"/>
                    <a:pt x="855" y="148"/>
                  </a:cubicBezTo>
                  <a:cubicBezTo>
                    <a:pt x="835" y="146"/>
                    <a:pt x="840" y="135"/>
                    <a:pt x="840" y="135"/>
                  </a:cubicBezTo>
                  <a:cubicBezTo>
                    <a:pt x="840" y="135"/>
                    <a:pt x="829" y="132"/>
                    <a:pt x="826" y="133"/>
                  </a:cubicBezTo>
                  <a:cubicBezTo>
                    <a:pt x="823" y="134"/>
                    <a:pt x="815" y="115"/>
                    <a:pt x="812" y="114"/>
                  </a:cubicBezTo>
                  <a:cubicBezTo>
                    <a:pt x="809" y="113"/>
                    <a:pt x="790" y="113"/>
                    <a:pt x="778" y="113"/>
                  </a:cubicBezTo>
                  <a:cubicBezTo>
                    <a:pt x="766" y="113"/>
                    <a:pt x="755" y="94"/>
                    <a:pt x="755" y="94"/>
                  </a:cubicBezTo>
                  <a:cubicBezTo>
                    <a:pt x="728" y="97"/>
                    <a:pt x="728" y="97"/>
                    <a:pt x="728" y="97"/>
                  </a:cubicBezTo>
                  <a:cubicBezTo>
                    <a:pt x="728" y="97"/>
                    <a:pt x="726" y="89"/>
                    <a:pt x="697" y="87"/>
                  </a:cubicBezTo>
                  <a:cubicBezTo>
                    <a:pt x="668" y="85"/>
                    <a:pt x="650" y="103"/>
                    <a:pt x="637" y="104"/>
                  </a:cubicBezTo>
                  <a:cubicBezTo>
                    <a:pt x="624" y="105"/>
                    <a:pt x="607" y="95"/>
                    <a:pt x="607" y="95"/>
                  </a:cubicBezTo>
                  <a:cubicBezTo>
                    <a:pt x="607" y="95"/>
                    <a:pt x="600" y="96"/>
                    <a:pt x="590" y="96"/>
                  </a:cubicBezTo>
                  <a:cubicBezTo>
                    <a:pt x="580" y="96"/>
                    <a:pt x="578" y="80"/>
                    <a:pt x="578" y="80"/>
                  </a:cubicBezTo>
                  <a:cubicBezTo>
                    <a:pt x="563" y="83"/>
                    <a:pt x="563" y="83"/>
                    <a:pt x="563" y="83"/>
                  </a:cubicBezTo>
                  <a:cubicBezTo>
                    <a:pt x="563" y="83"/>
                    <a:pt x="541" y="49"/>
                    <a:pt x="532" y="38"/>
                  </a:cubicBezTo>
                  <a:cubicBezTo>
                    <a:pt x="523" y="27"/>
                    <a:pt x="511" y="40"/>
                    <a:pt x="501" y="38"/>
                  </a:cubicBezTo>
                  <a:cubicBezTo>
                    <a:pt x="491" y="36"/>
                    <a:pt x="472" y="22"/>
                    <a:pt x="472" y="22"/>
                  </a:cubicBezTo>
                  <a:cubicBezTo>
                    <a:pt x="472" y="22"/>
                    <a:pt x="452" y="23"/>
                    <a:pt x="434" y="21"/>
                  </a:cubicBezTo>
                  <a:cubicBezTo>
                    <a:pt x="416" y="19"/>
                    <a:pt x="393" y="2"/>
                    <a:pt x="393" y="2"/>
                  </a:cubicBezTo>
                  <a:cubicBezTo>
                    <a:pt x="384" y="0"/>
                    <a:pt x="384" y="0"/>
                    <a:pt x="384" y="0"/>
                  </a:cubicBezTo>
                  <a:cubicBezTo>
                    <a:pt x="384" y="0"/>
                    <a:pt x="385" y="12"/>
                    <a:pt x="380" y="18"/>
                  </a:cubicBezTo>
                  <a:cubicBezTo>
                    <a:pt x="375" y="24"/>
                    <a:pt x="371" y="22"/>
                    <a:pt x="371" y="22"/>
                  </a:cubicBezTo>
                  <a:cubicBezTo>
                    <a:pt x="373" y="33"/>
                    <a:pt x="373" y="33"/>
                    <a:pt x="373" y="33"/>
                  </a:cubicBezTo>
                  <a:cubicBezTo>
                    <a:pt x="373" y="33"/>
                    <a:pt x="362" y="31"/>
                    <a:pt x="362" y="37"/>
                  </a:cubicBezTo>
                  <a:cubicBezTo>
                    <a:pt x="362" y="43"/>
                    <a:pt x="368" y="46"/>
                    <a:pt x="368" y="46"/>
                  </a:cubicBezTo>
                  <a:cubicBezTo>
                    <a:pt x="372" y="60"/>
                    <a:pt x="372" y="60"/>
                    <a:pt x="372" y="60"/>
                  </a:cubicBezTo>
                  <a:cubicBezTo>
                    <a:pt x="388" y="84"/>
                    <a:pt x="388" y="84"/>
                    <a:pt x="388" y="84"/>
                  </a:cubicBezTo>
                  <a:cubicBezTo>
                    <a:pt x="388" y="84"/>
                    <a:pt x="403" y="84"/>
                    <a:pt x="403" y="102"/>
                  </a:cubicBezTo>
                  <a:cubicBezTo>
                    <a:pt x="403" y="120"/>
                    <a:pt x="391" y="110"/>
                    <a:pt x="391" y="110"/>
                  </a:cubicBezTo>
                  <a:cubicBezTo>
                    <a:pt x="391" y="110"/>
                    <a:pt x="393" y="117"/>
                    <a:pt x="376" y="125"/>
                  </a:cubicBezTo>
                  <a:cubicBezTo>
                    <a:pt x="359" y="133"/>
                    <a:pt x="365" y="117"/>
                    <a:pt x="365" y="117"/>
                  </a:cubicBezTo>
                  <a:cubicBezTo>
                    <a:pt x="335" y="119"/>
                    <a:pt x="335" y="119"/>
                    <a:pt x="335" y="119"/>
                  </a:cubicBezTo>
                  <a:cubicBezTo>
                    <a:pt x="334" y="111"/>
                    <a:pt x="334" y="111"/>
                    <a:pt x="334" y="111"/>
                  </a:cubicBezTo>
                  <a:cubicBezTo>
                    <a:pt x="334" y="111"/>
                    <a:pt x="325" y="110"/>
                    <a:pt x="314" y="111"/>
                  </a:cubicBezTo>
                  <a:cubicBezTo>
                    <a:pt x="303" y="112"/>
                    <a:pt x="301" y="118"/>
                    <a:pt x="301" y="118"/>
                  </a:cubicBezTo>
                  <a:cubicBezTo>
                    <a:pt x="299" y="113"/>
                    <a:pt x="299" y="113"/>
                    <a:pt x="299" y="113"/>
                  </a:cubicBezTo>
                  <a:cubicBezTo>
                    <a:pt x="280" y="116"/>
                    <a:pt x="280" y="116"/>
                    <a:pt x="280" y="116"/>
                  </a:cubicBezTo>
                  <a:cubicBezTo>
                    <a:pt x="278" y="107"/>
                    <a:pt x="278" y="107"/>
                    <a:pt x="278" y="107"/>
                  </a:cubicBezTo>
                  <a:cubicBezTo>
                    <a:pt x="278" y="107"/>
                    <a:pt x="256" y="109"/>
                    <a:pt x="247" y="102"/>
                  </a:cubicBezTo>
                  <a:cubicBezTo>
                    <a:pt x="238" y="95"/>
                    <a:pt x="240" y="82"/>
                    <a:pt x="233" y="82"/>
                  </a:cubicBezTo>
                  <a:cubicBezTo>
                    <a:pt x="226" y="82"/>
                    <a:pt x="182" y="86"/>
                    <a:pt x="182" y="86"/>
                  </a:cubicBezTo>
                  <a:cubicBezTo>
                    <a:pt x="177" y="75"/>
                    <a:pt x="177" y="75"/>
                    <a:pt x="177" y="75"/>
                  </a:cubicBezTo>
                  <a:cubicBezTo>
                    <a:pt x="177" y="75"/>
                    <a:pt x="161" y="75"/>
                    <a:pt x="158" y="75"/>
                  </a:cubicBezTo>
                  <a:cubicBezTo>
                    <a:pt x="155" y="75"/>
                    <a:pt x="155" y="70"/>
                    <a:pt x="155" y="70"/>
                  </a:cubicBezTo>
                  <a:cubicBezTo>
                    <a:pt x="143" y="77"/>
                    <a:pt x="143" y="77"/>
                    <a:pt x="143" y="77"/>
                  </a:cubicBezTo>
                  <a:cubicBezTo>
                    <a:pt x="143" y="77"/>
                    <a:pt x="134" y="71"/>
                    <a:pt x="127" y="71"/>
                  </a:cubicBezTo>
                  <a:cubicBezTo>
                    <a:pt x="120" y="71"/>
                    <a:pt x="119" y="88"/>
                    <a:pt x="119" y="88"/>
                  </a:cubicBezTo>
                  <a:cubicBezTo>
                    <a:pt x="103" y="88"/>
                    <a:pt x="103" y="88"/>
                    <a:pt x="103" y="88"/>
                  </a:cubicBezTo>
                  <a:cubicBezTo>
                    <a:pt x="92" y="101"/>
                    <a:pt x="92" y="101"/>
                    <a:pt x="92" y="101"/>
                  </a:cubicBezTo>
                  <a:cubicBezTo>
                    <a:pt x="83" y="100"/>
                    <a:pt x="83" y="100"/>
                    <a:pt x="83" y="100"/>
                  </a:cubicBezTo>
                  <a:cubicBezTo>
                    <a:pt x="83" y="100"/>
                    <a:pt x="72" y="108"/>
                    <a:pt x="63" y="118"/>
                  </a:cubicBezTo>
                  <a:cubicBezTo>
                    <a:pt x="54" y="128"/>
                    <a:pt x="63" y="130"/>
                    <a:pt x="63" y="130"/>
                  </a:cubicBezTo>
                  <a:cubicBezTo>
                    <a:pt x="47" y="130"/>
                    <a:pt x="47" y="130"/>
                    <a:pt x="47" y="130"/>
                  </a:cubicBezTo>
                  <a:cubicBezTo>
                    <a:pt x="49" y="139"/>
                    <a:pt x="49" y="139"/>
                    <a:pt x="49" y="139"/>
                  </a:cubicBezTo>
                  <a:cubicBezTo>
                    <a:pt x="8" y="139"/>
                    <a:pt x="8" y="139"/>
                    <a:pt x="8" y="139"/>
                  </a:cubicBezTo>
                  <a:cubicBezTo>
                    <a:pt x="9" y="151"/>
                    <a:pt x="9" y="151"/>
                    <a:pt x="9" y="151"/>
                  </a:cubicBezTo>
                  <a:cubicBezTo>
                    <a:pt x="2" y="158"/>
                    <a:pt x="2" y="158"/>
                    <a:pt x="2" y="158"/>
                  </a:cubicBezTo>
                  <a:cubicBezTo>
                    <a:pt x="10" y="162"/>
                    <a:pt x="0" y="174"/>
                    <a:pt x="0" y="174"/>
                  </a:cubicBezTo>
                  <a:cubicBezTo>
                    <a:pt x="18" y="174"/>
                    <a:pt x="18" y="174"/>
                    <a:pt x="18" y="174"/>
                  </a:cubicBezTo>
                  <a:cubicBezTo>
                    <a:pt x="18" y="174"/>
                    <a:pt x="14" y="182"/>
                    <a:pt x="19" y="187"/>
                  </a:cubicBezTo>
                  <a:cubicBezTo>
                    <a:pt x="24" y="192"/>
                    <a:pt x="48" y="195"/>
                    <a:pt x="48" y="195"/>
                  </a:cubicBezTo>
                  <a:cubicBezTo>
                    <a:pt x="54" y="203"/>
                    <a:pt x="54" y="203"/>
                    <a:pt x="54" y="203"/>
                  </a:cubicBezTo>
                  <a:cubicBezTo>
                    <a:pt x="71" y="219"/>
                    <a:pt x="71" y="219"/>
                    <a:pt x="71" y="219"/>
                  </a:cubicBezTo>
                  <a:cubicBezTo>
                    <a:pt x="92" y="213"/>
                    <a:pt x="92" y="213"/>
                    <a:pt x="92" y="213"/>
                  </a:cubicBezTo>
                  <a:cubicBezTo>
                    <a:pt x="107" y="221"/>
                    <a:pt x="107" y="221"/>
                    <a:pt x="107" y="221"/>
                  </a:cubicBezTo>
                  <a:cubicBezTo>
                    <a:pt x="107" y="221"/>
                    <a:pt x="113" y="223"/>
                    <a:pt x="127" y="227"/>
                  </a:cubicBezTo>
                  <a:cubicBezTo>
                    <a:pt x="141" y="231"/>
                    <a:pt x="148" y="245"/>
                    <a:pt x="153" y="252"/>
                  </a:cubicBezTo>
                  <a:cubicBezTo>
                    <a:pt x="158" y="259"/>
                    <a:pt x="167" y="268"/>
                    <a:pt x="179" y="276"/>
                  </a:cubicBezTo>
                  <a:cubicBezTo>
                    <a:pt x="191" y="284"/>
                    <a:pt x="188" y="300"/>
                    <a:pt x="188" y="300"/>
                  </a:cubicBezTo>
                  <a:cubicBezTo>
                    <a:pt x="188" y="300"/>
                    <a:pt x="198" y="308"/>
                    <a:pt x="200" y="315"/>
                  </a:cubicBezTo>
                  <a:cubicBezTo>
                    <a:pt x="202" y="322"/>
                    <a:pt x="192" y="326"/>
                    <a:pt x="192" y="326"/>
                  </a:cubicBezTo>
                  <a:cubicBezTo>
                    <a:pt x="192" y="326"/>
                    <a:pt x="193" y="336"/>
                    <a:pt x="198" y="349"/>
                  </a:cubicBezTo>
                  <a:cubicBezTo>
                    <a:pt x="203" y="362"/>
                    <a:pt x="224" y="364"/>
                    <a:pt x="235" y="368"/>
                  </a:cubicBezTo>
                  <a:cubicBezTo>
                    <a:pt x="246" y="372"/>
                    <a:pt x="260" y="375"/>
                    <a:pt x="274" y="374"/>
                  </a:cubicBezTo>
                  <a:cubicBezTo>
                    <a:pt x="288" y="373"/>
                    <a:pt x="322" y="375"/>
                    <a:pt x="322" y="375"/>
                  </a:cubicBezTo>
                  <a:cubicBezTo>
                    <a:pt x="322" y="375"/>
                    <a:pt x="333" y="380"/>
                    <a:pt x="342" y="382"/>
                  </a:cubicBezTo>
                  <a:cubicBezTo>
                    <a:pt x="351" y="384"/>
                    <a:pt x="358" y="396"/>
                    <a:pt x="361" y="397"/>
                  </a:cubicBezTo>
                  <a:cubicBezTo>
                    <a:pt x="364" y="398"/>
                    <a:pt x="401" y="410"/>
                    <a:pt x="401" y="410"/>
                  </a:cubicBezTo>
                  <a:cubicBezTo>
                    <a:pt x="423" y="413"/>
                    <a:pt x="423" y="413"/>
                    <a:pt x="423" y="413"/>
                  </a:cubicBezTo>
                  <a:cubicBezTo>
                    <a:pt x="430" y="429"/>
                    <a:pt x="430" y="429"/>
                    <a:pt x="430" y="429"/>
                  </a:cubicBezTo>
                  <a:cubicBezTo>
                    <a:pt x="430" y="429"/>
                    <a:pt x="439" y="434"/>
                    <a:pt x="443" y="438"/>
                  </a:cubicBezTo>
                  <a:cubicBezTo>
                    <a:pt x="447" y="442"/>
                    <a:pt x="461" y="461"/>
                    <a:pt x="465" y="467"/>
                  </a:cubicBezTo>
                  <a:cubicBezTo>
                    <a:pt x="469" y="473"/>
                    <a:pt x="502" y="498"/>
                    <a:pt x="502" y="498"/>
                  </a:cubicBezTo>
                  <a:cubicBezTo>
                    <a:pt x="540" y="494"/>
                    <a:pt x="540" y="494"/>
                    <a:pt x="540" y="494"/>
                  </a:cubicBezTo>
                  <a:cubicBezTo>
                    <a:pt x="579" y="499"/>
                    <a:pt x="579" y="499"/>
                    <a:pt x="579" y="499"/>
                  </a:cubicBezTo>
                  <a:cubicBezTo>
                    <a:pt x="610" y="499"/>
                    <a:pt x="610" y="499"/>
                    <a:pt x="610" y="499"/>
                  </a:cubicBezTo>
                  <a:cubicBezTo>
                    <a:pt x="635" y="504"/>
                    <a:pt x="635" y="504"/>
                    <a:pt x="635" y="504"/>
                  </a:cubicBezTo>
                  <a:cubicBezTo>
                    <a:pt x="635" y="504"/>
                    <a:pt x="649" y="493"/>
                    <a:pt x="654" y="493"/>
                  </a:cubicBezTo>
                  <a:cubicBezTo>
                    <a:pt x="659" y="493"/>
                    <a:pt x="679" y="501"/>
                    <a:pt x="679" y="501"/>
                  </a:cubicBezTo>
                  <a:cubicBezTo>
                    <a:pt x="679" y="501"/>
                    <a:pt x="718" y="501"/>
                    <a:pt x="728" y="504"/>
                  </a:cubicBezTo>
                  <a:cubicBezTo>
                    <a:pt x="738" y="507"/>
                    <a:pt x="740" y="522"/>
                    <a:pt x="755" y="527"/>
                  </a:cubicBezTo>
                  <a:cubicBezTo>
                    <a:pt x="770" y="532"/>
                    <a:pt x="781" y="530"/>
                    <a:pt x="795" y="531"/>
                  </a:cubicBezTo>
                  <a:cubicBezTo>
                    <a:pt x="809" y="532"/>
                    <a:pt x="837" y="547"/>
                    <a:pt x="837" y="547"/>
                  </a:cubicBezTo>
                  <a:cubicBezTo>
                    <a:pt x="837" y="547"/>
                    <a:pt x="858" y="538"/>
                    <a:pt x="864" y="538"/>
                  </a:cubicBezTo>
                  <a:cubicBezTo>
                    <a:pt x="870" y="538"/>
                    <a:pt x="873" y="550"/>
                    <a:pt x="873" y="550"/>
                  </a:cubicBezTo>
                  <a:cubicBezTo>
                    <a:pt x="873" y="550"/>
                    <a:pt x="893" y="558"/>
                    <a:pt x="899" y="553"/>
                  </a:cubicBezTo>
                  <a:cubicBezTo>
                    <a:pt x="905" y="548"/>
                    <a:pt x="948" y="519"/>
                    <a:pt x="962" y="513"/>
                  </a:cubicBezTo>
                  <a:cubicBezTo>
                    <a:pt x="976" y="507"/>
                    <a:pt x="1066" y="510"/>
                    <a:pt x="1066" y="510"/>
                  </a:cubicBezTo>
                  <a:cubicBezTo>
                    <a:pt x="1078" y="497"/>
                    <a:pt x="1078" y="497"/>
                    <a:pt x="1078" y="497"/>
                  </a:cubicBezTo>
                  <a:cubicBezTo>
                    <a:pt x="1078" y="497"/>
                    <a:pt x="1095" y="499"/>
                    <a:pt x="1103" y="492"/>
                  </a:cubicBezTo>
                  <a:cubicBezTo>
                    <a:pt x="1111" y="485"/>
                    <a:pt x="1109" y="470"/>
                    <a:pt x="1112" y="463"/>
                  </a:cubicBezTo>
                  <a:cubicBezTo>
                    <a:pt x="1115" y="456"/>
                    <a:pt x="1125" y="459"/>
                    <a:pt x="1129" y="459"/>
                  </a:cubicBezTo>
                  <a:cubicBezTo>
                    <a:pt x="1133" y="459"/>
                    <a:pt x="1143" y="444"/>
                    <a:pt x="1144" y="439"/>
                  </a:cubicBezTo>
                  <a:cubicBezTo>
                    <a:pt x="1145" y="434"/>
                    <a:pt x="1114" y="411"/>
                    <a:pt x="1108" y="407"/>
                  </a:cubicBezTo>
                  <a:cubicBezTo>
                    <a:pt x="1102" y="403"/>
                    <a:pt x="1100" y="383"/>
                    <a:pt x="1106" y="373"/>
                  </a:cubicBezTo>
                  <a:cubicBezTo>
                    <a:pt x="1112" y="363"/>
                    <a:pt x="1130" y="369"/>
                    <a:pt x="1134" y="370"/>
                  </a:cubicBezTo>
                  <a:cubicBezTo>
                    <a:pt x="1138" y="371"/>
                    <a:pt x="1160" y="388"/>
                    <a:pt x="1160" y="388"/>
                  </a:cubicBezTo>
                  <a:cubicBezTo>
                    <a:pt x="1160" y="388"/>
                    <a:pt x="1187" y="387"/>
                    <a:pt x="1194" y="385"/>
                  </a:cubicBezTo>
                  <a:cubicBezTo>
                    <a:pt x="1201" y="383"/>
                    <a:pt x="1212" y="369"/>
                    <a:pt x="1212" y="369"/>
                  </a:cubicBezTo>
                  <a:cubicBezTo>
                    <a:pt x="1212" y="369"/>
                    <a:pt x="1210" y="353"/>
                    <a:pt x="1213" y="350"/>
                  </a:cubicBezTo>
                  <a:cubicBezTo>
                    <a:pt x="1216" y="347"/>
                    <a:pt x="1262" y="350"/>
                    <a:pt x="1262" y="350"/>
                  </a:cubicBezTo>
                  <a:cubicBezTo>
                    <a:pt x="1278" y="336"/>
                    <a:pt x="1278" y="336"/>
                    <a:pt x="1278" y="336"/>
                  </a:cubicBezTo>
                  <a:cubicBezTo>
                    <a:pt x="1278" y="336"/>
                    <a:pt x="1263" y="325"/>
                    <a:pt x="1270" y="314"/>
                  </a:cubicBezTo>
                  <a:cubicBezTo>
                    <a:pt x="1277" y="303"/>
                    <a:pt x="1302" y="302"/>
                    <a:pt x="1302" y="302"/>
                  </a:cubicBezTo>
                  <a:cubicBezTo>
                    <a:pt x="1302" y="291"/>
                    <a:pt x="1302" y="291"/>
                    <a:pt x="1302" y="291"/>
                  </a:cubicBezTo>
                  <a:cubicBezTo>
                    <a:pt x="1320" y="294"/>
                    <a:pt x="1320" y="294"/>
                    <a:pt x="1320" y="294"/>
                  </a:cubicBezTo>
                  <a:cubicBezTo>
                    <a:pt x="1326" y="291"/>
                    <a:pt x="1326" y="291"/>
                    <a:pt x="1326" y="291"/>
                  </a:cubicBezTo>
                  <a:cubicBezTo>
                    <a:pt x="1335" y="282"/>
                    <a:pt x="1335" y="282"/>
                    <a:pt x="1335" y="282"/>
                  </a:cubicBezTo>
                  <a:cubicBezTo>
                    <a:pt x="1335" y="282"/>
                    <a:pt x="1346" y="279"/>
                    <a:pt x="1355" y="279"/>
                  </a:cubicBezTo>
                  <a:cubicBezTo>
                    <a:pt x="1364" y="279"/>
                    <a:pt x="1372" y="288"/>
                    <a:pt x="1372" y="288"/>
                  </a:cubicBezTo>
                  <a:cubicBezTo>
                    <a:pt x="1372" y="288"/>
                    <a:pt x="1390" y="287"/>
                    <a:pt x="1398" y="286"/>
                  </a:cubicBezTo>
                  <a:cubicBezTo>
                    <a:pt x="1406" y="285"/>
                    <a:pt x="1403" y="279"/>
                    <a:pt x="1394" y="273"/>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23" name="Freeform 84"/>
            <p:cNvSpPr>
              <a:spLocks/>
            </p:cNvSpPr>
            <p:nvPr/>
          </p:nvSpPr>
          <p:spPr bwMode="gray">
            <a:xfrm>
              <a:off x="5227638" y="2665413"/>
              <a:ext cx="173037" cy="80963"/>
            </a:xfrm>
            <a:custGeom>
              <a:avLst/>
              <a:gdLst>
                <a:gd name="T0" fmla="*/ 4 w 308"/>
                <a:gd name="T1" fmla="*/ 12 h 144"/>
                <a:gd name="T2" fmla="*/ 52 w 308"/>
                <a:gd name="T3" fmla="*/ 37 h 144"/>
                <a:gd name="T4" fmla="*/ 75 w 308"/>
                <a:gd name="T5" fmla="*/ 54 h 144"/>
                <a:gd name="T6" fmla="*/ 79 w 308"/>
                <a:gd name="T7" fmla="*/ 85 h 144"/>
                <a:gd name="T8" fmla="*/ 92 w 308"/>
                <a:gd name="T9" fmla="*/ 103 h 144"/>
                <a:gd name="T10" fmla="*/ 85 w 308"/>
                <a:gd name="T11" fmla="*/ 110 h 144"/>
                <a:gd name="T12" fmla="*/ 111 w 308"/>
                <a:gd name="T13" fmla="*/ 115 h 144"/>
                <a:gd name="T14" fmla="*/ 131 w 308"/>
                <a:gd name="T15" fmla="*/ 108 h 144"/>
                <a:gd name="T16" fmla="*/ 147 w 308"/>
                <a:gd name="T17" fmla="*/ 126 h 144"/>
                <a:gd name="T18" fmla="*/ 164 w 308"/>
                <a:gd name="T19" fmla="*/ 126 h 144"/>
                <a:gd name="T20" fmla="*/ 166 w 308"/>
                <a:gd name="T21" fmla="*/ 134 h 144"/>
                <a:gd name="T22" fmla="*/ 183 w 308"/>
                <a:gd name="T23" fmla="*/ 133 h 144"/>
                <a:gd name="T24" fmla="*/ 188 w 308"/>
                <a:gd name="T25" fmla="*/ 126 h 144"/>
                <a:gd name="T26" fmla="*/ 221 w 308"/>
                <a:gd name="T27" fmla="*/ 130 h 144"/>
                <a:gd name="T28" fmla="*/ 227 w 308"/>
                <a:gd name="T29" fmla="*/ 120 h 144"/>
                <a:gd name="T30" fmla="*/ 235 w 308"/>
                <a:gd name="T31" fmla="*/ 123 h 144"/>
                <a:gd name="T32" fmla="*/ 235 w 308"/>
                <a:gd name="T33" fmla="*/ 123 h 144"/>
                <a:gd name="T34" fmla="*/ 250 w 308"/>
                <a:gd name="T35" fmla="*/ 112 h 144"/>
                <a:gd name="T36" fmla="*/ 261 w 308"/>
                <a:gd name="T37" fmla="*/ 120 h 144"/>
                <a:gd name="T38" fmla="*/ 275 w 308"/>
                <a:gd name="T39" fmla="*/ 130 h 144"/>
                <a:gd name="T40" fmla="*/ 289 w 308"/>
                <a:gd name="T41" fmla="*/ 127 h 144"/>
                <a:gd name="T42" fmla="*/ 306 w 308"/>
                <a:gd name="T43" fmla="*/ 134 h 144"/>
                <a:gd name="T44" fmla="*/ 287 w 308"/>
                <a:gd name="T45" fmla="*/ 113 h 144"/>
                <a:gd name="T46" fmla="*/ 278 w 308"/>
                <a:gd name="T47" fmla="*/ 97 h 144"/>
                <a:gd name="T48" fmla="*/ 286 w 308"/>
                <a:gd name="T49" fmla="*/ 93 h 144"/>
                <a:gd name="T50" fmla="*/ 251 w 308"/>
                <a:gd name="T51" fmla="*/ 75 h 144"/>
                <a:gd name="T52" fmla="*/ 256 w 308"/>
                <a:gd name="T53" fmla="*/ 58 h 144"/>
                <a:gd name="T54" fmla="*/ 236 w 308"/>
                <a:gd name="T55" fmla="*/ 55 h 144"/>
                <a:gd name="T56" fmla="*/ 208 w 308"/>
                <a:gd name="T57" fmla="*/ 42 h 144"/>
                <a:gd name="T58" fmla="*/ 179 w 308"/>
                <a:gd name="T59" fmla="*/ 53 h 144"/>
                <a:gd name="T60" fmla="*/ 160 w 308"/>
                <a:gd name="T61" fmla="*/ 42 h 144"/>
                <a:gd name="T62" fmla="*/ 128 w 308"/>
                <a:gd name="T63" fmla="*/ 22 h 144"/>
                <a:gd name="T64" fmla="*/ 95 w 308"/>
                <a:gd name="T65" fmla="*/ 18 h 144"/>
                <a:gd name="T66" fmla="*/ 54 w 308"/>
                <a:gd name="T67" fmla="*/ 10 h 144"/>
                <a:gd name="T68" fmla="*/ 13 w 308"/>
                <a:gd name="T69" fmla="*/ 0 h 144"/>
                <a:gd name="T70" fmla="*/ 0 w 308"/>
                <a:gd name="T71" fmla="*/ 11 h 144"/>
                <a:gd name="T72" fmla="*/ 4 w 308"/>
                <a:gd name="T73" fmla="*/ 1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08" h="144">
                  <a:moveTo>
                    <a:pt x="4" y="12"/>
                  </a:moveTo>
                  <a:cubicBezTo>
                    <a:pt x="4" y="12"/>
                    <a:pt x="44" y="34"/>
                    <a:pt x="52" y="37"/>
                  </a:cubicBezTo>
                  <a:cubicBezTo>
                    <a:pt x="60" y="40"/>
                    <a:pt x="75" y="54"/>
                    <a:pt x="75" y="54"/>
                  </a:cubicBezTo>
                  <a:cubicBezTo>
                    <a:pt x="75" y="54"/>
                    <a:pt x="79" y="82"/>
                    <a:pt x="79" y="85"/>
                  </a:cubicBezTo>
                  <a:cubicBezTo>
                    <a:pt x="79" y="88"/>
                    <a:pt x="92" y="103"/>
                    <a:pt x="92" y="103"/>
                  </a:cubicBezTo>
                  <a:cubicBezTo>
                    <a:pt x="92" y="103"/>
                    <a:pt x="90" y="105"/>
                    <a:pt x="85" y="110"/>
                  </a:cubicBezTo>
                  <a:cubicBezTo>
                    <a:pt x="111" y="115"/>
                    <a:pt x="111" y="115"/>
                    <a:pt x="111" y="115"/>
                  </a:cubicBezTo>
                  <a:cubicBezTo>
                    <a:pt x="111" y="115"/>
                    <a:pt x="117" y="105"/>
                    <a:pt x="131" y="108"/>
                  </a:cubicBezTo>
                  <a:cubicBezTo>
                    <a:pt x="145" y="111"/>
                    <a:pt x="147" y="126"/>
                    <a:pt x="147" y="126"/>
                  </a:cubicBezTo>
                  <a:cubicBezTo>
                    <a:pt x="164" y="126"/>
                    <a:pt x="164" y="126"/>
                    <a:pt x="164" y="126"/>
                  </a:cubicBezTo>
                  <a:cubicBezTo>
                    <a:pt x="164" y="126"/>
                    <a:pt x="165" y="129"/>
                    <a:pt x="166" y="134"/>
                  </a:cubicBezTo>
                  <a:cubicBezTo>
                    <a:pt x="183" y="133"/>
                    <a:pt x="183" y="133"/>
                    <a:pt x="183" y="133"/>
                  </a:cubicBezTo>
                  <a:cubicBezTo>
                    <a:pt x="188" y="126"/>
                    <a:pt x="188" y="126"/>
                    <a:pt x="188" y="126"/>
                  </a:cubicBezTo>
                  <a:cubicBezTo>
                    <a:pt x="221" y="130"/>
                    <a:pt x="221" y="130"/>
                    <a:pt x="221" y="130"/>
                  </a:cubicBezTo>
                  <a:cubicBezTo>
                    <a:pt x="221" y="130"/>
                    <a:pt x="224" y="120"/>
                    <a:pt x="227" y="120"/>
                  </a:cubicBezTo>
                  <a:cubicBezTo>
                    <a:pt x="228" y="120"/>
                    <a:pt x="232" y="121"/>
                    <a:pt x="235" y="123"/>
                  </a:cubicBezTo>
                  <a:cubicBezTo>
                    <a:pt x="235" y="123"/>
                    <a:pt x="235" y="123"/>
                    <a:pt x="235" y="123"/>
                  </a:cubicBezTo>
                  <a:cubicBezTo>
                    <a:pt x="236" y="119"/>
                    <a:pt x="240" y="111"/>
                    <a:pt x="250" y="112"/>
                  </a:cubicBezTo>
                  <a:cubicBezTo>
                    <a:pt x="263" y="113"/>
                    <a:pt x="261" y="120"/>
                    <a:pt x="261" y="120"/>
                  </a:cubicBezTo>
                  <a:cubicBezTo>
                    <a:pt x="275" y="130"/>
                    <a:pt x="275" y="130"/>
                    <a:pt x="275" y="130"/>
                  </a:cubicBezTo>
                  <a:cubicBezTo>
                    <a:pt x="275" y="130"/>
                    <a:pt x="286" y="127"/>
                    <a:pt x="289" y="127"/>
                  </a:cubicBezTo>
                  <a:cubicBezTo>
                    <a:pt x="292" y="127"/>
                    <a:pt x="304" y="144"/>
                    <a:pt x="306" y="134"/>
                  </a:cubicBezTo>
                  <a:cubicBezTo>
                    <a:pt x="308" y="124"/>
                    <a:pt x="287" y="113"/>
                    <a:pt x="287" y="113"/>
                  </a:cubicBezTo>
                  <a:cubicBezTo>
                    <a:pt x="287" y="113"/>
                    <a:pt x="272" y="102"/>
                    <a:pt x="278" y="97"/>
                  </a:cubicBezTo>
                  <a:cubicBezTo>
                    <a:pt x="280" y="95"/>
                    <a:pt x="283" y="94"/>
                    <a:pt x="286" y="93"/>
                  </a:cubicBezTo>
                  <a:cubicBezTo>
                    <a:pt x="279" y="86"/>
                    <a:pt x="268" y="76"/>
                    <a:pt x="251" y="75"/>
                  </a:cubicBezTo>
                  <a:cubicBezTo>
                    <a:pt x="251" y="76"/>
                    <a:pt x="256" y="58"/>
                    <a:pt x="256" y="58"/>
                  </a:cubicBezTo>
                  <a:cubicBezTo>
                    <a:pt x="236" y="55"/>
                    <a:pt x="236" y="55"/>
                    <a:pt x="236" y="55"/>
                  </a:cubicBezTo>
                  <a:cubicBezTo>
                    <a:pt x="236" y="55"/>
                    <a:pt x="226" y="40"/>
                    <a:pt x="208" y="42"/>
                  </a:cubicBezTo>
                  <a:cubicBezTo>
                    <a:pt x="190" y="44"/>
                    <a:pt x="198" y="53"/>
                    <a:pt x="179" y="53"/>
                  </a:cubicBezTo>
                  <a:cubicBezTo>
                    <a:pt x="160" y="53"/>
                    <a:pt x="160" y="42"/>
                    <a:pt x="160" y="42"/>
                  </a:cubicBezTo>
                  <a:cubicBezTo>
                    <a:pt x="128" y="22"/>
                    <a:pt x="128" y="22"/>
                    <a:pt x="128" y="22"/>
                  </a:cubicBezTo>
                  <a:cubicBezTo>
                    <a:pt x="128" y="22"/>
                    <a:pt x="108" y="17"/>
                    <a:pt x="95" y="18"/>
                  </a:cubicBezTo>
                  <a:cubicBezTo>
                    <a:pt x="82" y="19"/>
                    <a:pt x="70" y="17"/>
                    <a:pt x="54" y="10"/>
                  </a:cubicBezTo>
                  <a:cubicBezTo>
                    <a:pt x="38" y="3"/>
                    <a:pt x="13" y="0"/>
                    <a:pt x="13" y="0"/>
                  </a:cubicBezTo>
                  <a:cubicBezTo>
                    <a:pt x="0" y="11"/>
                    <a:pt x="0" y="11"/>
                    <a:pt x="0" y="11"/>
                  </a:cubicBezTo>
                  <a:cubicBezTo>
                    <a:pt x="3" y="12"/>
                    <a:pt x="4" y="12"/>
                    <a:pt x="4" y="12"/>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24" name="Freeform 85"/>
            <p:cNvSpPr>
              <a:spLocks noEditPoints="1"/>
            </p:cNvSpPr>
            <p:nvPr/>
          </p:nvSpPr>
          <p:spPr bwMode="gray">
            <a:xfrm>
              <a:off x="5359400" y="2716213"/>
              <a:ext cx="134937" cy="107950"/>
            </a:xfrm>
            <a:custGeom>
              <a:avLst/>
              <a:gdLst>
                <a:gd name="T0" fmla="*/ 42 w 240"/>
                <a:gd name="T1" fmla="*/ 125 h 194"/>
                <a:gd name="T2" fmla="*/ 31 w 240"/>
                <a:gd name="T3" fmla="*/ 127 h 194"/>
                <a:gd name="T4" fmla="*/ 14 w 240"/>
                <a:gd name="T5" fmla="*/ 116 h 194"/>
                <a:gd name="T6" fmla="*/ 4 w 240"/>
                <a:gd name="T7" fmla="*/ 119 h 194"/>
                <a:gd name="T8" fmla="*/ 14 w 240"/>
                <a:gd name="T9" fmla="*/ 141 h 194"/>
                <a:gd name="T10" fmla="*/ 56 w 240"/>
                <a:gd name="T11" fmla="*/ 163 h 194"/>
                <a:gd name="T12" fmla="*/ 59 w 240"/>
                <a:gd name="T13" fmla="*/ 163 h 194"/>
                <a:gd name="T14" fmla="*/ 50 w 240"/>
                <a:gd name="T15" fmla="*/ 141 h 194"/>
                <a:gd name="T16" fmla="*/ 42 w 240"/>
                <a:gd name="T17" fmla="*/ 125 h 194"/>
                <a:gd name="T18" fmla="*/ 235 w 240"/>
                <a:gd name="T19" fmla="*/ 75 h 194"/>
                <a:gd name="T20" fmla="*/ 205 w 240"/>
                <a:gd name="T21" fmla="*/ 74 h 194"/>
                <a:gd name="T22" fmla="*/ 193 w 240"/>
                <a:gd name="T23" fmla="*/ 56 h 194"/>
                <a:gd name="T24" fmla="*/ 176 w 240"/>
                <a:gd name="T25" fmla="*/ 38 h 194"/>
                <a:gd name="T26" fmla="*/ 177 w 240"/>
                <a:gd name="T27" fmla="*/ 29 h 194"/>
                <a:gd name="T28" fmla="*/ 145 w 240"/>
                <a:gd name="T29" fmla="*/ 2 h 194"/>
                <a:gd name="T30" fmla="*/ 143 w 240"/>
                <a:gd name="T31" fmla="*/ 20 h 194"/>
                <a:gd name="T32" fmla="*/ 126 w 240"/>
                <a:gd name="T33" fmla="*/ 24 h 194"/>
                <a:gd name="T34" fmla="*/ 116 w 240"/>
                <a:gd name="T35" fmla="*/ 38 h 194"/>
                <a:gd name="T36" fmla="*/ 78 w 240"/>
                <a:gd name="T37" fmla="*/ 9 h 194"/>
                <a:gd name="T38" fmla="*/ 43 w 240"/>
                <a:gd name="T39" fmla="*/ 7 h 194"/>
                <a:gd name="T40" fmla="*/ 52 w 240"/>
                <a:gd name="T41" fmla="*/ 23 h 194"/>
                <a:gd name="T42" fmla="*/ 71 w 240"/>
                <a:gd name="T43" fmla="*/ 44 h 194"/>
                <a:gd name="T44" fmla="*/ 54 w 240"/>
                <a:gd name="T45" fmla="*/ 37 h 194"/>
                <a:gd name="T46" fmla="*/ 40 w 240"/>
                <a:gd name="T47" fmla="*/ 40 h 194"/>
                <a:gd name="T48" fmla="*/ 26 w 240"/>
                <a:gd name="T49" fmla="*/ 30 h 194"/>
                <a:gd name="T50" fmla="*/ 15 w 240"/>
                <a:gd name="T51" fmla="*/ 22 h 194"/>
                <a:gd name="T52" fmla="*/ 0 w 240"/>
                <a:gd name="T53" fmla="*/ 33 h 194"/>
                <a:gd name="T54" fmla="*/ 7 w 240"/>
                <a:gd name="T55" fmla="*/ 37 h 194"/>
                <a:gd name="T56" fmla="*/ 6 w 240"/>
                <a:gd name="T57" fmla="*/ 46 h 194"/>
                <a:gd name="T58" fmla="*/ 25 w 240"/>
                <a:gd name="T59" fmla="*/ 54 h 194"/>
                <a:gd name="T60" fmla="*/ 19 w 240"/>
                <a:gd name="T61" fmla="*/ 69 h 194"/>
                <a:gd name="T62" fmla="*/ 49 w 240"/>
                <a:gd name="T63" fmla="*/ 91 h 194"/>
                <a:gd name="T64" fmla="*/ 28 w 240"/>
                <a:gd name="T65" fmla="*/ 100 h 194"/>
                <a:gd name="T66" fmla="*/ 46 w 240"/>
                <a:gd name="T67" fmla="*/ 108 h 194"/>
                <a:gd name="T68" fmla="*/ 56 w 240"/>
                <a:gd name="T69" fmla="*/ 122 h 194"/>
                <a:gd name="T70" fmla="*/ 76 w 240"/>
                <a:gd name="T71" fmla="*/ 124 h 194"/>
                <a:gd name="T72" fmla="*/ 74 w 240"/>
                <a:gd name="T73" fmla="*/ 134 h 194"/>
                <a:gd name="T74" fmla="*/ 78 w 240"/>
                <a:gd name="T75" fmla="*/ 141 h 194"/>
                <a:gd name="T76" fmla="*/ 81 w 240"/>
                <a:gd name="T77" fmla="*/ 162 h 194"/>
                <a:gd name="T78" fmla="*/ 83 w 240"/>
                <a:gd name="T79" fmla="*/ 162 h 194"/>
                <a:gd name="T80" fmla="*/ 97 w 240"/>
                <a:gd name="T81" fmla="*/ 146 h 194"/>
                <a:gd name="T82" fmla="*/ 142 w 240"/>
                <a:gd name="T83" fmla="*/ 115 h 194"/>
                <a:gd name="T84" fmla="*/ 157 w 240"/>
                <a:gd name="T85" fmla="*/ 133 h 194"/>
                <a:gd name="T86" fmla="*/ 150 w 240"/>
                <a:gd name="T87" fmla="*/ 144 h 194"/>
                <a:gd name="T88" fmla="*/ 159 w 240"/>
                <a:gd name="T89" fmla="*/ 157 h 194"/>
                <a:gd name="T90" fmla="*/ 149 w 240"/>
                <a:gd name="T91" fmla="*/ 164 h 194"/>
                <a:gd name="T92" fmla="*/ 168 w 240"/>
                <a:gd name="T93" fmla="*/ 180 h 194"/>
                <a:gd name="T94" fmla="*/ 177 w 240"/>
                <a:gd name="T95" fmla="*/ 189 h 194"/>
                <a:gd name="T96" fmla="*/ 187 w 240"/>
                <a:gd name="T97" fmla="*/ 191 h 194"/>
                <a:gd name="T98" fmla="*/ 188 w 240"/>
                <a:gd name="T99" fmla="*/ 194 h 194"/>
                <a:gd name="T100" fmla="*/ 191 w 240"/>
                <a:gd name="T101" fmla="*/ 174 h 194"/>
                <a:gd name="T102" fmla="*/ 179 w 240"/>
                <a:gd name="T103" fmla="*/ 165 h 194"/>
                <a:gd name="T104" fmla="*/ 190 w 240"/>
                <a:gd name="T105" fmla="*/ 161 h 194"/>
                <a:gd name="T106" fmla="*/ 190 w 240"/>
                <a:gd name="T107" fmla="*/ 142 h 194"/>
                <a:gd name="T108" fmla="*/ 208 w 240"/>
                <a:gd name="T109" fmla="*/ 147 h 194"/>
                <a:gd name="T110" fmla="*/ 198 w 240"/>
                <a:gd name="T111" fmla="*/ 129 h 194"/>
                <a:gd name="T112" fmla="*/ 201 w 240"/>
                <a:gd name="T113" fmla="*/ 116 h 194"/>
                <a:gd name="T114" fmla="*/ 200 w 240"/>
                <a:gd name="T115" fmla="*/ 93 h 194"/>
                <a:gd name="T116" fmla="*/ 210 w 240"/>
                <a:gd name="T117" fmla="*/ 95 h 194"/>
                <a:gd name="T118" fmla="*/ 218 w 240"/>
                <a:gd name="T119" fmla="*/ 86 h 194"/>
                <a:gd name="T120" fmla="*/ 240 w 240"/>
                <a:gd name="T121" fmla="*/ 88 h 194"/>
                <a:gd name="T122" fmla="*/ 235 w 240"/>
                <a:gd name="T123" fmla="*/ 7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0" h="194">
                  <a:moveTo>
                    <a:pt x="42" y="125"/>
                  </a:moveTo>
                  <a:cubicBezTo>
                    <a:pt x="33" y="124"/>
                    <a:pt x="31" y="127"/>
                    <a:pt x="31" y="127"/>
                  </a:cubicBezTo>
                  <a:cubicBezTo>
                    <a:pt x="31" y="127"/>
                    <a:pt x="21" y="126"/>
                    <a:pt x="14" y="116"/>
                  </a:cubicBezTo>
                  <a:cubicBezTo>
                    <a:pt x="13" y="116"/>
                    <a:pt x="6" y="118"/>
                    <a:pt x="4" y="119"/>
                  </a:cubicBezTo>
                  <a:cubicBezTo>
                    <a:pt x="6" y="125"/>
                    <a:pt x="7" y="135"/>
                    <a:pt x="14" y="141"/>
                  </a:cubicBezTo>
                  <a:cubicBezTo>
                    <a:pt x="24" y="149"/>
                    <a:pt x="41" y="163"/>
                    <a:pt x="56" y="163"/>
                  </a:cubicBezTo>
                  <a:cubicBezTo>
                    <a:pt x="57" y="163"/>
                    <a:pt x="58" y="163"/>
                    <a:pt x="59" y="163"/>
                  </a:cubicBezTo>
                  <a:cubicBezTo>
                    <a:pt x="57" y="156"/>
                    <a:pt x="52" y="144"/>
                    <a:pt x="50" y="141"/>
                  </a:cubicBezTo>
                  <a:cubicBezTo>
                    <a:pt x="47" y="137"/>
                    <a:pt x="51" y="126"/>
                    <a:pt x="42" y="125"/>
                  </a:cubicBezTo>
                  <a:close/>
                  <a:moveTo>
                    <a:pt x="235" y="75"/>
                  </a:moveTo>
                  <a:cubicBezTo>
                    <a:pt x="231" y="67"/>
                    <a:pt x="215" y="74"/>
                    <a:pt x="205" y="74"/>
                  </a:cubicBezTo>
                  <a:cubicBezTo>
                    <a:pt x="195" y="74"/>
                    <a:pt x="193" y="56"/>
                    <a:pt x="193" y="56"/>
                  </a:cubicBezTo>
                  <a:cubicBezTo>
                    <a:pt x="176" y="38"/>
                    <a:pt x="176" y="38"/>
                    <a:pt x="176" y="38"/>
                  </a:cubicBezTo>
                  <a:cubicBezTo>
                    <a:pt x="177" y="29"/>
                    <a:pt x="177" y="29"/>
                    <a:pt x="177" y="29"/>
                  </a:cubicBezTo>
                  <a:cubicBezTo>
                    <a:pt x="145" y="2"/>
                    <a:pt x="145" y="2"/>
                    <a:pt x="145" y="2"/>
                  </a:cubicBezTo>
                  <a:cubicBezTo>
                    <a:pt x="145" y="2"/>
                    <a:pt x="144" y="13"/>
                    <a:pt x="143" y="20"/>
                  </a:cubicBezTo>
                  <a:cubicBezTo>
                    <a:pt x="142" y="27"/>
                    <a:pt x="126" y="24"/>
                    <a:pt x="126" y="24"/>
                  </a:cubicBezTo>
                  <a:cubicBezTo>
                    <a:pt x="126" y="24"/>
                    <a:pt x="132" y="36"/>
                    <a:pt x="116" y="38"/>
                  </a:cubicBezTo>
                  <a:cubicBezTo>
                    <a:pt x="100" y="40"/>
                    <a:pt x="91" y="18"/>
                    <a:pt x="78" y="9"/>
                  </a:cubicBezTo>
                  <a:cubicBezTo>
                    <a:pt x="65" y="0"/>
                    <a:pt x="49" y="2"/>
                    <a:pt x="43" y="7"/>
                  </a:cubicBezTo>
                  <a:cubicBezTo>
                    <a:pt x="37" y="12"/>
                    <a:pt x="52" y="23"/>
                    <a:pt x="52" y="23"/>
                  </a:cubicBezTo>
                  <a:cubicBezTo>
                    <a:pt x="52" y="23"/>
                    <a:pt x="73" y="34"/>
                    <a:pt x="71" y="44"/>
                  </a:cubicBezTo>
                  <a:cubicBezTo>
                    <a:pt x="69" y="54"/>
                    <a:pt x="57" y="37"/>
                    <a:pt x="54" y="37"/>
                  </a:cubicBezTo>
                  <a:cubicBezTo>
                    <a:pt x="51" y="37"/>
                    <a:pt x="40" y="40"/>
                    <a:pt x="40" y="40"/>
                  </a:cubicBezTo>
                  <a:cubicBezTo>
                    <a:pt x="26" y="30"/>
                    <a:pt x="26" y="30"/>
                    <a:pt x="26" y="30"/>
                  </a:cubicBezTo>
                  <a:cubicBezTo>
                    <a:pt x="26" y="30"/>
                    <a:pt x="28" y="23"/>
                    <a:pt x="15" y="22"/>
                  </a:cubicBezTo>
                  <a:cubicBezTo>
                    <a:pt x="5" y="21"/>
                    <a:pt x="1" y="29"/>
                    <a:pt x="0" y="33"/>
                  </a:cubicBezTo>
                  <a:cubicBezTo>
                    <a:pt x="3" y="35"/>
                    <a:pt x="7" y="37"/>
                    <a:pt x="7" y="37"/>
                  </a:cubicBezTo>
                  <a:cubicBezTo>
                    <a:pt x="6" y="46"/>
                    <a:pt x="6" y="46"/>
                    <a:pt x="6" y="46"/>
                  </a:cubicBezTo>
                  <a:cubicBezTo>
                    <a:pt x="6" y="46"/>
                    <a:pt x="25" y="47"/>
                    <a:pt x="25" y="54"/>
                  </a:cubicBezTo>
                  <a:cubicBezTo>
                    <a:pt x="25" y="61"/>
                    <a:pt x="19" y="69"/>
                    <a:pt x="19" y="69"/>
                  </a:cubicBezTo>
                  <a:cubicBezTo>
                    <a:pt x="19" y="69"/>
                    <a:pt x="50" y="82"/>
                    <a:pt x="49" y="91"/>
                  </a:cubicBezTo>
                  <a:cubicBezTo>
                    <a:pt x="48" y="100"/>
                    <a:pt x="28" y="100"/>
                    <a:pt x="28" y="100"/>
                  </a:cubicBezTo>
                  <a:cubicBezTo>
                    <a:pt x="46" y="108"/>
                    <a:pt x="46" y="108"/>
                    <a:pt x="46" y="108"/>
                  </a:cubicBezTo>
                  <a:cubicBezTo>
                    <a:pt x="56" y="122"/>
                    <a:pt x="56" y="122"/>
                    <a:pt x="56" y="122"/>
                  </a:cubicBezTo>
                  <a:cubicBezTo>
                    <a:pt x="76" y="124"/>
                    <a:pt x="76" y="124"/>
                    <a:pt x="76" y="124"/>
                  </a:cubicBezTo>
                  <a:cubicBezTo>
                    <a:pt x="74" y="134"/>
                    <a:pt x="74" y="134"/>
                    <a:pt x="74" y="134"/>
                  </a:cubicBezTo>
                  <a:cubicBezTo>
                    <a:pt x="78" y="141"/>
                    <a:pt x="78" y="141"/>
                    <a:pt x="78" y="141"/>
                  </a:cubicBezTo>
                  <a:cubicBezTo>
                    <a:pt x="78" y="141"/>
                    <a:pt x="80" y="154"/>
                    <a:pt x="81" y="162"/>
                  </a:cubicBezTo>
                  <a:cubicBezTo>
                    <a:pt x="82" y="162"/>
                    <a:pt x="82" y="162"/>
                    <a:pt x="83" y="162"/>
                  </a:cubicBezTo>
                  <a:cubicBezTo>
                    <a:pt x="86" y="161"/>
                    <a:pt x="94" y="150"/>
                    <a:pt x="97" y="146"/>
                  </a:cubicBezTo>
                  <a:cubicBezTo>
                    <a:pt x="100" y="142"/>
                    <a:pt x="136" y="115"/>
                    <a:pt x="142" y="115"/>
                  </a:cubicBezTo>
                  <a:cubicBezTo>
                    <a:pt x="148" y="115"/>
                    <a:pt x="155" y="127"/>
                    <a:pt x="157" y="133"/>
                  </a:cubicBezTo>
                  <a:cubicBezTo>
                    <a:pt x="159" y="139"/>
                    <a:pt x="150" y="139"/>
                    <a:pt x="150" y="144"/>
                  </a:cubicBezTo>
                  <a:cubicBezTo>
                    <a:pt x="150" y="149"/>
                    <a:pt x="159" y="151"/>
                    <a:pt x="159" y="157"/>
                  </a:cubicBezTo>
                  <a:cubicBezTo>
                    <a:pt x="159" y="163"/>
                    <a:pt x="149" y="159"/>
                    <a:pt x="149" y="164"/>
                  </a:cubicBezTo>
                  <a:cubicBezTo>
                    <a:pt x="149" y="169"/>
                    <a:pt x="162" y="177"/>
                    <a:pt x="168" y="180"/>
                  </a:cubicBezTo>
                  <a:cubicBezTo>
                    <a:pt x="174" y="183"/>
                    <a:pt x="177" y="189"/>
                    <a:pt x="177" y="189"/>
                  </a:cubicBezTo>
                  <a:cubicBezTo>
                    <a:pt x="187" y="191"/>
                    <a:pt x="187" y="191"/>
                    <a:pt x="187" y="191"/>
                  </a:cubicBezTo>
                  <a:cubicBezTo>
                    <a:pt x="187" y="191"/>
                    <a:pt x="187" y="192"/>
                    <a:pt x="188" y="194"/>
                  </a:cubicBezTo>
                  <a:cubicBezTo>
                    <a:pt x="190" y="187"/>
                    <a:pt x="192" y="178"/>
                    <a:pt x="191" y="174"/>
                  </a:cubicBezTo>
                  <a:cubicBezTo>
                    <a:pt x="189" y="168"/>
                    <a:pt x="179" y="165"/>
                    <a:pt x="179" y="165"/>
                  </a:cubicBezTo>
                  <a:cubicBezTo>
                    <a:pt x="190" y="161"/>
                    <a:pt x="190" y="161"/>
                    <a:pt x="190" y="161"/>
                  </a:cubicBezTo>
                  <a:cubicBezTo>
                    <a:pt x="190" y="142"/>
                    <a:pt x="190" y="142"/>
                    <a:pt x="190" y="142"/>
                  </a:cubicBezTo>
                  <a:cubicBezTo>
                    <a:pt x="190" y="142"/>
                    <a:pt x="202" y="155"/>
                    <a:pt x="208" y="147"/>
                  </a:cubicBezTo>
                  <a:cubicBezTo>
                    <a:pt x="214" y="139"/>
                    <a:pt x="198" y="129"/>
                    <a:pt x="198" y="129"/>
                  </a:cubicBezTo>
                  <a:cubicBezTo>
                    <a:pt x="201" y="116"/>
                    <a:pt x="201" y="116"/>
                    <a:pt x="201" y="116"/>
                  </a:cubicBezTo>
                  <a:cubicBezTo>
                    <a:pt x="200" y="93"/>
                    <a:pt x="200" y="93"/>
                    <a:pt x="200" y="93"/>
                  </a:cubicBezTo>
                  <a:cubicBezTo>
                    <a:pt x="210" y="95"/>
                    <a:pt x="210" y="95"/>
                    <a:pt x="210" y="95"/>
                  </a:cubicBezTo>
                  <a:cubicBezTo>
                    <a:pt x="218" y="86"/>
                    <a:pt x="218" y="86"/>
                    <a:pt x="218" y="86"/>
                  </a:cubicBezTo>
                  <a:cubicBezTo>
                    <a:pt x="240" y="88"/>
                    <a:pt x="240" y="88"/>
                    <a:pt x="240" y="88"/>
                  </a:cubicBezTo>
                  <a:cubicBezTo>
                    <a:pt x="240" y="88"/>
                    <a:pt x="239" y="83"/>
                    <a:pt x="235" y="75"/>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25" name="Freeform 86"/>
            <p:cNvSpPr>
              <a:spLocks/>
            </p:cNvSpPr>
            <p:nvPr/>
          </p:nvSpPr>
          <p:spPr bwMode="gray">
            <a:xfrm>
              <a:off x="4789488" y="2409825"/>
              <a:ext cx="420687" cy="231775"/>
            </a:xfrm>
            <a:custGeom>
              <a:avLst/>
              <a:gdLst>
                <a:gd name="T0" fmla="*/ 51 w 750"/>
                <a:gd name="T1" fmla="*/ 223 h 415"/>
                <a:gd name="T2" fmla="*/ 79 w 750"/>
                <a:gd name="T3" fmla="*/ 232 h 415"/>
                <a:gd name="T4" fmla="*/ 132 w 750"/>
                <a:gd name="T5" fmla="*/ 230 h 415"/>
                <a:gd name="T6" fmla="*/ 166 w 750"/>
                <a:gd name="T7" fmla="*/ 227 h 415"/>
                <a:gd name="T8" fmla="*/ 209 w 750"/>
                <a:gd name="T9" fmla="*/ 209 h 415"/>
                <a:gd name="T10" fmla="*/ 243 w 750"/>
                <a:gd name="T11" fmla="*/ 208 h 415"/>
                <a:gd name="T12" fmla="*/ 274 w 750"/>
                <a:gd name="T13" fmla="*/ 225 h 415"/>
                <a:gd name="T14" fmla="*/ 296 w 750"/>
                <a:gd name="T15" fmla="*/ 259 h 415"/>
                <a:gd name="T16" fmla="*/ 311 w 750"/>
                <a:gd name="T17" fmla="*/ 278 h 415"/>
                <a:gd name="T18" fmla="*/ 317 w 750"/>
                <a:gd name="T19" fmla="*/ 310 h 415"/>
                <a:gd name="T20" fmla="*/ 304 w 750"/>
                <a:gd name="T21" fmla="*/ 321 h 415"/>
                <a:gd name="T22" fmla="*/ 283 w 750"/>
                <a:gd name="T23" fmla="*/ 356 h 415"/>
                <a:gd name="T24" fmla="*/ 281 w 750"/>
                <a:gd name="T25" fmla="*/ 370 h 415"/>
                <a:gd name="T26" fmla="*/ 323 w 750"/>
                <a:gd name="T27" fmla="*/ 353 h 415"/>
                <a:gd name="T28" fmla="*/ 391 w 750"/>
                <a:gd name="T29" fmla="*/ 301 h 415"/>
                <a:gd name="T30" fmla="*/ 436 w 750"/>
                <a:gd name="T31" fmla="*/ 299 h 415"/>
                <a:gd name="T32" fmla="*/ 420 w 750"/>
                <a:gd name="T33" fmla="*/ 310 h 415"/>
                <a:gd name="T34" fmla="*/ 488 w 750"/>
                <a:gd name="T35" fmla="*/ 324 h 415"/>
                <a:gd name="T36" fmla="*/ 499 w 750"/>
                <a:gd name="T37" fmla="*/ 381 h 415"/>
                <a:gd name="T38" fmla="*/ 542 w 750"/>
                <a:gd name="T39" fmla="*/ 396 h 415"/>
                <a:gd name="T40" fmla="*/ 591 w 750"/>
                <a:gd name="T41" fmla="*/ 385 h 415"/>
                <a:gd name="T42" fmla="*/ 622 w 750"/>
                <a:gd name="T43" fmla="*/ 361 h 415"/>
                <a:gd name="T44" fmla="*/ 553 w 750"/>
                <a:gd name="T45" fmla="*/ 352 h 415"/>
                <a:gd name="T46" fmla="*/ 503 w 750"/>
                <a:gd name="T47" fmla="*/ 328 h 415"/>
                <a:gd name="T48" fmla="*/ 537 w 750"/>
                <a:gd name="T49" fmla="*/ 322 h 415"/>
                <a:gd name="T50" fmla="*/ 588 w 750"/>
                <a:gd name="T51" fmla="*/ 297 h 415"/>
                <a:gd name="T52" fmla="*/ 679 w 750"/>
                <a:gd name="T53" fmla="*/ 273 h 415"/>
                <a:gd name="T54" fmla="*/ 703 w 750"/>
                <a:gd name="T55" fmla="*/ 231 h 415"/>
                <a:gd name="T56" fmla="*/ 727 w 750"/>
                <a:gd name="T57" fmla="*/ 189 h 415"/>
                <a:gd name="T58" fmla="*/ 742 w 750"/>
                <a:gd name="T59" fmla="*/ 166 h 415"/>
                <a:gd name="T60" fmla="*/ 709 w 750"/>
                <a:gd name="T61" fmla="*/ 136 h 415"/>
                <a:gd name="T62" fmla="*/ 662 w 750"/>
                <a:gd name="T63" fmla="*/ 119 h 415"/>
                <a:gd name="T64" fmla="*/ 620 w 750"/>
                <a:gd name="T65" fmla="*/ 100 h 415"/>
                <a:gd name="T66" fmla="*/ 578 w 750"/>
                <a:gd name="T67" fmla="*/ 106 h 415"/>
                <a:gd name="T68" fmla="*/ 540 w 750"/>
                <a:gd name="T69" fmla="*/ 99 h 415"/>
                <a:gd name="T70" fmla="*/ 482 w 750"/>
                <a:gd name="T71" fmla="*/ 56 h 415"/>
                <a:gd name="T72" fmla="*/ 486 w 750"/>
                <a:gd name="T73" fmla="*/ 26 h 415"/>
                <a:gd name="T74" fmla="*/ 431 w 750"/>
                <a:gd name="T75" fmla="*/ 1 h 415"/>
                <a:gd name="T76" fmla="*/ 398 w 750"/>
                <a:gd name="T77" fmla="*/ 16 h 415"/>
                <a:gd name="T78" fmla="*/ 327 w 750"/>
                <a:gd name="T79" fmla="*/ 53 h 415"/>
                <a:gd name="T80" fmla="*/ 273 w 750"/>
                <a:gd name="T81" fmla="*/ 39 h 415"/>
                <a:gd name="T82" fmla="*/ 247 w 750"/>
                <a:gd name="T83" fmla="*/ 46 h 415"/>
                <a:gd name="T84" fmla="*/ 224 w 750"/>
                <a:gd name="T85" fmla="*/ 38 h 415"/>
                <a:gd name="T86" fmla="*/ 202 w 750"/>
                <a:gd name="T87" fmla="*/ 40 h 415"/>
                <a:gd name="T88" fmla="*/ 157 w 750"/>
                <a:gd name="T89" fmla="*/ 28 h 415"/>
                <a:gd name="T90" fmla="*/ 103 w 750"/>
                <a:gd name="T91" fmla="*/ 27 h 415"/>
                <a:gd name="T92" fmla="*/ 47 w 750"/>
                <a:gd name="T93" fmla="*/ 40 h 415"/>
                <a:gd name="T94" fmla="*/ 75 w 750"/>
                <a:gd name="T95" fmla="*/ 76 h 415"/>
                <a:gd name="T96" fmla="*/ 58 w 750"/>
                <a:gd name="T97" fmla="*/ 103 h 415"/>
                <a:gd name="T98" fmla="*/ 30 w 750"/>
                <a:gd name="T99" fmla="*/ 174 h 415"/>
                <a:gd name="T100" fmla="*/ 1 w 750"/>
                <a:gd name="T101" fmla="*/ 194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50" h="415">
                  <a:moveTo>
                    <a:pt x="16" y="215"/>
                  </a:moveTo>
                  <a:cubicBezTo>
                    <a:pt x="22" y="216"/>
                    <a:pt x="38" y="223"/>
                    <a:pt x="38" y="223"/>
                  </a:cubicBezTo>
                  <a:cubicBezTo>
                    <a:pt x="38" y="223"/>
                    <a:pt x="47" y="223"/>
                    <a:pt x="51" y="223"/>
                  </a:cubicBezTo>
                  <a:cubicBezTo>
                    <a:pt x="55" y="223"/>
                    <a:pt x="57" y="230"/>
                    <a:pt x="57" y="230"/>
                  </a:cubicBezTo>
                  <a:cubicBezTo>
                    <a:pt x="73" y="227"/>
                    <a:pt x="73" y="227"/>
                    <a:pt x="73" y="227"/>
                  </a:cubicBezTo>
                  <a:cubicBezTo>
                    <a:pt x="79" y="232"/>
                    <a:pt x="79" y="232"/>
                    <a:pt x="79" y="232"/>
                  </a:cubicBezTo>
                  <a:cubicBezTo>
                    <a:pt x="79" y="232"/>
                    <a:pt x="94" y="224"/>
                    <a:pt x="100" y="225"/>
                  </a:cubicBezTo>
                  <a:cubicBezTo>
                    <a:pt x="106" y="226"/>
                    <a:pt x="112" y="245"/>
                    <a:pt x="122" y="242"/>
                  </a:cubicBezTo>
                  <a:cubicBezTo>
                    <a:pt x="132" y="239"/>
                    <a:pt x="132" y="230"/>
                    <a:pt x="132" y="230"/>
                  </a:cubicBezTo>
                  <a:cubicBezTo>
                    <a:pt x="149" y="233"/>
                    <a:pt x="149" y="233"/>
                    <a:pt x="149" y="233"/>
                  </a:cubicBezTo>
                  <a:cubicBezTo>
                    <a:pt x="153" y="226"/>
                    <a:pt x="153" y="226"/>
                    <a:pt x="153" y="226"/>
                  </a:cubicBezTo>
                  <a:cubicBezTo>
                    <a:pt x="153" y="226"/>
                    <a:pt x="156" y="227"/>
                    <a:pt x="166" y="227"/>
                  </a:cubicBezTo>
                  <a:cubicBezTo>
                    <a:pt x="176" y="227"/>
                    <a:pt x="174" y="209"/>
                    <a:pt x="191" y="212"/>
                  </a:cubicBezTo>
                  <a:cubicBezTo>
                    <a:pt x="193" y="204"/>
                    <a:pt x="193" y="204"/>
                    <a:pt x="193" y="204"/>
                  </a:cubicBezTo>
                  <a:cubicBezTo>
                    <a:pt x="193" y="204"/>
                    <a:pt x="203" y="210"/>
                    <a:pt x="209" y="209"/>
                  </a:cubicBezTo>
                  <a:cubicBezTo>
                    <a:pt x="215" y="208"/>
                    <a:pt x="215" y="203"/>
                    <a:pt x="224" y="202"/>
                  </a:cubicBezTo>
                  <a:cubicBezTo>
                    <a:pt x="233" y="201"/>
                    <a:pt x="239" y="210"/>
                    <a:pt x="239" y="210"/>
                  </a:cubicBezTo>
                  <a:cubicBezTo>
                    <a:pt x="243" y="208"/>
                    <a:pt x="243" y="208"/>
                    <a:pt x="243" y="208"/>
                  </a:cubicBezTo>
                  <a:cubicBezTo>
                    <a:pt x="243" y="208"/>
                    <a:pt x="239" y="213"/>
                    <a:pt x="248" y="213"/>
                  </a:cubicBezTo>
                  <a:cubicBezTo>
                    <a:pt x="257" y="213"/>
                    <a:pt x="264" y="210"/>
                    <a:pt x="269" y="214"/>
                  </a:cubicBezTo>
                  <a:cubicBezTo>
                    <a:pt x="274" y="218"/>
                    <a:pt x="274" y="225"/>
                    <a:pt x="274" y="225"/>
                  </a:cubicBezTo>
                  <a:cubicBezTo>
                    <a:pt x="274" y="225"/>
                    <a:pt x="283" y="219"/>
                    <a:pt x="294" y="227"/>
                  </a:cubicBezTo>
                  <a:cubicBezTo>
                    <a:pt x="305" y="235"/>
                    <a:pt x="296" y="244"/>
                    <a:pt x="296" y="244"/>
                  </a:cubicBezTo>
                  <a:cubicBezTo>
                    <a:pt x="296" y="244"/>
                    <a:pt x="293" y="259"/>
                    <a:pt x="296" y="259"/>
                  </a:cubicBezTo>
                  <a:cubicBezTo>
                    <a:pt x="299" y="259"/>
                    <a:pt x="308" y="257"/>
                    <a:pt x="308" y="257"/>
                  </a:cubicBezTo>
                  <a:cubicBezTo>
                    <a:pt x="313" y="262"/>
                    <a:pt x="313" y="262"/>
                    <a:pt x="313" y="262"/>
                  </a:cubicBezTo>
                  <a:cubicBezTo>
                    <a:pt x="313" y="262"/>
                    <a:pt x="304" y="276"/>
                    <a:pt x="311" y="278"/>
                  </a:cubicBezTo>
                  <a:cubicBezTo>
                    <a:pt x="318" y="280"/>
                    <a:pt x="331" y="277"/>
                    <a:pt x="332" y="284"/>
                  </a:cubicBezTo>
                  <a:cubicBezTo>
                    <a:pt x="333" y="291"/>
                    <a:pt x="334" y="305"/>
                    <a:pt x="334" y="305"/>
                  </a:cubicBezTo>
                  <a:cubicBezTo>
                    <a:pt x="334" y="305"/>
                    <a:pt x="324" y="309"/>
                    <a:pt x="317" y="310"/>
                  </a:cubicBezTo>
                  <a:cubicBezTo>
                    <a:pt x="310" y="311"/>
                    <a:pt x="304" y="303"/>
                    <a:pt x="304" y="303"/>
                  </a:cubicBezTo>
                  <a:cubicBezTo>
                    <a:pt x="304" y="303"/>
                    <a:pt x="287" y="303"/>
                    <a:pt x="288" y="307"/>
                  </a:cubicBezTo>
                  <a:cubicBezTo>
                    <a:pt x="289" y="311"/>
                    <a:pt x="304" y="321"/>
                    <a:pt x="304" y="321"/>
                  </a:cubicBezTo>
                  <a:cubicBezTo>
                    <a:pt x="295" y="330"/>
                    <a:pt x="295" y="330"/>
                    <a:pt x="295" y="330"/>
                  </a:cubicBezTo>
                  <a:cubicBezTo>
                    <a:pt x="295" y="330"/>
                    <a:pt x="279" y="338"/>
                    <a:pt x="279" y="342"/>
                  </a:cubicBezTo>
                  <a:cubicBezTo>
                    <a:pt x="279" y="346"/>
                    <a:pt x="283" y="356"/>
                    <a:pt x="283" y="356"/>
                  </a:cubicBezTo>
                  <a:cubicBezTo>
                    <a:pt x="266" y="359"/>
                    <a:pt x="266" y="359"/>
                    <a:pt x="266" y="359"/>
                  </a:cubicBezTo>
                  <a:cubicBezTo>
                    <a:pt x="263" y="353"/>
                    <a:pt x="264" y="348"/>
                    <a:pt x="264" y="345"/>
                  </a:cubicBezTo>
                  <a:cubicBezTo>
                    <a:pt x="263" y="350"/>
                    <a:pt x="263" y="367"/>
                    <a:pt x="281" y="370"/>
                  </a:cubicBezTo>
                  <a:cubicBezTo>
                    <a:pt x="302" y="373"/>
                    <a:pt x="298" y="359"/>
                    <a:pt x="310" y="360"/>
                  </a:cubicBezTo>
                  <a:cubicBezTo>
                    <a:pt x="319" y="361"/>
                    <a:pt x="323" y="357"/>
                    <a:pt x="324" y="355"/>
                  </a:cubicBezTo>
                  <a:cubicBezTo>
                    <a:pt x="324" y="353"/>
                    <a:pt x="323" y="353"/>
                    <a:pt x="323" y="353"/>
                  </a:cubicBezTo>
                  <a:cubicBezTo>
                    <a:pt x="323" y="353"/>
                    <a:pt x="340" y="346"/>
                    <a:pt x="348" y="340"/>
                  </a:cubicBezTo>
                  <a:cubicBezTo>
                    <a:pt x="357" y="334"/>
                    <a:pt x="370" y="310"/>
                    <a:pt x="370" y="310"/>
                  </a:cubicBezTo>
                  <a:cubicBezTo>
                    <a:pt x="391" y="301"/>
                    <a:pt x="391" y="301"/>
                    <a:pt x="391" y="301"/>
                  </a:cubicBezTo>
                  <a:cubicBezTo>
                    <a:pt x="400" y="290"/>
                    <a:pt x="400" y="290"/>
                    <a:pt x="400" y="290"/>
                  </a:cubicBezTo>
                  <a:cubicBezTo>
                    <a:pt x="411" y="295"/>
                    <a:pt x="411" y="295"/>
                    <a:pt x="411" y="295"/>
                  </a:cubicBezTo>
                  <a:cubicBezTo>
                    <a:pt x="411" y="295"/>
                    <a:pt x="433" y="299"/>
                    <a:pt x="436" y="299"/>
                  </a:cubicBezTo>
                  <a:cubicBezTo>
                    <a:pt x="439" y="299"/>
                    <a:pt x="447" y="293"/>
                    <a:pt x="447" y="293"/>
                  </a:cubicBezTo>
                  <a:cubicBezTo>
                    <a:pt x="435" y="309"/>
                    <a:pt x="435" y="309"/>
                    <a:pt x="435" y="309"/>
                  </a:cubicBezTo>
                  <a:cubicBezTo>
                    <a:pt x="435" y="309"/>
                    <a:pt x="417" y="303"/>
                    <a:pt x="420" y="310"/>
                  </a:cubicBezTo>
                  <a:cubicBezTo>
                    <a:pt x="423" y="317"/>
                    <a:pt x="443" y="322"/>
                    <a:pt x="443" y="322"/>
                  </a:cubicBezTo>
                  <a:cubicBezTo>
                    <a:pt x="475" y="323"/>
                    <a:pt x="475" y="323"/>
                    <a:pt x="475" y="323"/>
                  </a:cubicBezTo>
                  <a:cubicBezTo>
                    <a:pt x="488" y="324"/>
                    <a:pt x="488" y="324"/>
                    <a:pt x="488" y="324"/>
                  </a:cubicBezTo>
                  <a:cubicBezTo>
                    <a:pt x="495" y="335"/>
                    <a:pt x="495" y="335"/>
                    <a:pt x="495" y="335"/>
                  </a:cubicBezTo>
                  <a:cubicBezTo>
                    <a:pt x="495" y="335"/>
                    <a:pt x="449" y="361"/>
                    <a:pt x="452" y="364"/>
                  </a:cubicBezTo>
                  <a:cubicBezTo>
                    <a:pt x="455" y="367"/>
                    <a:pt x="497" y="368"/>
                    <a:pt x="499" y="381"/>
                  </a:cubicBezTo>
                  <a:cubicBezTo>
                    <a:pt x="501" y="395"/>
                    <a:pt x="489" y="409"/>
                    <a:pt x="494" y="411"/>
                  </a:cubicBezTo>
                  <a:cubicBezTo>
                    <a:pt x="500" y="413"/>
                    <a:pt x="521" y="415"/>
                    <a:pt x="521" y="415"/>
                  </a:cubicBezTo>
                  <a:cubicBezTo>
                    <a:pt x="521" y="415"/>
                    <a:pt x="535" y="396"/>
                    <a:pt x="542" y="396"/>
                  </a:cubicBezTo>
                  <a:cubicBezTo>
                    <a:pt x="550" y="396"/>
                    <a:pt x="553" y="402"/>
                    <a:pt x="563" y="396"/>
                  </a:cubicBezTo>
                  <a:cubicBezTo>
                    <a:pt x="573" y="390"/>
                    <a:pt x="571" y="378"/>
                    <a:pt x="578" y="377"/>
                  </a:cubicBezTo>
                  <a:cubicBezTo>
                    <a:pt x="585" y="376"/>
                    <a:pt x="591" y="385"/>
                    <a:pt x="591" y="385"/>
                  </a:cubicBezTo>
                  <a:cubicBezTo>
                    <a:pt x="614" y="381"/>
                    <a:pt x="614" y="381"/>
                    <a:pt x="614" y="381"/>
                  </a:cubicBezTo>
                  <a:cubicBezTo>
                    <a:pt x="616" y="370"/>
                    <a:pt x="616" y="370"/>
                    <a:pt x="616" y="370"/>
                  </a:cubicBezTo>
                  <a:cubicBezTo>
                    <a:pt x="622" y="361"/>
                    <a:pt x="622" y="361"/>
                    <a:pt x="622" y="361"/>
                  </a:cubicBezTo>
                  <a:cubicBezTo>
                    <a:pt x="622" y="361"/>
                    <a:pt x="608" y="355"/>
                    <a:pt x="602" y="361"/>
                  </a:cubicBezTo>
                  <a:cubicBezTo>
                    <a:pt x="596" y="367"/>
                    <a:pt x="572" y="368"/>
                    <a:pt x="572" y="368"/>
                  </a:cubicBezTo>
                  <a:cubicBezTo>
                    <a:pt x="572" y="368"/>
                    <a:pt x="554" y="362"/>
                    <a:pt x="553" y="352"/>
                  </a:cubicBezTo>
                  <a:cubicBezTo>
                    <a:pt x="552" y="342"/>
                    <a:pt x="540" y="343"/>
                    <a:pt x="540" y="343"/>
                  </a:cubicBezTo>
                  <a:cubicBezTo>
                    <a:pt x="528" y="330"/>
                    <a:pt x="528" y="330"/>
                    <a:pt x="528" y="330"/>
                  </a:cubicBezTo>
                  <a:cubicBezTo>
                    <a:pt x="503" y="328"/>
                    <a:pt x="503" y="328"/>
                    <a:pt x="503" y="328"/>
                  </a:cubicBezTo>
                  <a:cubicBezTo>
                    <a:pt x="496" y="320"/>
                    <a:pt x="496" y="320"/>
                    <a:pt x="496" y="320"/>
                  </a:cubicBezTo>
                  <a:cubicBezTo>
                    <a:pt x="512" y="319"/>
                    <a:pt x="512" y="319"/>
                    <a:pt x="512" y="319"/>
                  </a:cubicBezTo>
                  <a:cubicBezTo>
                    <a:pt x="512" y="319"/>
                    <a:pt x="531" y="323"/>
                    <a:pt x="537" y="322"/>
                  </a:cubicBezTo>
                  <a:cubicBezTo>
                    <a:pt x="544" y="320"/>
                    <a:pt x="559" y="308"/>
                    <a:pt x="559" y="308"/>
                  </a:cubicBezTo>
                  <a:cubicBezTo>
                    <a:pt x="565" y="313"/>
                    <a:pt x="565" y="313"/>
                    <a:pt x="565" y="313"/>
                  </a:cubicBezTo>
                  <a:cubicBezTo>
                    <a:pt x="565" y="313"/>
                    <a:pt x="579" y="300"/>
                    <a:pt x="588" y="297"/>
                  </a:cubicBezTo>
                  <a:cubicBezTo>
                    <a:pt x="598" y="294"/>
                    <a:pt x="624" y="293"/>
                    <a:pt x="624" y="293"/>
                  </a:cubicBezTo>
                  <a:cubicBezTo>
                    <a:pt x="652" y="271"/>
                    <a:pt x="652" y="271"/>
                    <a:pt x="652" y="271"/>
                  </a:cubicBezTo>
                  <a:cubicBezTo>
                    <a:pt x="652" y="271"/>
                    <a:pt x="667" y="278"/>
                    <a:pt x="679" y="273"/>
                  </a:cubicBezTo>
                  <a:cubicBezTo>
                    <a:pt x="676" y="248"/>
                    <a:pt x="676" y="248"/>
                    <a:pt x="676" y="248"/>
                  </a:cubicBezTo>
                  <a:cubicBezTo>
                    <a:pt x="676" y="248"/>
                    <a:pt x="689" y="248"/>
                    <a:pt x="692" y="244"/>
                  </a:cubicBezTo>
                  <a:cubicBezTo>
                    <a:pt x="695" y="240"/>
                    <a:pt x="703" y="231"/>
                    <a:pt x="703" y="231"/>
                  </a:cubicBezTo>
                  <a:cubicBezTo>
                    <a:pt x="703" y="231"/>
                    <a:pt x="726" y="233"/>
                    <a:pt x="738" y="229"/>
                  </a:cubicBezTo>
                  <a:cubicBezTo>
                    <a:pt x="750" y="225"/>
                    <a:pt x="742" y="212"/>
                    <a:pt x="741" y="206"/>
                  </a:cubicBezTo>
                  <a:cubicBezTo>
                    <a:pt x="740" y="200"/>
                    <a:pt x="728" y="192"/>
                    <a:pt x="727" y="189"/>
                  </a:cubicBezTo>
                  <a:cubicBezTo>
                    <a:pt x="726" y="186"/>
                    <a:pt x="743" y="188"/>
                    <a:pt x="744" y="182"/>
                  </a:cubicBezTo>
                  <a:cubicBezTo>
                    <a:pt x="745" y="176"/>
                    <a:pt x="728" y="173"/>
                    <a:pt x="728" y="173"/>
                  </a:cubicBezTo>
                  <a:cubicBezTo>
                    <a:pt x="742" y="166"/>
                    <a:pt x="742" y="166"/>
                    <a:pt x="742" y="166"/>
                  </a:cubicBezTo>
                  <a:cubicBezTo>
                    <a:pt x="742" y="166"/>
                    <a:pt x="741" y="159"/>
                    <a:pt x="740" y="149"/>
                  </a:cubicBezTo>
                  <a:cubicBezTo>
                    <a:pt x="739" y="139"/>
                    <a:pt x="722" y="145"/>
                    <a:pt x="722" y="145"/>
                  </a:cubicBezTo>
                  <a:cubicBezTo>
                    <a:pt x="709" y="136"/>
                    <a:pt x="709" y="136"/>
                    <a:pt x="709" y="136"/>
                  </a:cubicBezTo>
                  <a:cubicBezTo>
                    <a:pt x="709" y="136"/>
                    <a:pt x="707" y="130"/>
                    <a:pt x="700" y="128"/>
                  </a:cubicBezTo>
                  <a:cubicBezTo>
                    <a:pt x="693" y="126"/>
                    <a:pt x="679" y="128"/>
                    <a:pt x="679" y="128"/>
                  </a:cubicBezTo>
                  <a:cubicBezTo>
                    <a:pt x="679" y="128"/>
                    <a:pt x="666" y="119"/>
                    <a:pt x="662" y="119"/>
                  </a:cubicBezTo>
                  <a:cubicBezTo>
                    <a:pt x="658" y="119"/>
                    <a:pt x="646" y="125"/>
                    <a:pt x="646" y="125"/>
                  </a:cubicBezTo>
                  <a:cubicBezTo>
                    <a:pt x="646" y="125"/>
                    <a:pt x="643" y="120"/>
                    <a:pt x="637" y="116"/>
                  </a:cubicBezTo>
                  <a:cubicBezTo>
                    <a:pt x="631" y="112"/>
                    <a:pt x="629" y="101"/>
                    <a:pt x="620" y="100"/>
                  </a:cubicBezTo>
                  <a:cubicBezTo>
                    <a:pt x="611" y="99"/>
                    <a:pt x="615" y="109"/>
                    <a:pt x="615" y="109"/>
                  </a:cubicBezTo>
                  <a:cubicBezTo>
                    <a:pt x="615" y="109"/>
                    <a:pt x="606" y="103"/>
                    <a:pt x="595" y="104"/>
                  </a:cubicBezTo>
                  <a:cubicBezTo>
                    <a:pt x="584" y="105"/>
                    <a:pt x="586" y="110"/>
                    <a:pt x="578" y="106"/>
                  </a:cubicBezTo>
                  <a:cubicBezTo>
                    <a:pt x="570" y="102"/>
                    <a:pt x="562" y="98"/>
                    <a:pt x="562" y="98"/>
                  </a:cubicBezTo>
                  <a:cubicBezTo>
                    <a:pt x="544" y="102"/>
                    <a:pt x="544" y="102"/>
                    <a:pt x="544" y="102"/>
                  </a:cubicBezTo>
                  <a:cubicBezTo>
                    <a:pt x="540" y="99"/>
                    <a:pt x="540" y="99"/>
                    <a:pt x="540" y="99"/>
                  </a:cubicBezTo>
                  <a:cubicBezTo>
                    <a:pt x="533" y="70"/>
                    <a:pt x="533" y="70"/>
                    <a:pt x="533" y="70"/>
                  </a:cubicBezTo>
                  <a:cubicBezTo>
                    <a:pt x="505" y="58"/>
                    <a:pt x="505" y="58"/>
                    <a:pt x="505" y="58"/>
                  </a:cubicBezTo>
                  <a:cubicBezTo>
                    <a:pt x="482" y="56"/>
                    <a:pt x="482" y="56"/>
                    <a:pt x="482" y="56"/>
                  </a:cubicBezTo>
                  <a:cubicBezTo>
                    <a:pt x="481" y="45"/>
                    <a:pt x="481" y="45"/>
                    <a:pt x="481" y="45"/>
                  </a:cubicBezTo>
                  <a:cubicBezTo>
                    <a:pt x="476" y="33"/>
                    <a:pt x="476" y="33"/>
                    <a:pt x="476" y="33"/>
                  </a:cubicBezTo>
                  <a:cubicBezTo>
                    <a:pt x="476" y="33"/>
                    <a:pt x="484" y="32"/>
                    <a:pt x="486" y="26"/>
                  </a:cubicBezTo>
                  <a:cubicBezTo>
                    <a:pt x="488" y="20"/>
                    <a:pt x="467" y="14"/>
                    <a:pt x="467" y="14"/>
                  </a:cubicBezTo>
                  <a:cubicBezTo>
                    <a:pt x="461" y="0"/>
                    <a:pt x="461" y="0"/>
                    <a:pt x="461" y="0"/>
                  </a:cubicBezTo>
                  <a:cubicBezTo>
                    <a:pt x="431" y="1"/>
                    <a:pt x="431" y="1"/>
                    <a:pt x="431" y="1"/>
                  </a:cubicBezTo>
                  <a:cubicBezTo>
                    <a:pt x="420" y="6"/>
                    <a:pt x="420" y="6"/>
                    <a:pt x="420" y="6"/>
                  </a:cubicBezTo>
                  <a:cubicBezTo>
                    <a:pt x="402" y="3"/>
                    <a:pt x="402" y="3"/>
                    <a:pt x="402" y="3"/>
                  </a:cubicBezTo>
                  <a:cubicBezTo>
                    <a:pt x="402" y="3"/>
                    <a:pt x="406" y="12"/>
                    <a:pt x="398" y="16"/>
                  </a:cubicBezTo>
                  <a:cubicBezTo>
                    <a:pt x="390" y="20"/>
                    <a:pt x="356" y="12"/>
                    <a:pt x="349" y="12"/>
                  </a:cubicBezTo>
                  <a:cubicBezTo>
                    <a:pt x="342" y="12"/>
                    <a:pt x="326" y="37"/>
                    <a:pt x="326" y="37"/>
                  </a:cubicBezTo>
                  <a:cubicBezTo>
                    <a:pt x="326" y="37"/>
                    <a:pt x="336" y="50"/>
                    <a:pt x="327" y="53"/>
                  </a:cubicBezTo>
                  <a:cubicBezTo>
                    <a:pt x="318" y="56"/>
                    <a:pt x="304" y="47"/>
                    <a:pt x="304" y="47"/>
                  </a:cubicBezTo>
                  <a:cubicBezTo>
                    <a:pt x="304" y="47"/>
                    <a:pt x="293" y="50"/>
                    <a:pt x="285" y="51"/>
                  </a:cubicBezTo>
                  <a:cubicBezTo>
                    <a:pt x="277" y="52"/>
                    <a:pt x="285" y="40"/>
                    <a:pt x="273" y="39"/>
                  </a:cubicBezTo>
                  <a:cubicBezTo>
                    <a:pt x="261" y="38"/>
                    <a:pt x="262" y="48"/>
                    <a:pt x="262" y="48"/>
                  </a:cubicBezTo>
                  <a:cubicBezTo>
                    <a:pt x="252" y="40"/>
                    <a:pt x="252" y="40"/>
                    <a:pt x="252" y="40"/>
                  </a:cubicBezTo>
                  <a:cubicBezTo>
                    <a:pt x="247" y="46"/>
                    <a:pt x="247" y="46"/>
                    <a:pt x="247" y="46"/>
                  </a:cubicBezTo>
                  <a:cubicBezTo>
                    <a:pt x="241" y="41"/>
                    <a:pt x="241" y="41"/>
                    <a:pt x="241" y="41"/>
                  </a:cubicBezTo>
                  <a:cubicBezTo>
                    <a:pt x="231" y="43"/>
                    <a:pt x="231" y="43"/>
                    <a:pt x="231" y="43"/>
                  </a:cubicBezTo>
                  <a:cubicBezTo>
                    <a:pt x="224" y="38"/>
                    <a:pt x="224" y="38"/>
                    <a:pt x="224" y="38"/>
                  </a:cubicBezTo>
                  <a:cubicBezTo>
                    <a:pt x="219" y="45"/>
                    <a:pt x="219" y="45"/>
                    <a:pt x="219" y="45"/>
                  </a:cubicBezTo>
                  <a:cubicBezTo>
                    <a:pt x="207" y="37"/>
                    <a:pt x="207" y="37"/>
                    <a:pt x="207" y="37"/>
                  </a:cubicBezTo>
                  <a:cubicBezTo>
                    <a:pt x="202" y="40"/>
                    <a:pt x="202" y="40"/>
                    <a:pt x="202" y="40"/>
                  </a:cubicBezTo>
                  <a:cubicBezTo>
                    <a:pt x="191" y="31"/>
                    <a:pt x="191" y="31"/>
                    <a:pt x="191" y="31"/>
                  </a:cubicBezTo>
                  <a:cubicBezTo>
                    <a:pt x="172" y="28"/>
                    <a:pt x="172" y="28"/>
                    <a:pt x="172" y="28"/>
                  </a:cubicBezTo>
                  <a:cubicBezTo>
                    <a:pt x="172" y="28"/>
                    <a:pt x="167" y="28"/>
                    <a:pt x="157" y="28"/>
                  </a:cubicBezTo>
                  <a:cubicBezTo>
                    <a:pt x="147" y="28"/>
                    <a:pt x="147" y="20"/>
                    <a:pt x="147" y="20"/>
                  </a:cubicBezTo>
                  <a:cubicBezTo>
                    <a:pt x="147" y="20"/>
                    <a:pt x="120" y="19"/>
                    <a:pt x="117" y="20"/>
                  </a:cubicBezTo>
                  <a:cubicBezTo>
                    <a:pt x="114" y="21"/>
                    <a:pt x="103" y="27"/>
                    <a:pt x="103" y="27"/>
                  </a:cubicBezTo>
                  <a:cubicBezTo>
                    <a:pt x="77" y="27"/>
                    <a:pt x="77" y="27"/>
                    <a:pt x="77" y="27"/>
                  </a:cubicBezTo>
                  <a:cubicBezTo>
                    <a:pt x="77" y="27"/>
                    <a:pt x="76" y="37"/>
                    <a:pt x="68" y="42"/>
                  </a:cubicBezTo>
                  <a:cubicBezTo>
                    <a:pt x="60" y="47"/>
                    <a:pt x="47" y="40"/>
                    <a:pt x="47" y="40"/>
                  </a:cubicBezTo>
                  <a:cubicBezTo>
                    <a:pt x="49" y="53"/>
                    <a:pt x="49" y="53"/>
                    <a:pt x="49" y="53"/>
                  </a:cubicBezTo>
                  <a:cubicBezTo>
                    <a:pt x="49" y="53"/>
                    <a:pt x="57" y="55"/>
                    <a:pt x="60" y="64"/>
                  </a:cubicBezTo>
                  <a:cubicBezTo>
                    <a:pt x="63" y="73"/>
                    <a:pt x="75" y="76"/>
                    <a:pt x="75" y="76"/>
                  </a:cubicBezTo>
                  <a:cubicBezTo>
                    <a:pt x="68" y="84"/>
                    <a:pt x="68" y="84"/>
                    <a:pt x="68" y="84"/>
                  </a:cubicBezTo>
                  <a:cubicBezTo>
                    <a:pt x="68" y="84"/>
                    <a:pt x="74" y="92"/>
                    <a:pt x="76" y="97"/>
                  </a:cubicBezTo>
                  <a:cubicBezTo>
                    <a:pt x="78" y="102"/>
                    <a:pt x="58" y="103"/>
                    <a:pt x="58" y="103"/>
                  </a:cubicBezTo>
                  <a:cubicBezTo>
                    <a:pt x="23" y="138"/>
                    <a:pt x="23" y="138"/>
                    <a:pt x="23" y="138"/>
                  </a:cubicBezTo>
                  <a:cubicBezTo>
                    <a:pt x="23" y="138"/>
                    <a:pt x="23" y="148"/>
                    <a:pt x="22" y="158"/>
                  </a:cubicBezTo>
                  <a:cubicBezTo>
                    <a:pt x="21" y="168"/>
                    <a:pt x="30" y="174"/>
                    <a:pt x="30" y="174"/>
                  </a:cubicBezTo>
                  <a:cubicBezTo>
                    <a:pt x="14" y="173"/>
                    <a:pt x="14" y="173"/>
                    <a:pt x="14" y="173"/>
                  </a:cubicBezTo>
                  <a:cubicBezTo>
                    <a:pt x="14" y="173"/>
                    <a:pt x="13" y="180"/>
                    <a:pt x="11" y="186"/>
                  </a:cubicBezTo>
                  <a:cubicBezTo>
                    <a:pt x="9" y="192"/>
                    <a:pt x="1" y="194"/>
                    <a:pt x="1" y="194"/>
                  </a:cubicBezTo>
                  <a:cubicBezTo>
                    <a:pt x="0" y="202"/>
                    <a:pt x="0" y="202"/>
                    <a:pt x="0" y="202"/>
                  </a:cubicBezTo>
                  <a:cubicBezTo>
                    <a:pt x="8" y="204"/>
                    <a:pt x="10" y="214"/>
                    <a:pt x="16" y="215"/>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26" name="Freeform 87"/>
            <p:cNvSpPr>
              <a:spLocks/>
            </p:cNvSpPr>
            <p:nvPr/>
          </p:nvSpPr>
          <p:spPr bwMode="gray">
            <a:xfrm>
              <a:off x="4803775" y="2301875"/>
              <a:ext cx="214312" cy="139700"/>
            </a:xfrm>
            <a:custGeom>
              <a:avLst/>
              <a:gdLst>
                <a:gd name="T0" fmla="*/ 19 w 382"/>
                <a:gd name="T1" fmla="*/ 225 h 250"/>
                <a:gd name="T2" fmla="*/ 42 w 382"/>
                <a:gd name="T3" fmla="*/ 236 h 250"/>
                <a:gd name="T4" fmla="*/ 77 w 382"/>
                <a:gd name="T5" fmla="*/ 221 h 250"/>
                <a:gd name="T6" fmla="*/ 121 w 382"/>
                <a:gd name="T7" fmla="*/ 214 h 250"/>
                <a:gd name="T8" fmla="*/ 146 w 382"/>
                <a:gd name="T9" fmla="*/ 222 h 250"/>
                <a:gd name="T10" fmla="*/ 176 w 382"/>
                <a:gd name="T11" fmla="*/ 234 h 250"/>
                <a:gd name="T12" fmla="*/ 193 w 382"/>
                <a:gd name="T13" fmla="*/ 239 h 250"/>
                <a:gd name="T14" fmla="*/ 205 w 382"/>
                <a:gd name="T15" fmla="*/ 237 h 250"/>
                <a:gd name="T16" fmla="*/ 221 w 382"/>
                <a:gd name="T17" fmla="*/ 240 h 250"/>
                <a:gd name="T18" fmla="*/ 236 w 382"/>
                <a:gd name="T19" fmla="*/ 242 h 250"/>
                <a:gd name="T20" fmla="*/ 259 w 382"/>
                <a:gd name="T21" fmla="*/ 245 h 250"/>
                <a:gd name="T22" fmla="*/ 301 w 382"/>
                <a:gd name="T23" fmla="*/ 247 h 250"/>
                <a:gd name="T24" fmla="*/ 323 w 382"/>
                <a:gd name="T25" fmla="*/ 206 h 250"/>
                <a:gd name="T26" fmla="*/ 344 w 382"/>
                <a:gd name="T27" fmla="*/ 191 h 250"/>
                <a:gd name="T28" fmla="*/ 328 w 382"/>
                <a:gd name="T29" fmla="*/ 151 h 250"/>
                <a:gd name="T30" fmla="*/ 365 w 382"/>
                <a:gd name="T31" fmla="*/ 155 h 250"/>
                <a:gd name="T32" fmla="*/ 368 w 382"/>
                <a:gd name="T33" fmla="*/ 131 h 250"/>
                <a:gd name="T34" fmla="*/ 340 w 382"/>
                <a:gd name="T35" fmla="*/ 118 h 250"/>
                <a:gd name="T36" fmla="*/ 318 w 382"/>
                <a:gd name="T37" fmla="*/ 96 h 250"/>
                <a:gd name="T38" fmla="*/ 294 w 382"/>
                <a:gd name="T39" fmla="*/ 66 h 250"/>
                <a:gd name="T40" fmla="*/ 290 w 382"/>
                <a:gd name="T41" fmla="*/ 44 h 250"/>
                <a:gd name="T42" fmla="*/ 260 w 382"/>
                <a:gd name="T43" fmla="*/ 9 h 250"/>
                <a:gd name="T44" fmla="*/ 236 w 382"/>
                <a:gd name="T45" fmla="*/ 11 h 250"/>
                <a:gd name="T46" fmla="*/ 204 w 382"/>
                <a:gd name="T47" fmla="*/ 11 h 250"/>
                <a:gd name="T48" fmla="*/ 176 w 382"/>
                <a:gd name="T49" fmla="*/ 0 h 250"/>
                <a:gd name="T50" fmla="*/ 157 w 382"/>
                <a:gd name="T51" fmla="*/ 19 h 250"/>
                <a:gd name="T52" fmla="*/ 119 w 382"/>
                <a:gd name="T53" fmla="*/ 31 h 250"/>
                <a:gd name="T54" fmla="*/ 120 w 382"/>
                <a:gd name="T55" fmla="*/ 52 h 250"/>
                <a:gd name="T56" fmla="*/ 111 w 382"/>
                <a:gd name="T57" fmla="*/ 60 h 250"/>
                <a:gd name="T58" fmla="*/ 98 w 382"/>
                <a:gd name="T59" fmla="*/ 77 h 250"/>
                <a:gd name="T60" fmla="*/ 96 w 382"/>
                <a:gd name="T61" fmla="*/ 104 h 250"/>
                <a:gd name="T62" fmla="*/ 72 w 382"/>
                <a:gd name="T63" fmla="*/ 103 h 250"/>
                <a:gd name="T64" fmla="*/ 60 w 382"/>
                <a:gd name="T65" fmla="*/ 103 h 250"/>
                <a:gd name="T66" fmla="*/ 40 w 382"/>
                <a:gd name="T67" fmla="*/ 113 h 250"/>
                <a:gd name="T68" fmla="*/ 6 w 382"/>
                <a:gd name="T69" fmla="*/ 113 h 250"/>
                <a:gd name="T70" fmla="*/ 25 w 382"/>
                <a:gd name="T71" fmla="*/ 145 h 250"/>
                <a:gd name="T72" fmla="*/ 27 w 382"/>
                <a:gd name="T73" fmla="*/ 173 h 250"/>
                <a:gd name="T74" fmla="*/ 12 w 382"/>
                <a:gd name="T75" fmla="*/ 190 h 250"/>
                <a:gd name="T76" fmla="*/ 20 w 382"/>
                <a:gd name="T77" fmla="*/ 207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82" h="250">
                  <a:moveTo>
                    <a:pt x="20" y="207"/>
                  </a:moveTo>
                  <a:cubicBezTo>
                    <a:pt x="22" y="211"/>
                    <a:pt x="19" y="225"/>
                    <a:pt x="19" y="225"/>
                  </a:cubicBezTo>
                  <a:cubicBezTo>
                    <a:pt x="22" y="234"/>
                    <a:pt x="22" y="234"/>
                    <a:pt x="22" y="234"/>
                  </a:cubicBezTo>
                  <a:cubicBezTo>
                    <a:pt x="26" y="236"/>
                    <a:pt x="35" y="240"/>
                    <a:pt x="42" y="236"/>
                  </a:cubicBezTo>
                  <a:cubicBezTo>
                    <a:pt x="50" y="231"/>
                    <a:pt x="51" y="221"/>
                    <a:pt x="51" y="221"/>
                  </a:cubicBezTo>
                  <a:cubicBezTo>
                    <a:pt x="77" y="221"/>
                    <a:pt x="77" y="221"/>
                    <a:pt x="77" y="221"/>
                  </a:cubicBezTo>
                  <a:cubicBezTo>
                    <a:pt x="77" y="221"/>
                    <a:pt x="88" y="215"/>
                    <a:pt x="91" y="214"/>
                  </a:cubicBezTo>
                  <a:cubicBezTo>
                    <a:pt x="94" y="213"/>
                    <a:pt x="121" y="214"/>
                    <a:pt x="121" y="214"/>
                  </a:cubicBezTo>
                  <a:cubicBezTo>
                    <a:pt x="121" y="214"/>
                    <a:pt x="121" y="222"/>
                    <a:pt x="131" y="222"/>
                  </a:cubicBezTo>
                  <a:cubicBezTo>
                    <a:pt x="141" y="222"/>
                    <a:pt x="146" y="222"/>
                    <a:pt x="146" y="222"/>
                  </a:cubicBezTo>
                  <a:cubicBezTo>
                    <a:pt x="165" y="225"/>
                    <a:pt x="165" y="225"/>
                    <a:pt x="165" y="225"/>
                  </a:cubicBezTo>
                  <a:cubicBezTo>
                    <a:pt x="176" y="234"/>
                    <a:pt x="176" y="234"/>
                    <a:pt x="176" y="234"/>
                  </a:cubicBezTo>
                  <a:cubicBezTo>
                    <a:pt x="181" y="231"/>
                    <a:pt x="181" y="231"/>
                    <a:pt x="181" y="231"/>
                  </a:cubicBezTo>
                  <a:cubicBezTo>
                    <a:pt x="193" y="239"/>
                    <a:pt x="193" y="239"/>
                    <a:pt x="193" y="239"/>
                  </a:cubicBezTo>
                  <a:cubicBezTo>
                    <a:pt x="198" y="232"/>
                    <a:pt x="198" y="232"/>
                    <a:pt x="198" y="232"/>
                  </a:cubicBezTo>
                  <a:cubicBezTo>
                    <a:pt x="205" y="237"/>
                    <a:pt x="205" y="237"/>
                    <a:pt x="205" y="237"/>
                  </a:cubicBezTo>
                  <a:cubicBezTo>
                    <a:pt x="215" y="235"/>
                    <a:pt x="215" y="235"/>
                    <a:pt x="215" y="235"/>
                  </a:cubicBezTo>
                  <a:cubicBezTo>
                    <a:pt x="221" y="240"/>
                    <a:pt x="221" y="240"/>
                    <a:pt x="221" y="240"/>
                  </a:cubicBezTo>
                  <a:cubicBezTo>
                    <a:pt x="226" y="234"/>
                    <a:pt x="226" y="234"/>
                    <a:pt x="226" y="234"/>
                  </a:cubicBezTo>
                  <a:cubicBezTo>
                    <a:pt x="236" y="242"/>
                    <a:pt x="236" y="242"/>
                    <a:pt x="236" y="242"/>
                  </a:cubicBezTo>
                  <a:cubicBezTo>
                    <a:pt x="236" y="242"/>
                    <a:pt x="235" y="232"/>
                    <a:pt x="247" y="233"/>
                  </a:cubicBezTo>
                  <a:cubicBezTo>
                    <a:pt x="259" y="234"/>
                    <a:pt x="251" y="246"/>
                    <a:pt x="259" y="245"/>
                  </a:cubicBezTo>
                  <a:cubicBezTo>
                    <a:pt x="267" y="244"/>
                    <a:pt x="278" y="241"/>
                    <a:pt x="278" y="241"/>
                  </a:cubicBezTo>
                  <a:cubicBezTo>
                    <a:pt x="278" y="241"/>
                    <a:pt x="292" y="250"/>
                    <a:pt x="301" y="247"/>
                  </a:cubicBezTo>
                  <a:cubicBezTo>
                    <a:pt x="310" y="244"/>
                    <a:pt x="300" y="231"/>
                    <a:pt x="300" y="231"/>
                  </a:cubicBezTo>
                  <a:cubicBezTo>
                    <a:pt x="300" y="231"/>
                    <a:pt x="316" y="206"/>
                    <a:pt x="323" y="206"/>
                  </a:cubicBezTo>
                  <a:cubicBezTo>
                    <a:pt x="326" y="206"/>
                    <a:pt x="336" y="208"/>
                    <a:pt x="347" y="209"/>
                  </a:cubicBezTo>
                  <a:cubicBezTo>
                    <a:pt x="346" y="201"/>
                    <a:pt x="346" y="191"/>
                    <a:pt x="344" y="191"/>
                  </a:cubicBezTo>
                  <a:cubicBezTo>
                    <a:pt x="341" y="190"/>
                    <a:pt x="341" y="176"/>
                    <a:pt x="341" y="176"/>
                  </a:cubicBezTo>
                  <a:cubicBezTo>
                    <a:pt x="341" y="176"/>
                    <a:pt x="314" y="154"/>
                    <a:pt x="328" y="151"/>
                  </a:cubicBezTo>
                  <a:cubicBezTo>
                    <a:pt x="342" y="148"/>
                    <a:pt x="344" y="154"/>
                    <a:pt x="344" y="154"/>
                  </a:cubicBezTo>
                  <a:cubicBezTo>
                    <a:pt x="344" y="154"/>
                    <a:pt x="357" y="162"/>
                    <a:pt x="365" y="155"/>
                  </a:cubicBezTo>
                  <a:cubicBezTo>
                    <a:pt x="373" y="148"/>
                    <a:pt x="382" y="139"/>
                    <a:pt x="382" y="139"/>
                  </a:cubicBezTo>
                  <a:cubicBezTo>
                    <a:pt x="368" y="131"/>
                    <a:pt x="368" y="131"/>
                    <a:pt x="368" y="131"/>
                  </a:cubicBezTo>
                  <a:cubicBezTo>
                    <a:pt x="368" y="131"/>
                    <a:pt x="376" y="122"/>
                    <a:pt x="363" y="119"/>
                  </a:cubicBezTo>
                  <a:cubicBezTo>
                    <a:pt x="350" y="116"/>
                    <a:pt x="340" y="118"/>
                    <a:pt x="340" y="118"/>
                  </a:cubicBezTo>
                  <a:cubicBezTo>
                    <a:pt x="338" y="103"/>
                    <a:pt x="338" y="103"/>
                    <a:pt x="338" y="103"/>
                  </a:cubicBezTo>
                  <a:cubicBezTo>
                    <a:pt x="318" y="96"/>
                    <a:pt x="318" y="96"/>
                    <a:pt x="318" y="96"/>
                  </a:cubicBezTo>
                  <a:cubicBezTo>
                    <a:pt x="318" y="96"/>
                    <a:pt x="315" y="75"/>
                    <a:pt x="307" y="73"/>
                  </a:cubicBezTo>
                  <a:cubicBezTo>
                    <a:pt x="299" y="71"/>
                    <a:pt x="294" y="66"/>
                    <a:pt x="294" y="66"/>
                  </a:cubicBezTo>
                  <a:cubicBezTo>
                    <a:pt x="298" y="54"/>
                    <a:pt x="298" y="54"/>
                    <a:pt x="298" y="54"/>
                  </a:cubicBezTo>
                  <a:cubicBezTo>
                    <a:pt x="290" y="44"/>
                    <a:pt x="290" y="44"/>
                    <a:pt x="290" y="44"/>
                  </a:cubicBezTo>
                  <a:cubicBezTo>
                    <a:pt x="290" y="44"/>
                    <a:pt x="304" y="30"/>
                    <a:pt x="293" y="25"/>
                  </a:cubicBezTo>
                  <a:cubicBezTo>
                    <a:pt x="282" y="20"/>
                    <a:pt x="260" y="9"/>
                    <a:pt x="260" y="9"/>
                  </a:cubicBezTo>
                  <a:cubicBezTo>
                    <a:pt x="238" y="21"/>
                    <a:pt x="238" y="21"/>
                    <a:pt x="238" y="21"/>
                  </a:cubicBezTo>
                  <a:cubicBezTo>
                    <a:pt x="236" y="11"/>
                    <a:pt x="236" y="11"/>
                    <a:pt x="236" y="11"/>
                  </a:cubicBezTo>
                  <a:cubicBezTo>
                    <a:pt x="210" y="5"/>
                    <a:pt x="210" y="5"/>
                    <a:pt x="210" y="5"/>
                  </a:cubicBezTo>
                  <a:cubicBezTo>
                    <a:pt x="204" y="11"/>
                    <a:pt x="204" y="11"/>
                    <a:pt x="204" y="11"/>
                  </a:cubicBezTo>
                  <a:cubicBezTo>
                    <a:pt x="204" y="11"/>
                    <a:pt x="203" y="4"/>
                    <a:pt x="195" y="3"/>
                  </a:cubicBezTo>
                  <a:cubicBezTo>
                    <a:pt x="187" y="2"/>
                    <a:pt x="176" y="0"/>
                    <a:pt x="176" y="0"/>
                  </a:cubicBezTo>
                  <a:cubicBezTo>
                    <a:pt x="176" y="0"/>
                    <a:pt x="162" y="16"/>
                    <a:pt x="162" y="13"/>
                  </a:cubicBezTo>
                  <a:cubicBezTo>
                    <a:pt x="162" y="10"/>
                    <a:pt x="157" y="19"/>
                    <a:pt x="157" y="19"/>
                  </a:cubicBezTo>
                  <a:cubicBezTo>
                    <a:pt x="157" y="19"/>
                    <a:pt x="146" y="13"/>
                    <a:pt x="141" y="13"/>
                  </a:cubicBezTo>
                  <a:cubicBezTo>
                    <a:pt x="136" y="13"/>
                    <a:pt x="121" y="26"/>
                    <a:pt x="119" y="31"/>
                  </a:cubicBezTo>
                  <a:cubicBezTo>
                    <a:pt x="117" y="36"/>
                    <a:pt x="133" y="46"/>
                    <a:pt x="133" y="46"/>
                  </a:cubicBezTo>
                  <a:cubicBezTo>
                    <a:pt x="133" y="46"/>
                    <a:pt x="126" y="52"/>
                    <a:pt x="120" y="52"/>
                  </a:cubicBezTo>
                  <a:cubicBezTo>
                    <a:pt x="114" y="52"/>
                    <a:pt x="107" y="47"/>
                    <a:pt x="107" y="47"/>
                  </a:cubicBezTo>
                  <a:cubicBezTo>
                    <a:pt x="111" y="60"/>
                    <a:pt x="111" y="60"/>
                    <a:pt x="111" y="60"/>
                  </a:cubicBezTo>
                  <a:cubicBezTo>
                    <a:pt x="111" y="60"/>
                    <a:pt x="98" y="55"/>
                    <a:pt x="96" y="62"/>
                  </a:cubicBezTo>
                  <a:cubicBezTo>
                    <a:pt x="94" y="69"/>
                    <a:pt x="98" y="77"/>
                    <a:pt x="98" y="77"/>
                  </a:cubicBezTo>
                  <a:cubicBezTo>
                    <a:pt x="98" y="77"/>
                    <a:pt x="86" y="76"/>
                    <a:pt x="91" y="84"/>
                  </a:cubicBezTo>
                  <a:cubicBezTo>
                    <a:pt x="96" y="92"/>
                    <a:pt x="103" y="103"/>
                    <a:pt x="96" y="104"/>
                  </a:cubicBezTo>
                  <a:cubicBezTo>
                    <a:pt x="89" y="105"/>
                    <a:pt x="100" y="96"/>
                    <a:pt x="90" y="96"/>
                  </a:cubicBezTo>
                  <a:cubicBezTo>
                    <a:pt x="80" y="96"/>
                    <a:pt x="72" y="103"/>
                    <a:pt x="72" y="103"/>
                  </a:cubicBezTo>
                  <a:cubicBezTo>
                    <a:pt x="68" y="111"/>
                    <a:pt x="68" y="111"/>
                    <a:pt x="68" y="111"/>
                  </a:cubicBezTo>
                  <a:cubicBezTo>
                    <a:pt x="60" y="103"/>
                    <a:pt x="60" y="103"/>
                    <a:pt x="60" y="103"/>
                  </a:cubicBezTo>
                  <a:cubicBezTo>
                    <a:pt x="58" y="113"/>
                    <a:pt x="58" y="113"/>
                    <a:pt x="58" y="113"/>
                  </a:cubicBezTo>
                  <a:cubicBezTo>
                    <a:pt x="40" y="113"/>
                    <a:pt x="40" y="113"/>
                    <a:pt x="40" y="113"/>
                  </a:cubicBezTo>
                  <a:cubicBezTo>
                    <a:pt x="40" y="113"/>
                    <a:pt x="38" y="107"/>
                    <a:pt x="30" y="108"/>
                  </a:cubicBezTo>
                  <a:cubicBezTo>
                    <a:pt x="22" y="109"/>
                    <a:pt x="6" y="113"/>
                    <a:pt x="6" y="113"/>
                  </a:cubicBezTo>
                  <a:cubicBezTo>
                    <a:pt x="6" y="113"/>
                    <a:pt x="14" y="126"/>
                    <a:pt x="14" y="131"/>
                  </a:cubicBezTo>
                  <a:cubicBezTo>
                    <a:pt x="14" y="136"/>
                    <a:pt x="25" y="145"/>
                    <a:pt x="25" y="145"/>
                  </a:cubicBezTo>
                  <a:cubicBezTo>
                    <a:pt x="25" y="145"/>
                    <a:pt x="33" y="157"/>
                    <a:pt x="31" y="161"/>
                  </a:cubicBezTo>
                  <a:cubicBezTo>
                    <a:pt x="29" y="165"/>
                    <a:pt x="27" y="173"/>
                    <a:pt x="27" y="173"/>
                  </a:cubicBezTo>
                  <a:cubicBezTo>
                    <a:pt x="13" y="178"/>
                    <a:pt x="13" y="178"/>
                    <a:pt x="13" y="178"/>
                  </a:cubicBezTo>
                  <a:cubicBezTo>
                    <a:pt x="13" y="178"/>
                    <a:pt x="15" y="190"/>
                    <a:pt x="12" y="190"/>
                  </a:cubicBezTo>
                  <a:cubicBezTo>
                    <a:pt x="9" y="190"/>
                    <a:pt x="0" y="188"/>
                    <a:pt x="2" y="194"/>
                  </a:cubicBezTo>
                  <a:cubicBezTo>
                    <a:pt x="4" y="200"/>
                    <a:pt x="18" y="203"/>
                    <a:pt x="20" y="207"/>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27" name="Freeform 88"/>
            <p:cNvSpPr>
              <a:spLocks/>
            </p:cNvSpPr>
            <p:nvPr/>
          </p:nvSpPr>
          <p:spPr bwMode="gray">
            <a:xfrm>
              <a:off x="4746625" y="2244725"/>
              <a:ext cx="160337" cy="69850"/>
            </a:xfrm>
            <a:custGeom>
              <a:avLst/>
              <a:gdLst>
                <a:gd name="T0" fmla="*/ 5 w 286"/>
                <a:gd name="T1" fmla="*/ 97 h 123"/>
                <a:gd name="T2" fmla="*/ 18 w 286"/>
                <a:gd name="T3" fmla="*/ 92 h 123"/>
                <a:gd name="T4" fmla="*/ 51 w 286"/>
                <a:gd name="T5" fmla="*/ 86 h 123"/>
                <a:gd name="T6" fmla="*/ 65 w 286"/>
                <a:gd name="T7" fmla="*/ 83 h 123"/>
                <a:gd name="T8" fmla="*/ 78 w 286"/>
                <a:gd name="T9" fmla="*/ 90 h 123"/>
                <a:gd name="T10" fmla="*/ 86 w 286"/>
                <a:gd name="T11" fmla="*/ 88 h 123"/>
                <a:gd name="T12" fmla="*/ 109 w 286"/>
                <a:gd name="T13" fmla="*/ 94 h 123"/>
                <a:gd name="T14" fmla="*/ 118 w 286"/>
                <a:gd name="T15" fmla="*/ 89 h 123"/>
                <a:gd name="T16" fmla="*/ 133 w 286"/>
                <a:gd name="T17" fmla="*/ 93 h 123"/>
                <a:gd name="T18" fmla="*/ 150 w 286"/>
                <a:gd name="T19" fmla="*/ 85 h 123"/>
                <a:gd name="T20" fmla="*/ 162 w 286"/>
                <a:gd name="T21" fmla="*/ 98 h 123"/>
                <a:gd name="T22" fmla="*/ 189 w 286"/>
                <a:gd name="T23" fmla="*/ 101 h 123"/>
                <a:gd name="T24" fmla="*/ 200 w 286"/>
                <a:gd name="T25" fmla="*/ 111 h 123"/>
                <a:gd name="T26" fmla="*/ 215 w 286"/>
                <a:gd name="T27" fmla="*/ 119 h 123"/>
                <a:gd name="T28" fmla="*/ 227 w 286"/>
                <a:gd name="T29" fmla="*/ 123 h 123"/>
                <a:gd name="T30" fmla="*/ 243 w 286"/>
                <a:gd name="T31" fmla="*/ 113 h 123"/>
                <a:gd name="T32" fmla="*/ 259 w 286"/>
                <a:gd name="T33" fmla="*/ 119 h 123"/>
                <a:gd name="T34" fmla="*/ 264 w 286"/>
                <a:gd name="T35" fmla="*/ 113 h 123"/>
                <a:gd name="T36" fmla="*/ 278 w 286"/>
                <a:gd name="T37" fmla="*/ 100 h 123"/>
                <a:gd name="T38" fmla="*/ 286 w 286"/>
                <a:gd name="T39" fmla="*/ 101 h 123"/>
                <a:gd name="T40" fmla="*/ 280 w 286"/>
                <a:gd name="T41" fmla="*/ 82 h 123"/>
                <a:gd name="T42" fmla="*/ 268 w 286"/>
                <a:gd name="T43" fmla="*/ 65 h 123"/>
                <a:gd name="T44" fmla="*/ 255 w 286"/>
                <a:gd name="T45" fmla="*/ 61 h 123"/>
                <a:gd name="T46" fmla="*/ 256 w 286"/>
                <a:gd name="T47" fmla="*/ 52 h 123"/>
                <a:gd name="T48" fmla="*/ 268 w 286"/>
                <a:gd name="T49" fmla="*/ 45 h 123"/>
                <a:gd name="T50" fmla="*/ 246 w 286"/>
                <a:gd name="T51" fmla="*/ 30 h 123"/>
                <a:gd name="T52" fmla="*/ 238 w 286"/>
                <a:gd name="T53" fmla="*/ 31 h 123"/>
                <a:gd name="T54" fmla="*/ 225 w 286"/>
                <a:gd name="T55" fmla="*/ 26 h 123"/>
                <a:gd name="T56" fmla="*/ 214 w 286"/>
                <a:gd name="T57" fmla="*/ 32 h 123"/>
                <a:gd name="T58" fmla="*/ 194 w 286"/>
                <a:gd name="T59" fmla="*/ 20 h 123"/>
                <a:gd name="T60" fmla="*/ 166 w 286"/>
                <a:gd name="T61" fmla="*/ 3 h 123"/>
                <a:gd name="T62" fmla="*/ 145 w 286"/>
                <a:gd name="T63" fmla="*/ 4 h 123"/>
                <a:gd name="T64" fmla="*/ 124 w 286"/>
                <a:gd name="T65" fmla="*/ 10 h 123"/>
                <a:gd name="T66" fmla="*/ 120 w 286"/>
                <a:gd name="T67" fmla="*/ 10 h 123"/>
                <a:gd name="T68" fmla="*/ 119 w 286"/>
                <a:gd name="T69" fmla="*/ 12 h 123"/>
                <a:gd name="T70" fmla="*/ 123 w 286"/>
                <a:gd name="T71" fmla="*/ 55 h 123"/>
                <a:gd name="T72" fmla="*/ 86 w 286"/>
                <a:gd name="T73" fmla="*/ 52 h 123"/>
                <a:gd name="T74" fmla="*/ 79 w 286"/>
                <a:gd name="T75" fmla="*/ 37 h 123"/>
                <a:gd name="T76" fmla="*/ 56 w 286"/>
                <a:gd name="T77" fmla="*/ 18 h 123"/>
                <a:gd name="T78" fmla="*/ 21 w 286"/>
                <a:gd name="T79" fmla="*/ 30 h 123"/>
                <a:gd name="T80" fmla="*/ 16 w 286"/>
                <a:gd name="T81" fmla="*/ 46 h 123"/>
                <a:gd name="T82" fmla="*/ 0 w 286"/>
                <a:gd name="T83" fmla="*/ 69 h 123"/>
                <a:gd name="T84" fmla="*/ 6 w 286"/>
                <a:gd name="T85" fmla="*/ 104 h 123"/>
                <a:gd name="T86" fmla="*/ 5 w 286"/>
                <a:gd name="T87" fmla="*/ 97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6" h="123">
                  <a:moveTo>
                    <a:pt x="5" y="97"/>
                  </a:moveTo>
                  <a:cubicBezTo>
                    <a:pt x="8" y="95"/>
                    <a:pt x="12" y="93"/>
                    <a:pt x="18" y="92"/>
                  </a:cubicBezTo>
                  <a:cubicBezTo>
                    <a:pt x="38" y="89"/>
                    <a:pt x="45" y="89"/>
                    <a:pt x="51" y="86"/>
                  </a:cubicBezTo>
                  <a:cubicBezTo>
                    <a:pt x="57" y="83"/>
                    <a:pt x="59" y="81"/>
                    <a:pt x="65" y="83"/>
                  </a:cubicBezTo>
                  <a:cubicBezTo>
                    <a:pt x="71" y="85"/>
                    <a:pt x="78" y="90"/>
                    <a:pt x="78" y="90"/>
                  </a:cubicBezTo>
                  <a:cubicBezTo>
                    <a:pt x="78" y="90"/>
                    <a:pt x="83" y="89"/>
                    <a:pt x="86" y="88"/>
                  </a:cubicBezTo>
                  <a:cubicBezTo>
                    <a:pt x="89" y="87"/>
                    <a:pt x="109" y="94"/>
                    <a:pt x="109" y="94"/>
                  </a:cubicBezTo>
                  <a:cubicBezTo>
                    <a:pt x="109" y="94"/>
                    <a:pt x="113" y="89"/>
                    <a:pt x="118" y="89"/>
                  </a:cubicBezTo>
                  <a:cubicBezTo>
                    <a:pt x="123" y="89"/>
                    <a:pt x="125" y="93"/>
                    <a:pt x="133" y="93"/>
                  </a:cubicBezTo>
                  <a:cubicBezTo>
                    <a:pt x="141" y="93"/>
                    <a:pt x="144" y="85"/>
                    <a:pt x="150" y="85"/>
                  </a:cubicBezTo>
                  <a:cubicBezTo>
                    <a:pt x="156" y="85"/>
                    <a:pt x="162" y="98"/>
                    <a:pt x="162" y="98"/>
                  </a:cubicBezTo>
                  <a:cubicBezTo>
                    <a:pt x="162" y="98"/>
                    <a:pt x="183" y="99"/>
                    <a:pt x="189" y="101"/>
                  </a:cubicBezTo>
                  <a:cubicBezTo>
                    <a:pt x="195" y="103"/>
                    <a:pt x="200" y="111"/>
                    <a:pt x="200" y="111"/>
                  </a:cubicBezTo>
                  <a:cubicBezTo>
                    <a:pt x="215" y="119"/>
                    <a:pt x="215" y="119"/>
                    <a:pt x="215" y="119"/>
                  </a:cubicBezTo>
                  <a:cubicBezTo>
                    <a:pt x="227" y="123"/>
                    <a:pt x="227" y="123"/>
                    <a:pt x="227" y="123"/>
                  </a:cubicBezTo>
                  <a:cubicBezTo>
                    <a:pt x="233" y="118"/>
                    <a:pt x="240" y="113"/>
                    <a:pt x="243" y="113"/>
                  </a:cubicBezTo>
                  <a:cubicBezTo>
                    <a:pt x="248" y="113"/>
                    <a:pt x="259" y="119"/>
                    <a:pt x="259" y="119"/>
                  </a:cubicBezTo>
                  <a:cubicBezTo>
                    <a:pt x="259" y="119"/>
                    <a:pt x="264" y="110"/>
                    <a:pt x="264" y="113"/>
                  </a:cubicBezTo>
                  <a:cubicBezTo>
                    <a:pt x="264" y="116"/>
                    <a:pt x="278" y="100"/>
                    <a:pt x="278" y="100"/>
                  </a:cubicBezTo>
                  <a:cubicBezTo>
                    <a:pt x="278" y="100"/>
                    <a:pt x="282" y="101"/>
                    <a:pt x="286" y="101"/>
                  </a:cubicBezTo>
                  <a:cubicBezTo>
                    <a:pt x="286" y="97"/>
                    <a:pt x="286" y="87"/>
                    <a:pt x="280" y="82"/>
                  </a:cubicBezTo>
                  <a:cubicBezTo>
                    <a:pt x="273" y="76"/>
                    <a:pt x="268" y="65"/>
                    <a:pt x="268" y="65"/>
                  </a:cubicBezTo>
                  <a:cubicBezTo>
                    <a:pt x="255" y="61"/>
                    <a:pt x="255" y="61"/>
                    <a:pt x="255" y="61"/>
                  </a:cubicBezTo>
                  <a:cubicBezTo>
                    <a:pt x="256" y="52"/>
                    <a:pt x="256" y="52"/>
                    <a:pt x="256" y="52"/>
                  </a:cubicBezTo>
                  <a:cubicBezTo>
                    <a:pt x="256" y="52"/>
                    <a:pt x="269" y="50"/>
                    <a:pt x="268" y="45"/>
                  </a:cubicBezTo>
                  <a:cubicBezTo>
                    <a:pt x="267" y="40"/>
                    <a:pt x="246" y="30"/>
                    <a:pt x="246" y="30"/>
                  </a:cubicBezTo>
                  <a:cubicBezTo>
                    <a:pt x="238" y="31"/>
                    <a:pt x="238" y="31"/>
                    <a:pt x="238" y="31"/>
                  </a:cubicBezTo>
                  <a:cubicBezTo>
                    <a:pt x="238" y="31"/>
                    <a:pt x="228" y="27"/>
                    <a:pt x="225" y="26"/>
                  </a:cubicBezTo>
                  <a:cubicBezTo>
                    <a:pt x="222" y="25"/>
                    <a:pt x="220" y="32"/>
                    <a:pt x="214" y="32"/>
                  </a:cubicBezTo>
                  <a:cubicBezTo>
                    <a:pt x="208" y="32"/>
                    <a:pt x="205" y="29"/>
                    <a:pt x="194" y="20"/>
                  </a:cubicBezTo>
                  <a:cubicBezTo>
                    <a:pt x="183" y="11"/>
                    <a:pt x="181" y="6"/>
                    <a:pt x="166" y="3"/>
                  </a:cubicBezTo>
                  <a:cubicBezTo>
                    <a:pt x="151" y="0"/>
                    <a:pt x="145" y="4"/>
                    <a:pt x="145" y="4"/>
                  </a:cubicBezTo>
                  <a:cubicBezTo>
                    <a:pt x="124" y="10"/>
                    <a:pt x="124" y="10"/>
                    <a:pt x="124" y="10"/>
                  </a:cubicBezTo>
                  <a:cubicBezTo>
                    <a:pt x="120" y="10"/>
                    <a:pt x="120" y="10"/>
                    <a:pt x="120" y="10"/>
                  </a:cubicBezTo>
                  <a:cubicBezTo>
                    <a:pt x="119" y="12"/>
                    <a:pt x="119" y="12"/>
                    <a:pt x="119" y="12"/>
                  </a:cubicBezTo>
                  <a:cubicBezTo>
                    <a:pt x="119" y="12"/>
                    <a:pt x="136" y="55"/>
                    <a:pt x="123" y="55"/>
                  </a:cubicBezTo>
                  <a:cubicBezTo>
                    <a:pt x="110" y="55"/>
                    <a:pt x="86" y="52"/>
                    <a:pt x="86" y="52"/>
                  </a:cubicBezTo>
                  <a:cubicBezTo>
                    <a:pt x="79" y="37"/>
                    <a:pt x="79" y="37"/>
                    <a:pt x="79" y="37"/>
                  </a:cubicBezTo>
                  <a:cubicBezTo>
                    <a:pt x="56" y="18"/>
                    <a:pt x="56" y="18"/>
                    <a:pt x="56" y="18"/>
                  </a:cubicBezTo>
                  <a:cubicBezTo>
                    <a:pt x="56" y="18"/>
                    <a:pt x="24" y="23"/>
                    <a:pt x="21" y="30"/>
                  </a:cubicBezTo>
                  <a:cubicBezTo>
                    <a:pt x="18" y="37"/>
                    <a:pt x="16" y="46"/>
                    <a:pt x="16" y="46"/>
                  </a:cubicBezTo>
                  <a:cubicBezTo>
                    <a:pt x="16" y="46"/>
                    <a:pt x="0" y="64"/>
                    <a:pt x="0" y="69"/>
                  </a:cubicBezTo>
                  <a:cubicBezTo>
                    <a:pt x="0" y="74"/>
                    <a:pt x="6" y="104"/>
                    <a:pt x="6" y="104"/>
                  </a:cubicBezTo>
                  <a:cubicBezTo>
                    <a:pt x="6" y="104"/>
                    <a:pt x="5" y="101"/>
                    <a:pt x="5" y="97"/>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28" name="Freeform 89"/>
            <p:cNvSpPr>
              <a:spLocks/>
            </p:cNvSpPr>
            <p:nvPr/>
          </p:nvSpPr>
          <p:spPr bwMode="gray">
            <a:xfrm>
              <a:off x="4714875" y="1927225"/>
              <a:ext cx="236537" cy="269875"/>
            </a:xfrm>
            <a:custGeom>
              <a:avLst/>
              <a:gdLst>
                <a:gd name="T0" fmla="*/ 88 w 422"/>
                <a:gd name="T1" fmla="*/ 64 h 480"/>
                <a:gd name="T2" fmla="*/ 64 w 422"/>
                <a:gd name="T3" fmla="*/ 59 h 480"/>
                <a:gd name="T4" fmla="*/ 40 w 422"/>
                <a:gd name="T5" fmla="*/ 47 h 480"/>
                <a:gd name="T6" fmla="*/ 16 w 422"/>
                <a:gd name="T7" fmla="*/ 36 h 480"/>
                <a:gd name="T8" fmla="*/ 2 w 422"/>
                <a:gd name="T9" fmla="*/ 40 h 480"/>
                <a:gd name="T10" fmla="*/ 17 w 422"/>
                <a:gd name="T11" fmla="*/ 56 h 480"/>
                <a:gd name="T12" fmla="*/ 48 w 422"/>
                <a:gd name="T13" fmla="*/ 72 h 480"/>
                <a:gd name="T14" fmla="*/ 92 w 422"/>
                <a:gd name="T15" fmla="*/ 85 h 480"/>
                <a:gd name="T16" fmla="*/ 103 w 422"/>
                <a:gd name="T17" fmla="*/ 114 h 480"/>
                <a:gd name="T18" fmla="*/ 107 w 422"/>
                <a:gd name="T19" fmla="*/ 132 h 480"/>
                <a:gd name="T20" fmla="*/ 113 w 422"/>
                <a:gd name="T21" fmla="*/ 165 h 480"/>
                <a:gd name="T22" fmla="*/ 138 w 422"/>
                <a:gd name="T23" fmla="*/ 204 h 480"/>
                <a:gd name="T24" fmla="*/ 179 w 422"/>
                <a:gd name="T25" fmla="*/ 217 h 480"/>
                <a:gd name="T26" fmla="*/ 167 w 422"/>
                <a:gd name="T27" fmla="*/ 234 h 480"/>
                <a:gd name="T28" fmla="*/ 119 w 422"/>
                <a:gd name="T29" fmla="*/ 283 h 480"/>
                <a:gd name="T30" fmla="*/ 81 w 422"/>
                <a:gd name="T31" fmla="*/ 309 h 480"/>
                <a:gd name="T32" fmla="*/ 45 w 422"/>
                <a:gd name="T33" fmla="*/ 336 h 480"/>
                <a:gd name="T34" fmla="*/ 49 w 422"/>
                <a:gd name="T35" fmla="*/ 364 h 480"/>
                <a:gd name="T36" fmla="*/ 62 w 422"/>
                <a:gd name="T37" fmla="*/ 393 h 480"/>
                <a:gd name="T38" fmla="*/ 71 w 422"/>
                <a:gd name="T39" fmla="*/ 452 h 480"/>
                <a:gd name="T40" fmla="*/ 114 w 422"/>
                <a:gd name="T41" fmla="*/ 460 h 480"/>
                <a:gd name="T42" fmla="*/ 180 w 422"/>
                <a:gd name="T43" fmla="*/ 475 h 480"/>
                <a:gd name="T44" fmla="*/ 222 w 422"/>
                <a:gd name="T45" fmla="*/ 465 h 480"/>
                <a:gd name="T46" fmla="*/ 304 w 422"/>
                <a:gd name="T47" fmla="*/ 451 h 480"/>
                <a:gd name="T48" fmla="*/ 305 w 422"/>
                <a:gd name="T49" fmla="*/ 441 h 480"/>
                <a:gd name="T50" fmla="*/ 382 w 422"/>
                <a:gd name="T51" fmla="*/ 381 h 480"/>
                <a:gd name="T52" fmla="*/ 421 w 422"/>
                <a:gd name="T53" fmla="*/ 340 h 480"/>
                <a:gd name="T54" fmla="*/ 360 w 422"/>
                <a:gd name="T55" fmla="*/ 295 h 480"/>
                <a:gd name="T56" fmla="*/ 368 w 422"/>
                <a:gd name="T57" fmla="*/ 265 h 480"/>
                <a:gd name="T58" fmla="*/ 359 w 422"/>
                <a:gd name="T59" fmla="*/ 247 h 480"/>
                <a:gd name="T60" fmla="*/ 339 w 422"/>
                <a:gd name="T61" fmla="*/ 228 h 480"/>
                <a:gd name="T62" fmla="*/ 337 w 422"/>
                <a:gd name="T63" fmla="*/ 202 h 480"/>
                <a:gd name="T64" fmla="*/ 312 w 422"/>
                <a:gd name="T65" fmla="*/ 156 h 480"/>
                <a:gd name="T66" fmla="*/ 316 w 422"/>
                <a:gd name="T67" fmla="*/ 133 h 480"/>
                <a:gd name="T68" fmla="*/ 312 w 422"/>
                <a:gd name="T69" fmla="*/ 98 h 480"/>
                <a:gd name="T70" fmla="*/ 275 w 422"/>
                <a:gd name="T71" fmla="*/ 82 h 480"/>
                <a:gd name="T72" fmla="*/ 282 w 422"/>
                <a:gd name="T73" fmla="*/ 62 h 480"/>
                <a:gd name="T74" fmla="*/ 280 w 422"/>
                <a:gd name="T75" fmla="*/ 36 h 480"/>
                <a:gd name="T76" fmla="*/ 271 w 422"/>
                <a:gd name="T77" fmla="*/ 13 h 480"/>
                <a:gd name="T78" fmla="*/ 240 w 422"/>
                <a:gd name="T79" fmla="*/ 1 h 480"/>
                <a:gd name="T80" fmla="*/ 198 w 422"/>
                <a:gd name="T81" fmla="*/ 5 h 480"/>
                <a:gd name="T82" fmla="*/ 173 w 422"/>
                <a:gd name="T83" fmla="*/ 30 h 480"/>
                <a:gd name="T84" fmla="*/ 157 w 422"/>
                <a:gd name="T85" fmla="*/ 50 h 480"/>
                <a:gd name="T86" fmla="*/ 123 w 422"/>
                <a:gd name="T87" fmla="*/ 5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22" h="480">
                  <a:moveTo>
                    <a:pt x="107" y="59"/>
                  </a:moveTo>
                  <a:cubicBezTo>
                    <a:pt x="107" y="59"/>
                    <a:pt x="98" y="67"/>
                    <a:pt x="88" y="64"/>
                  </a:cubicBezTo>
                  <a:cubicBezTo>
                    <a:pt x="78" y="61"/>
                    <a:pt x="78" y="61"/>
                    <a:pt x="78" y="61"/>
                  </a:cubicBezTo>
                  <a:cubicBezTo>
                    <a:pt x="78" y="61"/>
                    <a:pt x="78" y="60"/>
                    <a:pt x="64" y="59"/>
                  </a:cubicBezTo>
                  <a:cubicBezTo>
                    <a:pt x="50" y="58"/>
                    <a:pt x="49" y="48"/>
                    <a:pt x="49" y="48"/>
                  </a:cubicBezTo>
                  <a:cubicBezTo>
                    <a:pt x="40" y="47"/>
                    <a:pt x="40" y="47"/>
                    <a:pt x="40" y="47"/>
                  </a:cubicBezTo>
                  <a:cubicBezTo>
                    <a:pt x="40" y="47"/>
                    <a:pt x="31" y="33"/>
                    <a:pt x="27" y="33"/>
                  </a:cubicBezTo>
                  <a:cubicBezTo>
                    <a:pt x="23" y="33"/>
                    <a:pt x="16" y="36"/>
                    <a:pt x="16" y="36"/>
                  </a:cubicBezTo>
                  <a:cubicBezTo>
                    <a:pt x="14" y="45"/>
                    <a:pt x="14" y="45"/>
                    <a:pt x="14" y="45"/>
                  </a:cubicBezTo>
                  <a:cubicBezTo>
                    <a:pt x="2" y="40"/>
                    <a:pt x="2" y="40"/>
                    <a:pt x="2" y="40"/>
                  </a:cubicBezTo>
                  <a:cubicBezTo>
                    <a:pt x="0" y="45"/>
                    <a:pt x="0" y="45"/>
                    <a:pt x="0" y="45"/>
                  </a:cubicBezTo>
                  <a:cubicBezTo>
                    <a:pt x="0" y="45"/>
                    <a:pt x="7" y="52"/>
                    <a:pt x="17" y="56"/>
                  </a:cubicBezTo>
                  <a:cubicBezTo>
                    <a:pt x="27" y="60"/>
                    <a:pt x="40" y="64"/>
                    <a:pt x="40" y="64"/>
                  </a:cubicBezTo>
                  <a:cubicBezTo>
                    <a:pt x="48" y="72"/>
                    <a:pt x="48" y="72"/>
                    <a:pt x="48" y="72"/>
                  </a:cubicBezTo>
                  <a:cubicBezTo>
                    <a:pt x="70" y="73"/>
                    <a:pt x="70" y="73"/>
                    <a:pt x="70" y="73"/>
                  </a:cubicBezTo>
                  <a:cubicBezTo>
                    <a:pt x="92" y="85"/>
                    <a:pt x="92" y="85"/>
                    <a:pt x="92" y="85"/>
                  </a:cubicBezTo>
                  <a:cubicBezTo>
                    <a:pt x="92" y="85"/>
                    <a:pt x="110" y="90"/>
                    <a:pt x="109" y="95"/>
                  </a:cubicBezTo>
                  <a:cubicBezTo>
                    <a:pt x="108" y="100"/>
                    <a:pt x="103" y="114"/>
                    <a:pt x="103" y="114"/>
                  </a:cubicBezTo>
                  <a:cubicBezTo>
                    <a:pt x="111" y="119"/>
                    <a:pt x="111" y="119"/>
                    <a:pt x="111" y="119"/>
                  </a:cubicBezTo>
                  <a:cubicBezTo>
                    <a:pt x="107" y="132"/>
                    <a:pt x="107" y="132"/>
                    <a:pt x="107" y="132"/>
                  </a:cubicBezTo>
                  <a:cubicBezTo>
                    <a:pt x="124" y="142"/>
                    <a:pt x="124" y="142"/>
                    <a:pt x="124" y="142"/>
                  </a:cubicBezTo>
                  <a:cubicBezTo>
                    <a:pt x="124" y="142"/>
                    <a:pt x="111" y="157"/>
                    <a:pt x="113" y="165"/>
                  </a:cubicBezTo>
                  <a:cubicBezTo>
                    <a:pt x="115" y="173"/>
                    <a:pt x="130" y="183"/>
                    <a:pt x="130" y="183"/>
                  </a:cubicBezTo>
                  <a:cubicBezTo>
                    <a:pt x="138" y="204"/>
                    <a:pt x="138" y="204"/>
                    <a:pt x="138" y="204"/>
                  </a:cubicBezTo>
                  <a:cubicBezTo>
                    <a:pt x="148" y="198"/>
                    <a:pt x="148" y="198"/>
                    <a:pt x="148" y="198"/>
                  </a:cubicBezTo>
                  <a:cubicBezTo>
                    <a:pt x="148" y="198"/>
                    <a:pt x="177" y="205"/>
                    <a:pt x="179" y="217"/>
                  </a:cubicBezTo>
                  <a:cubicBezTo>
                    <a:pt x="181" y="229"/>
                    <a:pt x="182" y="239"/>
                    <a:pt x="182" y="239"/>
                  </a:cubicBezTo>
                  <a:cubicBezTo>
                    <a:pt x="182" y="239"/>
                    <a:pt x="170" y="233"/>
                    <a:pt x="167" y="234"/>
                  </a:cubicBezTo>
                  <a:cubicBezTo>
                    <a:pt x="164" y="235"/>
                    <a:pt x="142" y="260"/>
                    <a:pt x="142" y="260"/>
                  </a:cubicBezTo>
                  <a:cubicBezTo>
                    <a:pt x="119" y="283"/>
                    <a:pt x="119" y="283"/>
                    <a:pt x="119" y="283"/>
                  </a:cubicBezTo>
                  <a:cubicBezTo>
                    <a:pt x="96" y="288"/>
                    <a:pt x="96" y="288"/>
                    <a:pt x="96" y="288"/>
                  </a:cubicBezTo>
                  <a:cubicBezTo>
                    <a:pt x="96" y="288"/>
                    <a:pt x="81" y="300"/>
                    <a:pt x="81" y="309"/>
                  </a:cubicBezTo>
                  <a:cubicBezTo>
                    <a:pt x="81" y="318"/>
                    <a:pt x="61" y="318"/>
                    <a:pt x="61" y="318"/>
                  </a:cubicBezTo>
                  <a:cubicBezTo>
                    <a:pt x="45" y="336"/>
                    <a:pt x="45" y="336"/>
                    <a:pt x="45" y="336"/>
                  </a:cubicBezTo>
                  <a:cubicBezTo>
                    <a:pt x="45" y="336"/>
                    <a:pt x="41" y="348"/>
                    <a:pt x="43" y="352"/>
                  </a:cubicBezTo>
                  <a:cubicBezTo>
                    <a:pt x="45" y="356"/>
                    <a:pt x="49" y="364"/>
                    <a:pt x="49" y="364"/>
                  </a:cubicBezTo>
                  <a:cubicBezTo>
                    <a:pt x="47" y="380"/>
                    <a:pt x="47" y="380"/>
                    <a:pt x="47" y="380"/>
                  </a:cubicBezTo>
                  <a:cubicBezTo>
                    <a:pt x="62" y="393"/>
                    <a:pt x="62" y="393"/>
                    <a:pt x="62" y="393"/>
                  </a:cubicBezTo>
                  <a:cubicBezTo>
                    <a:pt x="62" y="393"/>
                    <a:pt x="52" y="425"/>
                    <a:pt x="56" y="434"/>
                  </a:cubicBezTo>
                  <a:cubicBezTo>
                    <a:pt x="60" y="443"/>
                    <a:pt x="71" y="452"/>
                    <a:pt x="71" y="452"/>
                  </a:cubicBezTo>
                  <a:cubicBezTo>
                    <a:pt x="86" y="463"/>
                    <a:pt x="86" y="463"/>
                    <a:pt x="86" y="463"/>
                  </a:cubicBezTo>
                  <a:cubicBezTo>
                    <a:pt x="114" y="460"/>
                    <a:pt x="114" y="460"/>
                    <a:pt x="114" y="460"/>
                  </a:cubicBezTo>
                  <a:cubicBezTo>
                    <a:pt x="114" y="460"/>
                    <a:pt x="105" y="476"/>
                    <a:pt x="125" y="478"/>
                  </a:cubicBezTo>
                  <a:cubicBezTo>
                    <a:pt x="145" y="480"/>
                    <a:pt x="180" y="475"/>
                    <a:pt x="180" y="475"/>
                  </a:cubicBezTo>
                  <a:cubicBezTo>
                    <a:pt x="199" y="465"/>
                    <a:pt x="199" y="465"/>
                    <a:pt x="199" y="465"/>
                  </a:cubicBezTo>
                  <a:cubicBezTo>
                    <a:pt x="222" y="465"/>
                    <a:pt x="222" y="465"/>
                    <a:pt x="222" y="465"/>
                  </a:cubicBezTo>
                  <a:cubicBezTo>
                    <a:pt x="255" y="448"/>
                    <a:pt x="255" y="448"/>
                    <a:pt x="255" y="448"/>
                  </a:cubicBezTo>
                  <a:cubicBezTo>
                    <a:pt x="304" y="451"/>
                    <a:pt x="304" y="451"/>
                    <a:pt x="304" y="451"/>
                  </a:cubicBezTo>
                  <a:cubicBezTo>
                    <a:pt x="309" y="448"/>
                    <a:pt x="309" y="448"/>
                    <a:pt x="309" y="448"/>
                  </a:cubicBezTo>
                  <a:cubicBezTo>
                    <a:pt x="305" y="441"/>
                    <a:pt x="305" y="441"/>
                    <a:pt x="305" y="441"/>
                  </a:cubicBezTo>
                  <a:cubicBezTo>
                    <a:pt x="305" y="441"/>
                    <a:pt x="346" y="417"/>
                    <a:pt x="350" y="412"/>
                  </a:cubicBezTo>
                  <a:cubicBezTo>
                    <a:pt x="354" y="407"/>
                    <a:pt x="382" y="381"/>
                    <a:pt x="382" y="381"/>
                  </a:cubicBezTo>
                  <a:cubicBezTo>
                    <a:pt x="382" y="381"/>
                    <a:pt x="403" y="369"/>
                    <a:pt x="407" y="362"/>
                  </a:cubicBezTo>
                  <a:cubicBezTo>
                    <a:pt x="411" y="355"/>
                    <a:pt x="420" y="348"/>
                    <a:pt x="421" y="340"/>
                  </a:cubicBezTo>
                  <a:cubicBezTo>
                    <a:pt x="422" y="332"/>
                    <a:pt x="399" y="313"/>
                    <a:pt x="399" y="313"/>
                  </a:cubicBezTo>
                  <a:cubicBezTo>
                    <a:pt x="360" y="295"/>
                    <a:pt x="360" y="295"/>
                    <a:pt x="360" y="295"/>
                  </a:cubicBezTo>
                  <a:cubicBezTo>
                    <a:pt x="360" y="295"/>
                    <a:pt x="381" y="281"/>
                    <a:pt x="380" y="277"/>
                  </a:cubicBezTo>
                  <a:cubicBezTo>
                    <a:pt x="379" y="273"/>
                    <a:pt x="368" y="265"/>
                    <a:pt x="368" y="265"/>
                  </a:cubicBezTo>
                  <a:cubicBezTo>
                    <a:pt x="353" y="262"/>
                    <a:pt x="353" y="262"/>
                    <a:pt x="353" y="262"/>
                  </a:cubicBezTo>
                  <a:cubicBezTo>
                    <a:pt x="353" y="262"/>
                    <a:pt x="360" y="251"/>
                    <a:pt x="359" y="247"/>
                  </a:cubicBezTo>
                  <a:cubicBezTo>
                    <a:pt x="358" y="243"/>
                    <a:pt x="339" y="238"/>
                    <a:pt x="339" y="238"/>
                  </a:cubicBezTo>
                  <a:cubicBezTo>
                    <a:pt x="339" y="228"/>
                    <a:pt x="339" y="228"/>
                    <a:pt x="339" y="228"/>
                  </a:cubicBezTo>
                  <a:cubicBezTo>
                    <a:pt x="332" y="222"/>
                    <a:pt x="332" y="222"/>
                    <a:pt x="332" y="222"/>
                  </a:cubicBezTo>
                  <a:cubicBezTo>
                    <a:pt x="337" y="202"/>
                    <a:pt x="337" y="202"/>
                    <a:pt x="337" y="202"/>
                  </a:cubicBezTo>
                  <a:cubicBezTo>
                    <a:pt x="337" y="202"/>
                    <a:pt x="365" y="208"/>
                    <a:pt x="359" y="198"/>
                  </a:cubicBezTo>
                  <a:cubicBezTo>
                    <a:pt x="353" y="188"/>
                    <a:pt x="312" y="156"/>
                    <a:pt x="312" y="156"/>
                  </a:cubicBezTo>
                  <a:cubicBezTo>
                    <a:pt x="299" y="145"/>
                    <a:pt x="299" y="145"/>
                    <a:pt x="299" y="145"/>
                  </a:cubicBezTo>
                  <a:cubicBezTo>
                    <a:pt x="299" y="145"/>
                    <a:pt x="316" y="138"/>
                    <a:pt x="316" y="133"/>
                  </a:cubicBezTo>
                  <a:cubicBezTo>
                    <a:pt x="316" y="128"/>
                    <a:pt x="340" y="126"/>
                    <a:pt x="331" y="116"/>
                  </a:cubicBezTo>
                  <a:cubicBezTo>
                    <a:pt x="322" y="106"/>
                    <a:pt x="316" y="103"/>
                    <a:pt x="312" y="98"/>
                  </a:cubicBezTo>
                  <a:cubicBezTo>
                    <a:pt x="308" y="93"/>
                    <a:pt x="303" y="86"/>
                    <a:pt x="297" y="86"/>
                  </a:cubicBezTo>
                  <a:cubicBezTo>
                    <a:pt x="291" y="86"/>
                    <a:pt x="277" y="94"/>
                    <a:pt x="275" y="82"/>
                  </a:cubicBezTo>
                  <a:cubicBezTo>
                    <a:pt x="273" y="70"/>
                    <a:pt x="270" y="67"/>
                    <a:pt x="270" y="67"/>
                  </a:cubicBezTo>
                  <a:cubicBezTo>
                    <a:pt x="270" y="67"/>
                    <a:pt x="283" y="65"/>
                    <a:pt x="282" y="62"/>
                  </a:cubicBezTo>
                  <a:cubicBezTo>
                    <a:pt x="281" y="59"/>
                    <a:pt x="277" y="53"/>
                    <a:pt x="277" y="53"/>
                  </a:cubicBezTo>
                  <a:cubicBezTo>
                    <a:pt x="280" y="36"/>
                    <a:pt x="280" y="36"/>
                    <a:pt x="280" y="36"/>
                  </a:cubicBezTo>
                  <a:cubicBezTo>
                    <a:pt x="280" y="36"/>
                    <a:pt x="293" y="48"/>
                    <a:pt x="289" y="31"/>
                  </a:cubicBezTo>
                  <a:cubicBezTo>
                    <a:pt x="285" y="14"/>
                    <a:pt x="271" y="13"/>
                    <a:pt x="271" y="13"/>
                  </a:cubicBezTo>
                  <a:cubicBezTo>
                    <a:pt x="248" y="8"/>
                    <a:pt x="248" y="8"/>
                    <a:pt x="248" y="8"/>
                  </a:cubicBezTo>
                  <a:cubicBezTo>
                    <a:pt x="248" y="8"/>
                    <a:pt x="255" y="2"/>
                    <a:pt x="240" y="1"/>
                  </a:cubicBezTo>
                  <a:cubicBezTo>
                    <a:pt x="225" y="0"/>
                    <a:pt x="214" y="7"/>
                    <a:pt x="214" y="7"/>
                  </a:cubicBezTo>
                  <a:cubicBezTo>
                    <a:pt x="214" y="7"/>
                    <a:pt x="203" y="6"/>
                    <a:pt x="198" y="5"/>
                  </a:cubicBezTo>
                  <a:cubicBezTo>
                    <a:pt x="193" y="4"/>
                    <a:pt x="176" y="13"/>
                    <a:pt x="176" y="13"/>
                  </a:cubicBezTo>
                  <a:cubicBezTo>
                    <a:pt x="176" y="13"/>
                    <a:pt x="172" y="26"/>
                    <a:pt x="173" y="30"/>
                  </a:cubicBezTo>
                  <a:cubicBezTo>
                    <a:pt x="174" y="34"/>
                    <a:pt x="173" y="50"/>
                    <a:pt x="173" y="50"/>
                  </a:cubicBezTo>
                  <a:cubicBezTo>
                    <a:pt x="173" y="50"/>
                    <a:pt x="164" y="45"/>
                    <a:pt x="157" y="50"/>
                  </a:cubicBezTo>
                  <a:cubicBezTo>
                    <a:pt x="150" y="55"/>
                    <a:pt x="156" y="65"/>
                    <a:pt x="148" y="65"/>
                  </a:cubicBezTo>
                  <a:cubicBezTo>
                    <a:pt x="140" y="65"/>
                    <a:pt x="128" y="57"/>
                    <a:pt x="123" y="56"/>
                  </a:cubicBezTo>
                  <a:cubicBezTo>
                    <a:pt x="118" y="55"/>
                    <a:pt x="107" y="59"/>
                    <a:pt x="107" y="59"/>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29" name="Freeform 90"/>
            <p:cNvSpPr>
              <a:spLocks/>
            </p:cNvSpPr>
            <p:nvPr/>
          </p:nvSpPr>
          <p:spPr bwMode="gray">
            <a:xfrm>
              <a:off x="5137150" y="2998788"/>
              <a:ext cx="17462" cy="39688"/>
            </a:xfrm>
            <a:custGeom>
              <a:avLst/>
              <a:gdLst>
                <a:gd name="T0" fmla="*/ 21 w 32"/>
                <a:gd name="T1" fmla="*/ 54 h 70"/>
                <a:gd name="T2" fmla="*/ 27 w 32"/>
                <a:gd name="T3" fmla="*/ 56 h 70"/>
                <a:gd name="T4" fmla="*/ 32 w 32"/>
                <a:gd name="T5" fmla="*/ 47 h 70"/>
                <a:gd name="T6" fmla="*/ 31 w 32"/>
                <a:gd name="T7" fmla="*/ 1 h 70"/>
                <a:gd name="T8" fmla="*/ 13 w 32"/>
                <a:gd name="T9" fmla="*/ 2 h 70"/>
                <a:gd name="T10" fmla="*/ 6 w 32"/>
                <a:gd name="T11" fmla="*/ 21 h 70"/>
                <a:gd name="T12" fmla="*/ 6 w 32"/>
                <a:gd name="T13" fmla="*/ 40 h 70"/>
                <a:gd name="T14" fmla="*/ 7 w 32"/>
                <a:gd name="T15" fmla="*/ 62 h 70"/>
                <a:gd name="T16" fmla="*/ 21 w 32"/>
                <a:gd name="T17" fmla="*/ 5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70">
                  <a:moveTo>
                    <a:pt x="21" y="54"/>
                  </a:moveTo>
                  <a:cubicBezTo>
                    <a:pt x="22" y="53"/>
                    <a:pt x="24" y="54"/>
                    <a:pt x="27" y="56"/>
                  </a:cubicBezTo>
                  <a:cubicBezTo>
                    <a:pt x="29" y="51"/>
                    <a:pt x="32" y="47"/>
                    <a:pt x="32" y="47"/>
                  </a:cubicBezTo>
                  <a:cubicBezTo>
                    <a:pt x="31" y="1"/>
                    <a:pt x="31" y="1"/>
                    <a:pt x="31" y="1"/>
                  </a:cubicBezTo>
                  <a:cubicBezTo>
                    <a:pt x="26" y="0"/>
                    <a:pt x="17" y="0"/>
                    <a:pt x="13" y="2"/>
                  </a:cubicBezTo>
                  <a:cubicBezTo>
                    <a:pt x="7" y="6"/>
                    <a:pt x="6" y="21"/>
                    <a:pt x="6" y="21"/>
                  </a:cubicBezTo>
                  <a:cubicBezTo>
                    <a:pt x="6" y="21"/>
                    <a:pt x="7" y="34"/>
                    <a:pt x="6" y="40"/>
                  </a:cubicBezTo>
                  <a:cubicBezTo>
                    <a:pt x="5" y="46"/>
                    <a:pt x="0" y="54"/>
                    <a:pt x="7" y="62"/>
                  </a:cubicBezTo>
                  <a:cubicBezTo>
                    <a:pt x="13" y="70"/>
                    <a:pt x="18" y="55"/>
                    <a:pt x="21" y="54"/>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30" name="Freeform 91"/>
            <p:cNvSpPr>
              <a:spLocks/>
            </p:cNvSpPr>
            <p:nvPr/>
          </p:nvSpPr>
          <p:spPr bwMode="gray">
            <a:xfrm>
              <a:off x="5145088" y="2973388"/>
              <a:ext cx="104775" cy="131763"/>
            </a:xfrm>
            <a:custGeom>
              <a:avLst/>
              <a:gdLst>
                <a:gd name="T0" fmla="*/ 169 w 186"/>
                <a:gd name="T1" fmla="*/ 44 h 236"/>
                <a:gd name="T2" fmla="*/ 169 w 186"/>
                <a:gd name="T3" fmla="*/ 30 h 236"/>
                <a:gd name="T4" fmla="*/ 157 w 186"/>
                <a:gd name="T5" fmla="*/ 0 h 236"/>
                <a:gd name="T6" fmla="*/ 73 w 186"/>
                <a:gd name="T7" fmla="*/ 57 h 236"/>
                <a:gd name="T8" fmla="*/ 45 w 186"/>
                <a:gd name="T9" fmla="*/ 45 h 236"/>
                <a:gd name="T10" fmla="*/ 23 w 186"/>
                <a:gd name="T11" fmla="*/ 33 h 236"/>
                <a:gd name="T12" fmla="*/ 19 w 186"/>
                <a:gd name="T13" fmla="*/ 36 h 236"/>
                <a:gd name="T14" fmla="*/ 16 w 186"/>
                <a:gd name="T15" fmla="*/ 45 h 236"/>
                <a:gd name="T16" fmla="*/ 17 w 186"/>
                <a:gd name="T17" fmla="*/ 93 h 236"/>
                <a:gd name="T18" fmla="*/ 10 w 186"/>
                <a:gd name="T19" fmla="*/ 107 h 236"/>
                <a:gd name="T20" fmla="*/ 16 w 186"/>
                <a:gd name="T21" fmla="*/ 115 h 236"/>
                <a:gd name="T22" fmla="*/ 15 w 186"/>
                <a:gd name="T23" fmla="*/ 134 h 236"/>
                <a:gd name="T24" fmla="*/ 4 w 186"/>
                <a:gd name="T25" fmla="*/ 158 h 236"/>
                <a:gd name="T26" fmla="*/ 0 w 186"/>
                <a:gd name="T27" fmla="*/ 211 h 236"/>
                <a:gd name="T28" fmla="*/ 2 w 186"/>
                <a:gd name="T29" fmla="*/ 217 h 236"/>
                <a:gd name="T30" fmla="*/ 3 w 186"/>
                <a:gd name="T31" fmla="*/ 217 h 236"/>
                <a:gd name="T32" fmla="*/ 55 w 186"/>
                <a:gd name="T33" fmla="*/ 225 h 236"/>
                <a:gd name="T34" fmla="*/ 77 w 186"/>
                <a:gd name="T35" fmla="*/ 185 h 236"/>
                <a:gd name="T36" fmla="*/ 108 w 186"/>
                <a:gd name="T37" fmla="*/ 180 h 236"/>
                <a:gd name="T38" fmla="*/ 122 w 186"/>
                <a:gd name="T39" fmla="*/ 147 h 236"/>
                <a:gd name="T40" fmla="*/ 96 w 186"/>
                <a:gd name="T41" fmla="*/ 108 h 236"/>
                <a:gd name="T42" fmla="*/ 64 w 186"/>
                <a:gd name="T43" fmla="*/ 100 h 236"/>
                <a:gd name="T44" fmla="*/ 96 w 186"/>
                <a:gd name="T45" fmla="*/ 94 h 236"/>
                <a:gd name="T46" fmla="*/ 124 w 186"/>
                <a:gd name="T47" fmla="*/ 94 h 236"/>
                <a:gd name="T48" fmla="*/ 132 w 186"/>
                <a:gd name="T49" fmla="*/ 80 h 236"/>
                <a:gd name="T50" fmla="*/ 166 w 186"/>
                <a:gd name="T51" fmla="*/ 76 h 236"/>
                <a:gd name="T52" fmla="*/ 185 w 186"/>
                <a:gd name="T53" fmla="*/ 62 h 236"/>
                <a:gd name="T54" fmla="*/ 186 w 186"/>
                <a:gd name="T55" fmla="*/ 53 h 236"/>
                <a:gd name="T56" fmla="*/ 169 w 186"/>
                <a:gd name="T57" fmla="*/ 44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86" h="236">
                  <a:moveTo>
                    <a:pt x="169" y="44"/>
                  </a:moveTo>
                  <a:cubicBezTo>
                    <a:pt x="169" y="30"/>
                    <a:pt x="169" y="30"/>
                    <a:pt x="169" y="30"/>
                  </a:cubicBezTo>
                  <a:cubicBezTo>
                    <a:pt x="157" y="0"/>
                    <a:pt x="157" y="0"/>
                    <a:pt x="157" y="0"/>
                  </a:cubicBezTo>
                  <a:cubicBezTo>
                    <a:pt x="154" y="2"/>
                    <a:pt x="94" y="57"/>
                    <a:pt x="73" y="57"/>
                  </a:cubicBezTo>
                  <a:cubicBezTo>
                    <a:pt x="52" y="57"/>
                    <a:pt x="45" y="45"/>
                    <a:pt x="45" y="45"/>
                  </a:cubicBezTo>
                  <a:cubicBezTo>
                    <a:pt x="23" y="33"/>
                    <a:pt x="23" y="33"/>
                    <a:pt x="23" y="33"/>
                  </a:cubicBezTo>
                  <a:cubicBezTo>
                    <a:pt x="19" y="36"/>
                    <a:pt x="19" y="36"/>
                    <a:pt x="19" y="36"/>
                  </a:cubicBezTo>
                  <a:cubicBezTo>
                    <a:pt x="16" y="45"/>
                    <a:pt x="16" y="45"/>
                    <a:pt x="16" y="45"/>
                  </a:cubicBezTo>
                  <a:cubicBezTo>
                    <a:pt x="17" y="93"/>
                    <a:pt x="17" y="93"/>
                    <a:pt x="17" y="93"/>
                  </a:cubicBezTo>
                  <a:cubicBezTo>
                    <a:pt x="17" y="93"/>
                    <a:pt x="10" y="103"/>
                    <a:pt x="10" y="107"/>
                  </a:cubicBezTo>
                  <a:cubicBezTo>
                    <a:pt x="10" y="111"/>
                    <a:pt x="12" y="111"/>
                    <a:pt x="16" y="115"/>
                  </a:cubicBezTo>
                  <a:cubicBezTo>
                    <a:pt x="20" y="119"/>
                    <a:pt x="18" y="127"/>
                    <a:pt x="15" y="134"/>
                  </a:cubicBezTo>
                  <a:cubicBezTo>
                    <a:pt x="12" y="141"/>
                    <a:pt x="4" y="146"/>
                    <a:pt x="4" y="158"/>
                  </a:cubicBezTo>
                  <a:cubicBezTo>
                    <a:pt x="4" y="170"/>
                    <a:pt x="0" y="211"/>
                    <a:pt x="0" y="211"/>
                  </a:cubicBezTo>
                  <a:cubicBezTo>
                    <a:pt x="2" y="217"/>
                    <a:pt x="2" y="217"/>
                    <a:pt x="2" y="217"/>
                  </a:cubicBezTo>
                  <a:cubicBezTo>
                    <a:pt x="2" y="217"/>
                    <a:pt x="3" y="217"/>
                    <a:pt x="3" y="217"/>
                  </a:cubicBezTo>
                  <a:cubicBezTo>
                    <a:pt x="10" y="216"/>
                    <a:pt x="41" y="236"/>
                    <a:pt x="55" y="225"/>
                  </a:cubicBezTo>
                  <a:cubicBezTo>
                    <a:pt x="69" y="214"/>
                    <a:pt x="71" y="187"/>
                    <a:pt x="77" y="185"/>
                  </a:cubicBezTo>
                  <a:cubicBezTo>
                    <a:pt x="83" y="183"/>
                    <a:pt x="100" y="187"/>
                    <a:pt x="108" y="180"/>
                  </a:cubicBezTo>
                  <a:cubicBezTo>
                    <a:pt x="116" y="173"/>
                    <a:pt x="122" y="147"/>
                    <a:pt x="122" y="147"/>
                  </a:cubicBezTo>
                  <a:cubicBezTo>
                    <a:pt x="122" y="147"/>
                    <a:pt x="103" y="112"/>
                    <a:pt x="96" y="108"/>
                  </a:cubicBezTo>
                  <a:cubicBezTo>
                    <a:pt x="89" y="104"/>
                    <a:pt x="57" y="107"/>
                    <a:pt x="64" y="100"/>
                  </a:cubicBezTo>
                  <a:cubicBezTo>
                    <a:pt x="71" y="93"/>
                    <a:pt x="96" y="94"/>
                    <a:pt x="96" y="94"/>
                  </a:cubicBezTo>
                  <a:cubicBezTo>
                    <a:pt x="124" y="94"/>
                    <a:pt x="124" y="94"/>
                    <a:pt x="124" y="94"/>
                  </a:cubicBezTo>
                  <a:cubicBezTo>
                    <a:pt x="132" y="80"/>
                    <a:pt x="132" y="80"/>
                    <a:pt x="132" y="80"/>
                  </a:cubicBezTo>
                  <a:cubicBezTo>
                    <a:pt x="132" y="80"/>
                    <a:pt x="160" y="82"/>
                    <a:pt x="166" y="76"/>
                  </a:cubicBezTo>
                  <a:cubicBezTo>
                    <a:pt x="172" y="70"/>
                    <a:pt x="185" y="62"/>
                    <a:pt x="185" y="62"/>
                  </a:cubicBezTo>
                  <a:cubicBezTo>
                    <a:pt x="186" y="53"/>
                    <a:pt x="186" y="53"/>
                    <a:pt x="186" y="53"/>
                  </a:cubicBezTo>
                  <a:lnTo>
                    <a:pt x="169" y="44"/>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31" name="Freeform 92"/>
            <p:cNvSpPr>
              <a:spLocks/>
            </p:cNvSpPr>
            <p:nvPr/>
          </p:nvSpPr>
          <p:spPr bwMode="gray">
            <a:xfrm>
              <a:off x="5122863" y="2970213"/>
              <a:ext cx="36512" cy="120650"/>
            </a:xfrm>
            <a:custGeom>
              <a:avLst/>
              <a:gdLst>
                <a:gd name="T0" fmla="*/ 0 w 67"/>
                <a:gd name="T1" fmla="*/ 113 h 216"/>
                <a:gd name="T2" fmla="*/ 36 w 67"/>
                <a:gd name="T3" fmla="*/ 206 h 216"/>
                <a:gd name="T4" fmla="*/ 41 w 67"/>
                <a:gd name="T5" fmla="*/ 216 h 216"/>
                <a:gd name="T6" fmla="*/ 45 w 67"/>
                <a:gd name="T7" fmla="*/ 163 h 216"/>
                <a:gd name="T8" fmla="*/ 56 w 67"/>
                <a:gd name="T9" fmla="*/ 139 h 216"/>
                <a:gd name="T10" fmla="*/ 57 w 67"/>
                <a:gd name="T11" fmla="*/ 120 h 216"/>
                <a:gd name="T12" fmla="*/ 51 w 67"/>
                <a:gd name="T13" fmla="*/ 112 h 216"/>
                <a:gd name="T14" fmla="*/ 53 w 67"/>
                <a:gd name="T15" fmla="*/ 107 h 216"/>
                <a:gd name="T16" fmla="*/ 47 w 67"/>
                <a:gd name="T17" fmla="*/ 105 h 216"/>
                <a:gd name="T18" fmla="*/ 33 w 67"/>
                <a:gd name="T19" fmla="*/ 113 h 216"/>
                <a:gd name="T20" fmla="*/ 32 w 67"/>
                <a:gd name="T21" fmla="*/ 91 h 216"/>
                <a:gd name="T22" fmla="*/ 32 w 67"/>
                <a:gd name="T23" fmla="*/ 72 h 216"/>
                <a:gd name="T24" fmla="*/ 39 w 67"/>
                <a:gd name="T25" fmla="*/ 53 h 216"/>
                <a:gd name="T26" fmla="*/ 57 w 67"/>
                <a:gd name="T27" fmla="*/ 52 h 216"/>
                <a:gd name="T28" fmla="*/ 57 w 67"/>
                <a:gd name="T29" fmla="*/ 50 h 216"/>
                <a:gd name="T30" fmla="*/ 60 w 67"/>
                <a:gd name="T31" fmla="*/ 41 h 216"/>
                <a:gd name="T32" fmla="*/ 57 w 67"/>
                <a:gd name="T33" fmla="*/ 11 h 216"/>
                <a:gd name="T34" fmla="*/ 67 w 67"/>
                <a:gd name="T35" fmla="*/ 0 h 216"/>
                <a:gd name="T36" fmla="*/ 52 w 67"/>
                <a:gd name="T37" fmla="*/ 3 h 216"/>
                <a:gd name="T38" fmla="*/ 48 w 67"/>
                <a:gd name="T39" fmla="*/ 20 h 216"/>
                <a:gd name="T40" fmla="*/ 34 w 67"/>
                <a:gd name="T41" fmla="*/ 21 h 216"/>
                <a:gd name="T42" fmla="*/ 27 w 67"/>
                <a:gd name="T43" fmla="*/ 34 h 216"/>
                <a:gd name="T44" fmla="*/ 22 w 67"/>
                <a:gd name="T45" fmla="*/ 39 h 216"/>
                <a:gd name="T46" fmla="*/ 27 w 67"/>
                <a:gd name="T47" fmla="*/ 63 h 216"/>
                <a:gd name="T48" fmla="*/ 13 w 67"/>
                <a:gd name="T49" fmla="*/ 89 h 216"/>
                <a:gd name="T50" fmla="*/ 11 w 67"/>
                <a:gd name="T51" fmla="*/ 105 h 216"/>
                <a:gd name="T52" fmla="*/ 0 w 67"/>
                <a:gd name="T53" fmla="*/ 11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7" h="216">
                  <a:moveTo>
                    <a:pt x="0" y="113"/>
                  </a:moveTo>
                  <a:cubicBezTo>
                    <a:pt x="36" y="206"/>
                    <a:pt x="36" y="206"/>
                    <a:pt x="36" y="206"/>
                  </a:cubicBezTo>
                  <a:cubicBezTo>
                    <a:pt x="41" y="216"/>
                    <a:pt x="41" y="216"/>
                    <a:pt x="41" y="216"/>
                  </a:cubicBezTo>
                  <a:cubicBezTo>
                    <a:pt x="41" y="216"/>
                    <a:pt x="45" y="175"/>
                    <a:pt x="45" y="163"/>
                  </a:cubicBezTo>
                  <a:cubicBezTo>
                    <a:pt x="45" y="151"/>
                    <a:pt x="53" y="146"/>
                    <a:pt x="56" y="139"/>
                  </a:cubicBezTo>
                  <a:cubicBezTo>
                    <a:pt x="59" y="132"/>
                    <a:pt x="61" y="124"/>
                    <a:pt x="57" y="120"/>
                  </a:cubicBezTo>
                  <a:cubicBezTo>
                    <a:pt x="53" y="116"/>
                    <a:pt x="51" y="116"/>
                    <a:pt x="51" y="112"/>
                  </a:cubicBezTo>
                  <a:cubicBezTo>
                    <a:pt x="51" y="111"/>
                    <a:pt x="52" y="109"/>
                    <a:pt x="53" y="107"/>
                  </a:cubicBezTo>
                  <a:cubicBezTo>
                    <a:pt x="50" y="105"/>
                    <a:pt x="48" y="104"/>
                    <a:pt x="47" y="105"/>
                  </a:cubicBezTo>
                  <a:cubicBezTo>
                    <a:pt x="44" y="106"/>
                    <a:pt x="39" y="121"/>
                    <a:pt x="33" y="113"/>
                  </a:cubicBezTo>
                  <a:cubicBezTo>
                    <a:pt x="26" y="105"/>
                    <a:pt x="31" y="97"/>
                    <a:pt x="32" y="91"/>
                  </a:cubicBezTo>
                  <a:cubicBezTo>
                    <a:pt x="33" y="85"/>
                    <a:pt x="32" y="72"/>
                    <a:pt x="32" y="72"/>
                  </a:cubicBezTo>
                  <a:cubicBezTo>
                    <a:pt x="32" y="72"/>
                    <a:pt x="33" y="57"/>
                    <a:pt x="39" y="53"/>
                  </a:cubicBezTo>
                  <a:cubicBezTo>
                    <a:pt x="43" y="51"/>
                    <a:pt x="52" y="51"/>
                    <a:pt x="57" y="52"/>
                  </a:cubicBezTo>
                  <a:cubicBezTo>
                    <a:pt x="57" y="50"/>
                    <a:pt x="57" y="50"/>
                    <a:pt x="57" y="50"/>
                  </a:cubicBezTo>
                  <a:cubicBezTo>
                    <a:pt x="60" y="41"/>
                    <a:pt x="60" y="41"/>
                    <a:pt x="60" y="41"/>
                  </a:cubicBezTo>
                  <a:cubicBezTo>
                    <a:pt x="57" y="11"/>
                    <a:pt x="57" y="11"/>
                    <a:pt x="57" y="11"/>
                  </a:cubicBezTo>
                  <a:cubicBezTo>
                    <a:pt x="67" y="0"/>
                    <a:pt x="67" y="0"/>
                    <a:pt x="67" y="0"/>
                  </a:cubicBezTo>
                  <a:cubicBezTo>
                    <a:pt x="52" y="3"/>
                    <a:pt x="52" y="3"/>
                    <a:pt x="52" y="3"/>
                  </a:cubicBezTo>
                  <a:cubicBezTo>
                    <a:pt x="52" y="3"/>
                    <a:pt x="53" y="13"/>
                    <a:pt x="48" y="20"/>
                  </a:cubicBezTo>
                  <a:cubicBezTo>
                    <a:pt x="43" y="27"/>
                    <a:pt x="34" y="21"/>
                    <a:pt x="34" y="21"/>
                  </a:cubicBezTo>
                  <a:cubicBezTo>
                    <a:pt x="27" y="34"/>
                    <a:pt x="27" y="34"/>
                    <a:pt x="27" y="34"/>
                  </a:cubicBezTo>
                  <a:cubicBezTo>
                    <a:pt x="22" y="39"/>
                    <a:pt x="22" y="39"/>
                    <a:pt x="22" y="39"/>
                  </a:cubicBezTo>
                  <a:cubicBezTo>
                    <a:pt x="23" y="52"/>
                    <a:pt x="27" y="63"/>
                    <a:pt x="27" y="63"/>
                  </a:cubicBezTo>
                  <a:cubicBezTo>
                    <a:pt x="13" y="89"/>
                    <a:pt x="13" y="89"/>
                    <a:pt x="13" y="89"/>
                  </a:cubicBezTo>
                  <a:cubicBezTo>
                    <a:pt x="11" y="105"/>
                    <a:pt x="11" y="105"/>
                    <a:pt x="11" y="105"/>
                  </a:cubicBezTo>
                  <a:lnTo>
                    <a:pt x="0" y="113"/>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32" name="Freeform 93"/>
            <p:cNvSpPr>
              <a:spLocks/>
            </p:cNvSpPr>
            <p:nvPr/>
          </p:nvSpPr>
          <p:spPr bwMode="gray">
            <a:xfrm>
              <a:off x="3803650" y="3143250"/>
              <a:ext cx="223837" cy="192088"/>
            </a:xfrm>
            <a:custGeom>
              <a:avLst/>
              <a:gdLst>
                <a:gd name="T0" fmla="*/ 364 w 401"/>
                <a:gd name="T1" fmla="*/ 0 h 343"/>
                <a:gd name="T2" fmla="*/ 192 w 401"/>
                <a:gd name="T3" fmla="*/ 0 h 343"/>
                <a:gd name="T4" fmla="*/ 186 w 401"/>
                <a:gd name="T5" fmla="*/ 12 h 343"/>
                <a:gd name="T6" fmla="*/ 176 w 401"/>
                <a:gd name="T7" fmla="*/ 47 h 343"/>
                <a:gd name="T8" fmla="*/ 160 w 401"/>
                <a:gd name="T9" fmla="*/ 61 h 343"/>
                <a:gd name="T10" fmla="*/ 140 w 401"/>
                <a:gd name="T11" fmla="*/ 66 h 343"/>
                <a:gd name="T12" fmla="*/ 125 w 401"/>
                <a:gd name="T13" fmla="*/ 72 h 343"/>
                <a:gd name="T14" fmla="*/ 123 w 401"/>
                <a:gd name="T15" fmla="*/ 97 h 343"/>
                <a:gd name="T16" fmla="*/ 104 w 401"/>
                <a:gd name="T17" fmla="*/ 122 h 343"/>
                <a:gd name="T18" fmla="*/ 108 w 401"/>
                <a:gd name="T19" fmla="*/ 158 h 343"/>
                <a:gd name="T20" fmla="*/ 92 w 401"/>
                <a:gd name="T21" fmla="*/ 171 h 343"/>
                <a:gd name="T22" fmla="*/ 78 w 401"/>
                <a:gd name="T23" fmla="*/ 190 h 343"/>
                <a:gd name="T24" fmla="*/ 58 w 401"/>
                <a:gd name="T25" fmla="*/ 201 h 343"/>
                <a:gd name="T26" fmla="*/ 52 w 401"/>
                <a:gd name="T27" fmla="*/ 212 h 343"/>
                <a:gd name="T28" fmla="*/ 60 w 401"/>
                <a:gd name="T29" fmla="*/ 216 h 343"/>
                <a:gd name="T30" fmla="*/ 45 w 401"/>
                <a:gd name="T31" fmla="*/ 237 h 343"/>
                <a:gd name="T32" fmla="*/ 41 w 401"/>
                <a:gd name="T33" fmla="*/ 259 h 343"/>
                <a:gd name="T34" fmla="*/ 32 w 401"/>
                <a:gd name="T35" fmla="*/ 259 h 343"/>
                <a:gd name="T36" fmla="*/ 31 w 401"/>
                <a:gd name="T37" fmla="*/ 281 h 343"/>
                <a:gd name="T38" fmla="*/ 18 w 401"/>
                <a:gd name="T39" fmla="*/ 286 h 343"/>
                <a:gd name="T40" fmla="*/ 1 w 401"/>
                <a:gd name="T41" fmla="*/ 318 h 343"/>
                <a:gd name="T42" fmla="*/ 0 w 401"/>
                <a:gd name="T43" fmla="*/ 343 h 343"/>
                <a:gd name="T44" fmla="*/ 186 w 401"/>
                <a:gd name="T45" fmla="*/ 341 h 343"/>
                <a:gd name="T46" fmla="*/ 187 w 401"/>
                <a:gd name="T47" fmla="*/ 272 h 343"/>
                <a:gd name="T48" fmla="*/ 189 w 401"/>
                <a:gd name="T49" fmla="*/ 247 h 343"/>
                <a:gd name="T50" fmla="*/ 208 w 401"/>
                <a:gd name="T51" fmla="*/ 236 h 343"/>
                <a:gd name="T52" fmla="*/ 235 w 401"/>
                <a:gd name="T53" fmla="*/ 231 h 343"/>
                <a:gd name="T54" fmla="*/ 238 w 401"/>
                <a:gd name="T55" fmla="*/ 101 h 343"/>
                <a:gd name="T56" fmla="*/ 243 w 401"/>
                <a:gd name="T57" fmla="*/ 98 h 343"/>
                <a:gd name="T58" fmla="*/ 243 w 401"/>
                <a:gd name="T59" fmla="*/ 88 h 343"/>
                <a:gd name="T60" fmla="*/ 391 w 401"/>
                <a:gd name="T61" fmla="*/ 87 h 343"/>
                <a:gd name="T62" fmla="*/ 392 w 401"/>
                <a:gd name="T63" fmla="*/ 62 h 343"/>
                <a:gd name="T64" fmla="*/ 397 w 401"/>
                <a:gd name="T65" fmla="*/ 58 h 343"/>
                <a:gd name="T66" fmla="*/ 401 w 401"/>
                <a:gd name="T67" fmla="*/ 2 h 343"/>
                <a:gd name="T68" fmla="*/ 364 w 401"/>
                <a:gd name="T69" fmla="*/ 0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01" h="343">
                  <a:moveTo>
                    <a:pt x="364" y="0"/>
                  </a:moveTo>
                  <a:cubicBezTo>
                    <a:pt x="192" y="0"/>
                    <a:pt x="192" y="0"/>
                    <a:pt x="192" y="0"/>
                  </a:cubicBezTo>
                  <a:cubicBezTo>
                    <a:pt x="190" y="3"/>
                    <a:pt x="188" y="8"/>
                    <a:pt x="186" y="12"/>
                  </a:cubicBezTo>
                  <a:cubicBezTo>
                    <a:pt x="181" y="25"/>
                    <a:pt x="176" y="47"/>
                    <a:pt x="176" y="47"/>
                  </a:cubicBezTo>
                  <a:cubicBezTo>
                    <a:pt x="176" y="47"/>
                    <a:pt x="164" y="57"/>
                    <a:pt x="160" y="61"/>
                  </a:cubicBezTo>
                  <a:cubicBezTo>
                    <a:pt x="156" y="65"/>
                    <a:pt x="140" y="66"/>
                    <a:pt x="140" y="66"/>
                  </a:cubicBezTo>
                  <a:cubicBezTo>
                    <a:pt x="140" y="66"/>
                    <a:pt x="129" y="63"/>
                    <a:pt x="125" y="72"/>
                  </a:cubicBezTo>
                  <a:cubicBezTo>
                    <a:pt x="121" y="81"/>
                    <a:pt x="123" y="97"/>
                    <a:pt x="123" y="97"/>
                  </a:cubicBezTo>
                  <a:cubicBezTo>
                    <a:pt x="123" y="97"/>
                    <a:pt x="104" y="116"/>
                    <a:pt x="104" y="122"/>
                  </a:cubicBezTo>
                  <a:cubicBezTo>
                    <a:pt x="104" y="128"/>
                    <a:pt x="115" y="145"/>
                    <a:pt x="108" y="158"/>
                  </a:cubicBezTo>
                  <a:cubicBezTo>
                    <a:pt x="101" y="171"/>
                    <a:pt x="92" y="171"/>
                    <a:pt x="92" y="171"/>
                  </a:cubicBezTo>
                  <a:cubicBezTo>
                    <a:pt x="92" y="171"/>
                    <a:pt x="83" y="185"/>
                    <a:pt x="78" y="190"/>
                  </a:cubicBezTo>
                  <a:cubicBezTo>
                    <a:pt x="73" y="195"/>
                    <a:pt x="62" y="197"/>
                    <a:pt x="58" y="201"/>
                  </a:cubicBezTo>
                  <a:cubicBezTo>
                    <a:pt x="54" y="205"/>
                    <a:pt x="52" y="212"/>
                    <a:pt x="52" y="212"/>
                  </a:cubicBezTo>
                  <a:cubicBezTo>
                    <a:pt x="60" y="216"/>
                    <a:pt x="60" y="216"/>
                    <a:pt x="60" y="216"/>
                  </a:cubicBezTo>
                  <a:cubicBezTo>
                    <a:pt x="60" y="216"/>
                    <a:pt x="49" y="227"/>
                    <a:pt x="45" y="237"/>
                  </a:cubicBezTo>
                  <a:cubicBezTo>
                    <a:pt x="41" y="247"/>
                    <a:pt x="41" y="259"/>
                    <a:pt x="41" y="259"/>
                  </a:cubicBezTo>
                  <a:cubicBezTo>
                    <a:pt x="32" y="259"/>
                    <a:pt x="32" y="259"/>
                    <a:pt x="32" y="259"/>
                  </a:cubicBezTo>
                  <a:cubicBezTo>
                    <a:pt x="32" y="259"/>
                    <a:pt x="42" y="271"/>
                    <a:pt x="31" y="281"/>
                  </a:cubicBezTo>
                  <a:cubicBezTo>
                    <a:pt x="20" y="291"/>
                    <a:pt x="18" y="286"/>
                    <a:pt x="18" y="286"/>
                  </a:cubicBezTo>
                  <a:cubicBezTo>
                    <a:pt x="18" y="286"/>
                    <a:pt x="1" y="304"/>
                    <a:pt x="1" y="318"/>
                  </a:cubicBezTo>
                  <a:cubicBezTo>
                    <a:pt x="1" y="325"/>
                    <a:pt x="1" y="335"/>
                    <a:pt x="0" y="343"/>
                  </a:cubicBezTo>
                  <a:cubicBezTo>
                    <a:pt x="186" y="341"/>
                    <a:pt x="186" y="341"/>
                    <a:pt x="186" y="341"/>
                  </a:cubicBezTo>
                  <a:cubicBezTo>
                    <a:pt x="187" y="272"/>
                    <a:pt x="187" y="272"/>
                    <a:pt x="187" y="272"/>
                  </a:cubicBezTo>
                  <a:cubicBezTo>
                    <a:pt x="187" y="272"/>
                    <a:pt x="178" y="257"/>
                    <a:pt x="189" y="247"/>
                  </a:cubicBezTo>
                  <a:cubicBezTo>
                    <a:pt x="200" y="237"/>
                    <a:pt x="208" y="236"/>
                    <a:pt x="208" y="236"/>
                  </a:cubicBezTo>
                  <a:cubicBezTo>
                    <a:pt x="208" y="236"/>
                    <a:pt x="233" y="237"/>
                    <a:pt x="235" y="231"/>
                  </a:cubicBezTo>
                  <a:cubicBezTo>
                    <a:pt x="237" y="225"/>
                    <a:pt x="238" y="101"/>
                    <a:pt x="238" y="101"/>
                  </a:cubicBezTo>
                  <a:cubicBezTo>
                    <a:pt x="243" y="98"/>
                    <a:pt x="243" y="98"/>
                    <a:pt x="243" y="98"/>
                  </a:cubicBezTo>
                  <a:cubicBezTo>
                    <a:pt x="243" y="88"/>
                    <a:pt x="243" y="88"/>
                    <a:pt x="243" y="88"/>
                  </a:cubicBezTo>
                  <a:cubicBezTo>
                    <a:pt x="391" y="87"/>
                    <a:pt x="391" y="87"/>
                    <a:pt x="391" y="87"/>
                  </a:cubicBezTo>
                  <a:cubicBezTo>
                    <a:pt x="392" y="62"/>
                    <a:pt x="392" y="62"/>
                    <a:pt x="392" y="62"/>
                  </a:cubicBezTo>
                  <a:cubicBezTo>
                    <a:pt x="397" y="58"/>
                    <a:pt x="397" y="58"/>
                    <a:pt x="397" y="58"/>
                  </a:cubicBezTo>
                  <a:cubicBezTo>
                    <a:pt x="401" y="2"/>
                    <a:pt x="401" y="2"/>
                    <a:pt x="401" y="2"/>
                  </a:cubicBezTo>
                  <a:lnTo>
                    <a:pt x="364" y="0"/>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33" name="Freeform 94"/>
            <p:cNvSpPr>
              <a:spLocks/>
            </p:cNvSpPr>
            <p:nvPr/>
          </p:nvSpPr>
          <p:spPr bwMode="gray">
            <a:xfrm>
              <a:off x="3811588" y="3592513"/>
              <a:ext cx="69850" cy="57150"/>
            </a:xfrm>
            <a:custGeom>
              <a:avLst/>
              <a:gdLst>
                <a:gd name="T0" fmla="*/ 85 w 125"/>
                <a:gd name="T1" fmla="*/ 67 h 103"/>
                <a:gd name="T2" fmla="*/ 102 w 125"/>
                <a:gd name="T3" fmla="*/ 60 h 103"/>
                <a:gd name="T4" fmla="*/ 124 w 125"/>
                <a:gd name="T5" fmla="*/ 49 h 103"/>
                <a:gd name="T6" fmla="*/ 108 w 125"/>
                <a:gd name="T7" fmla="*/ 28 h 103"/>
                <a:gd name="T8" fmla="*/ 124 w 125"/>
                <a:gd name="T9" fmla="*/ 19 h 103"/>
                <a:gd name="T10" fmla="*/ 123 w 125"/>
                <a:gd name="T11" fmla="*/ 2 h 103"/>
                <a:gd name="T12" fmla="*/ 56 w 125"/>
                <a:gd name="T13" fmla="*/ 0 h 103"/>
                <a:gd name="T14" fmla="*/ 39 w 125"/>
                <a:gd name="T15" fmla="*/ 15 h 103"/>
                <a:gd name="T16" fmla="*/ 12 w 125"/>
                <a:gd name="T17" fmla="*/ 15 h 103"/>
                <a:gd name="T18" fmla="*/ 4 w 125"/>
                <a:gd name="T19" fmla="*/ 25 h 103"/>
                <a:gd name="T20" fmla="*/ 0 w 125"/>
                <a:gd name="T21" fmla="*/ 48 h 103"/>
                <a:gd name="T22" fmla="*/ 15 w 125"/>
                <a:gd name="T23" fmla="*/ 50 h 103"/>
                <a:gd name="T24" fmla="*/ 46 w 125"/>
                <a:gd name="T25" fmla="*/ 45 h 103"/>
                <a:gd name="T26" fmla="*/ 63 w 125"/>
                <a:gd name="T27" fmla="*/ 39 h 103"/>
                <a:gd name="T28" fmla="*/ 63 w 125"/>
                <a:gd name="T29" fmla="*/ 54 h 103"/>
                <a:gd name="T30" fmla="*/ 37 w 125"/>
                <a:gd name="T31" fmla="*/ 52 h 103"/>
                <a:gd name="T32" fmla="*/ 42 w 125"/>
                <a:gd name="T33" fmla="*/ 68 h 103"/>
                <a:gd name="T34" fmla="*/ 63 w 125"/>
                <a:gd name="T35" fmla="*/ 63 h 103"/>
                <a:gd name="T36" fmla="*/ 39 w 125"/>
                <a:gd name="T37" fmla="*/ 75 h 103"/>
                <a:gd name="T38" fmla="*/ 58 w 125"/>
                <a:gd name="T39" fmla="*/ 103 h 103"/>
                <a:gd name="T40" fmla="*/ 63 w 125"/>
                <a:gd name="T41" fmla="*/ 88 h 103"/>
                <a:gd name="T42" fmla="*/ 72 w 125"/>
                <a:gd name="T43" fmla="*/ 68 h 103"/>
                <a:gd name="T44" fmla="*/ 85 w 125"/>
                <a:gd name="T45" fmla="*/ 67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5" h="103">
                  <a:moveTo>
                    <a:pt x="85" y="67"/>
                  </a:moveTo>
                  <a:cubicBezTo>
                    <a:pt x="85" y="67"/>
                    <a:pt x="92" y="60"/>
                    <a:pt x="102" y="60"/>
                  </a:cubicBezTo>
                  <a:cubicBezTo>
                    <a:pt x="112" y="60"/>
                    <a:pt x="123" y="64"/>
                    <a:pt x="124" y="49"/>
                  </a:cubicBezTo>
                  <a:cubicBezTo>
                    <a:pt x="125" y="34"/>
                    <a:pt x="108" y="39"/>
                    <a:pt x="108" y="28"/>
                  </a:cubicBezTo>
                  <a:cubicBezTo>
                    <a:pt x="108" y="17"/>
                    <a:pt x="124" y="19"/>
                    <a:pt x="124" y="19"/>
                  </a:cubicBezTo>
                  <a:cubicBezTo>
                    <a:pt x="123" y="2"/>
                    <a:pt x="123" y="2"/>
                    <a:pt x="123" y="2"/>
                  </a:cubicBezTo>
                  <a:cubicBezTo>
                    <a:pt x="56" y="0"/>
                    <a:pt x="56" y="0"/>
                    <a:pt x="56" y="0"/>
                  </a:cubicBezTo>
                  <a:cubicBezTo>
                    <a:pt x="39" y="15"/>
                    <a:pt x="39" y="15"/>
                    <a:pt x="39" y="15"/>
                  </a:cubicBezTo>
                  <a:cubicBezTo>
                    <a:pt x="12" y="15"/>
                    <a:pt x="12" y="15"/>
                    <a:pt x="12" y="15"/>
                  </a:cubicBezTo>
                  <a:cubicBezTo>
                    <a:pt x="4" y="25"/>
                    <a:pt x="4" y="25"/>
                    <a:pt x="4" y="25"/>
                  </a:cubicBezTo>
                  <a:cubicBezTo>
                    <a:pt x="0" y="48"/>
                    <a:pt x="0" y="48"/>
                    <a:pt x="0" y="48"/>
                  </a:cubicBezTo>
                  <a:cubicBezTo>
                    <a:pt x="0" y="48"/>
                    <a:pt x="8" y="56"/>
                    <a:pt x="15" y="50"/>
                  </a:cubicBezTo>
                  <a:cubicBezTo>
                    <a:pt x="22" y="44"/>
                    <a:pt x="46" y="45"/>
                    <a:pt x="46" y="45"/>
                  </a:cubicBezTo>
                  <a:cubicBezTo>
                    <a:pt x="63" y="39"/>
                    <a:pt x="63" y="39"/>
                    <a:pt x="63" y="39"/>
                  </a:cubicBezTo>
                  <a:cubicBezTo>
                    <a:pt x="63" y="54"/>
                    <a:pt x="63" y="54"/>
                    <a:pt x="63" y="54"/>
                  </a:cubicBezTo>
                  <a:cubicBezTo>
                    <a:pt x="63" y="54"/>
                    <a:pt x="39" y="42"/>
                    <a:pt x="37" y="52"/>
                  </a:cubicBezTo>
                  <a:cubicBezTo>
                    <a:pt x="35" y="62"/>
                    <a:pt x="42" y="68"/>
                    <a:pt x="42" y="68"/>
                  </a:cubicBezTo>
                  <a:cubicBezTo>
                    <a:pt x="63" y="63"/>
                    <a:pt x="63" y="63"/>
                    <a:pt x="63" y="63"/>
                  </a:cubicBezTo>
                  <a:cubicBezTo>
                    <a:pt x="39" y="75"/>
                    <a:pt x="39" y="75"/>
                    <a:pt x="39" y="75"/>
                  </a:cubicBezTo>
                  <a:cubicBezTo>
                    <a:pt x="58" y="103"/>
                    <a:pt x="58" y="103"/>
                    <a:pt x="58" y="103"/>
                  </a:cubicBezTo>
                  <a:cubicBezTo>
                    <a:pt x="63" y="88"/>
                    <a:pt x="63" y="88"/>
                    <a:pt x="63" y="88"/>
                  </a:cubicBezTo>
                  <a:cubicBezTo>
                    <a:pt x="72" y="68"/>
                    <a:pt x="72" y="68"/>
                    <a:pt x="72" y="68"/>
                  </a:cubicBezTo>
                  <a:lnTo>
                    <a:pt x="85" y="67"/>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34" name="Freeform 95"/>
            <p:cNvSpPr>
              <a:spLocks/>
            </p:cNvSpPr>
            <p:nvPr/>
          </p:nvSpPr>
          <p:spPr bwMode="gray">
            <a:xfrm>
              <a:off x="3800475" y="3559175"/>
              <a:ext cx="85725" cy="22225"/>
            </a:xfrm>
            <a:custGeom>
              <a:avLst/>
              <a:gdLst>
                <a:gd name="T0" fmla="*/ 11 w 154"/>
                <a:gd name="T1" fmla="*/ 15 h 39"/>
                <a:gd name="T2" fmla="*/ 0 w 154"/>
                <a:gd name="T3" fmla="*/ 37 h 39"/>
                <a:gd name="T4" fmla="*/ 0 w 154"/>
                <a:gd name="T5" fmla="*/ 39 h 39"/>
                <a:gd name="T6" fmla="*/ 43 w 154"/>
                <a:gd name="T7" fmla="*/ 39 h 39"/>
                <a:gd name="T8" fmla="*/ 47 w 154"/>
                <a:gd name="T9" fmla="*/ 30 h 39"/>
                <a:gd name="T10" fmla="*/ 72 w 154"/>
                <a:gd name="T11" fmla="*/ 27 h 39"/>
                <a:gd name="T12" fmla="*/ 84 w 154"/>
                <a:gd name="T13" fmla="*/ 15 h 39"/>
                <a:gd name="T14" fmla="*/ 118 w 154"/>
                <a:gd name="T15" fmla="*/ 34 h 39"/>
                <a:gd name="T16" fmla="*/ 137 w 154"/>
                <a:gd name="T17" fmla="*/ 15 h 39"/>
                <a:gd name="T18" fmla="*/ 116 w 154"/>
                <a:gd name="T19" fmla="*/ 20 h 39"/>
                <a:gd name="T20" fmla="*/ 103 w 154"/>
                <a:gd name="T21" fmla="*/ 8 h 39"/>
                <a:gd name="T22" fmla="*/ 95 w 154"/>
                <a:gd name="T23" fmla="*/ 10 h 39"/>
                <a:gd name="T24" fmla="*/ 84 w 154"/>
                <a:gd name="T25" fmla="*/ 2 h 39"/>
                <a:gd name="T26" fmla="*/ 59 w 154"/>
                <a:gd name="T27" fmla="*/ 3 h 39"/>
                <a:gd name="T28" fmla="*/ 59 w 154"/>
                <a:gd name="T29" fmla="*/ 13 h 39"/>
                <a:gd name="T30" fmla="*/ 9 w 154"/>
                <a:gd name="T31" fmla="*/ 13 h 39"/>
                <a:gd name="T32" fmla="*/ 11 w 154"/>
                <a:gd name="T33" fmla="*/ 1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4" h="39">
                  <a:moveTo>
                    <a:pt x="11" y="15"/>
                  </a:moveTo>
                  <a:cubicBezTo>
                    <a:pt x="11" y="15"/>
                    <a:pt x="1" y="30"/>
                    <a:pt x="0" y="37"/>
                  </a:cubicBezTo>
                  <a:cubicBezTo>
                    <a:pt x="0" y="38"/>
                    <a:pt x="0" y="38"/>
                    <a:pt x="0" y="39"/>
                  </a:cubicBezTo>
                  <a:cubicBezTo>
                    <a:pt x="11" y="39"/>
                    <a:pt x="41" y="39"/>
                    <a:pt x="43" y="39"/>
                  </a:cubicBezTo>
                  <a:cubicBezTo>
                    <a:pt x="46" y="39"/>
                    <a:pt x="47" y="30"/>
                    <a:pt x="47" y="30"/>
                  </a:cubicBezTo>
                  <a:cubicBezTo>
                    <a:pt x="47" y="30"/>
                    <a:pt x="66" y="28"/>
                    <a:pt x="72" y="27"/>
                  </a:cubicBezTo>
                  <a:cubicBezTo>
                    <a:pt x="78" y="26"/>
                    <a:pt x="84" y="15"/>
                    <a:pt x="84" y="15"/>
                  </a:cubicBezTo>
                  <a:cubicBezTo>
                    <a:pt x="84" y="15"/>
                    <a:pt x="100" y="34"/>
                    <a:pt x="118" y="34"/>
                  </a:cubicBezTo>
                  <a:cubicBezTo>
                    <a:pt x="136" y="34"/>
                    <a:pt x="154" y="19"/>
                    <a:pt x="137" y="15"/>
                  </a:cubicBezTo>
                  <a:cubicBezTo>
                    <a:pt x="120" y="11"/>
                    <a:pt x="121" y="21"/>
                    <a:pt x="116" y="20"/>
                  </a:cubicBezTo>
                  <a:cubicBezTo>
                    <a:pt x="111" y="19"/>
                    <a:pt x="103" y="8"/>
                    <a:pt x="103" y="8"/>
                  </a:cubicBezTo>
                  <a:cubicBezTo>
                    <a:pt x="95" y="10"/>
                    <a:pt x="95" y="10"/>
                    <a:pt x="95" y="10"/>
                  </a:cubicBezTo>
                  <a:cubicBezTo>
                    <a:pt x="95" y="10"/>
                    <a:pt x="97" y="0"/>
                    <a:pt x="84" y="2"/>
                  </a:cubicBezTo>
                  <a:cubicBezTo>
                    <a:pt x="71" y="4"/>
                    <a:pt x="59" y="3"/>
                    <a:pt x="59" y="3"/>
                  </a:cubicBezTo>
                  <a:cubicBezTo>
                    <a:pt x="59" y="13"/>
                    <a:pt x="59" y="13"/>
                    <a:pt x="59" y="13"/>
                  </a:cubicBezTo>
                  <a:cubicBezTo>
                    <a:pt x="9" y="13"/>
                    <a:pt x="9" y="13"/>
                    <a:pt x="9" y="13"/>
                  </a:cubicBezTo>
                  <a:cubicBezTo>
                    <a:pt x="10" y="14"/>
                    <a:pt x="11" y="15"/>
                    <a:pt x="11" y="15"/>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35" name="Freeform 96"/>
            <p:cNvSpPr>
              <a:spLocks/>
            </p:cNvSpPr>
            <p:nvPr/>
          </p:nvSpPr>
          <p:spPr bwMode="gray">
            <a:xfrm>
              <a:off x="3930650" y="3713163"/>
              <a:ext cx="115887" cy="131763"/>
            </a:xfrm>
            <a:custGeom>
              <a:avLst/>
              <a:gdLst>
                <a:gd name="T0" fmla="*/ 207 w 207"/>
                <a:gd name="T1" fmla="*/ 175 h 236"/>
                <a:gd name="T2" fmla="*/ 186 w 207"/>
                <a:gd name="T3" fmla="*/ 146 h 236"/>
                <a:gd name="T4" fmla="*/ 185 w 207"/>
                <a:gd name="T5" fmla="*/ 129 h 236"/>
                <a:gd name="T6" fmla="*/ 161 w 207"/>
                <a:gd name="T7" fmla="*/ 133 h 236"/>
                <a:gd name="T8" fmla="*/ 161 w 207"/>
                <a:gd name="T9" fmla="*/ 123 h 236"/>
                <a:gd name="T10" fmla="*/ 148 w 207"/>
                <a:gd name="T11" fmla="*/ 121 h 236"/>
                <a:gd name="T12" fmla="*/ 162 w 207"/>
                <a:gd name="T13" fmla="*/ 89 h 236"/>
                <a:gd name="T14" fmla="*/ 149 w 207"/>
                <a:gd name="T15" fmla="*/ 55 h 236"/>
                <a:gd name="T16" fmla="*/ 145 w 207"/>
                <a:gd name="T17" fmla="*/ 56 h 236"/>
                <a:gd name="T18" fmla="*/ 129 w 207"/>
                <a:gd name="T19" fmla="*/ 82 h 236"/>
                <a:gd name="T20" fmla="*/ 117 w 207"/>
                <a:gd name="T21" fmla="*/ 72 h 236"/>
                <a:gd name="T22" fmla="*/ 109 w 207"/>
                <a:gd name="T23" fmla="*/ 72 h 236"/>
                <a:gd name="T24" fmla="*/ 99 w 207"/>
                <a:gd name="T25" fmla="*/ 13 h 236"/>
                <a:gd name="T26" fmla="*/ 83 w 207"/>
                <a:gd name="T27" fmla="*/ 18 h 236"/>
                <a:gd name="T28" fmla="*/ 67 w 207"/>
                <a:gd name="T29" fmla="*/ 14 h 236"/>
                <a:gd name="T30" fmla="*/ 69 w 207"/>
                <a:gd name="T31" fmla="*/ 31 h 236"/>
                <a:gd name="T32" fmla="*/ 55 w 207"/>
                <a:gd name="T33" fmla="*/ 34 h 236"/>
                <a:gd name="T34" fmla="*/ 55 w 207"/>
                <a:gd name="T35" fmla="*/ 48 h 236"/>
                <a:gd name="T36" fmla="*/ 16 w 207"/>
                <a:gd name="T37" fmla="*/ 82 h 236"/>
                <a:gd name="T38" fmla="*/ 14 w 207"/>
                <a:gd name="T39" fmla="*/ 105 h 236"/>
                <a:gd name="T40" fmla="*/ 0 w 207"/>
                <a:gd name="T41" fmla="*/ 89 h 236"/>
                <a:gd name="T42" fmla="*/ 0 w 207"/>
                <a:gd name="T43" fmla="*/ 89 h 236"/>
                <a:gd name="T44" fmla="*/ 23 w 207"/>
                <a:gd name="T45" fmla="*/ 115 h 236"/>
                <a:gd name="T46" fmla="*/ 40 w 207"/>
                <a:gd name="T47" fmla="*/ 117 h 236"/>
                <a:gd name="T48" fmla="*/ 48 w 207"/>
                <a:gd name="T49" fmla="*/ 135 h 236"/>
                <a:gd name="T50" fmla="*/ 70 w 207"/>
                <a:gd name="T51" fmla="*/ 139 h 236"/>
                <a:gd name="T52" fmla="*/ 105 w 207"/>
                <a:gd name="T53" fmla="*/ 187 h 236"/>
                <a:gd name="T54" fmla="*/ 156 w 207"/>
                <a:gd name="T55" fmla="*/ 213 h 236"/>
                <a:gd name="T56" fmla="*/ 195 w 207"/>
                <a:gd name="T57" fmla="*/ 236 h 236"/>
                <a:gd name="T58" fmla="*/ 198 w 207"/>
                <a:gd name="T59" fmla="*/ 236 h 236"/>
                <a:gd name="T60" fmla="*/ 197 w 207"/>
                <a:gd name="T61" fmla="*/ 209 h 236"/>
                <a:gd name="T62" fmla="*/ 207 w 207"/>
                <a:gd name="T63" fmla="*/ 175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7" h="236">
                  <a:moveTo>
                    <a:pt x="207" y="175"/>
                  </a:moveTo>
                  <a:cubicBezTo>
                    <a:pt x="207" y="162"/>
                    <a:pt x="186" y="146"/>
                    <a:pt x="186" y="146"/>
                  </a:cubicBezTo>
                  <a:cubicBezTo>
                    <a:pt x="185" y="129"/>
                    <a:pt x="185" y="129"/>
                    <a:pt x="185" y="129"/>
                  </a:cubicBezTo>
                  <a:cubicBezTo>
                    <a:pt x="161" y="133"/>
                    <a:pt x="161" y="133"/>
                    <a:pt x="161" y="133"/>
                  </a:cubicBezTo>
                  <a:cubicBezTo>
                    <a:pt x="161" y="123"/>
                    <a:pt x="161" y="123"/>
                    <a:pt x="161" y="123"/>
                  </a:cubicBezTo>
                  <a:cubicBezTo>
                    <a:pt x="161" y="123"/>
                    <a:pt x="149" y="124"/>
                    <a:pt x="148" y="121"/>
                  </a:cubicBezTo>
                  <a:cubicBezTo>
                    <a:pt x="147" y="118"/>
                    <a:pt x="162" y="104"/>
                    <a:pt x="162" y="89"/>
                  </a:cubicBezTo>
                  <a:cubicBezTo>
                    <a:pt x="162" y="79"/>
                    <a:pt x="154" y="64"/>
                    <a:pt x="149" y="55"/>
                  </a:cubicBezTo>
                  <a:cubicBezTo>
                    <a:pt x="147" y="55"/>
                    <a:pt x="146" y="55"/>
                    <a:pt x="145" y="56"/>
                  </a:cubicBezTo>
                  <a:cubicBezTo>
                    <a:pt x="140" y="60"/>
                    <a:pt x="140" y="82"/>
                    <a:pt x="129" y="82"/>
                  </a:cubicBezTo>
                  <a:cubicBezTo>
                    <a:pt x="118" y="82"/>
                    <a:pt x="117" y="72"/>
                    <a:pt x="117" y="72"/>
                  </a:cubicBezTo>
                  <a:cubicBezTo>
                    <a:pt x="109" y="72"/>
                    <a:pt x="109" y="72"/>
                    <a:pt x="109" y="72"/>
                  </a:cubicBezTo>
                  <a:cubicBezTo>
                    <a:pt x="109" y="72"/>
                    <a:pt x="118" y="26"/>
                    <a:pt x="99" y="13"/>
                  </a:cubicBezTo>
                  <a:cubicBezTo>
                    <a:pt x="80" y="0"/>
                    <a:pt x="83" y="18"/>
                    <a:pt x="83" y="18"/>
                  </a:cubicBezTo>
                  <a:cubicBezTo>
                    <a:pt x="67" y="14"/>
                    <a:pt x="67" y="14"/>
                    <a:pt x="67" y="14"/>
                  </a:cubicBezTo>
                  <a:cubicBezTo>
                    <a:pt x="69" y="31"/>
                    <a:pt x="69" y="31"/>
                    <a:pt x="69" y="31"/>
                  </a:cubicBezTo>
                  <a:cubicBezTo>
                    <a:pt x="55" y="34"/>
                    <a:pt x="55" y="34"/>
                    <a:pt x="55" y="34"/>
                  </a:cubicBezTo>
                  <a:cubicBezTo>
                    <a:pt x="55" y="34"/>
                    <a:pt x="59" y="38"/>
                    <a:pt x="55" y="48"/>
                  </a:cubicBezTo>
                  <a:cubicBezTo>
                    <a:pt x="51" y="58"/>
                    <a:pt x="17" y="75"/>
                    <a:pt x="16" y="82"/>
                  </a:cubicBezTo>
                  <a:cubicBezTo>
                    <a:pt x="15" y="86"/>
                    <a:pt x="15" y="97"/>
                    <a:pt x="14" y="105"/>
                  </a:cubicBezTo>
                  <a:cubicBezTo>
                    <a:pt x="0" y="89"/>
                    <a:pt x="0" y="89"/>
                    <a:pt x="0" y="89"/>
                  </a:cubicBezTo>
                  <a:cubicBezTo>
                    <a:pt x="0" y="89"/>
                    <a:pt x="0" y="89"/>
                    <a:pt x="0" y="89"/>
                  </a:cubicBezTo>
                  <a:cubicBezTo>
                    <a:pt x="23" y="115"/>
                    <a:pt x="23" y="115"/>
                    <a:pt x="23" y="115"/>
                  </a:cubicBezTo>
                  <a:cubicBezTo>
                    <a:pt x="40" y="117"/>
                    <a:pt x="40" y="117"/>
                    <a:pt x="40" y="117"/>
                  </a:cubicBezTo>
                  <a:cubicBezTo>
                    <a:pt x="48" y="135"/>
                    <a:pt x="48" y="135"/>
                    <a:pt x="48" y="135"/>
                  </a:cubicBezTo>
                  <a:cubicBezTo>
                    <a:pt x="48" y="135"/>
                    <a:pt x="66" y="131"/>
                    <a:pt x="70" y="139"/>
                  </a:cubicBezTo>
                  <a:cubicBezTo>
                    <a:pt x="74" y="147"/>
                    <a:pt x="89" y="173"/>
                    <a:pt x="105" y="187"/>
                  </a:cubicBezTo>
                  <a:cubicBezTo>
                    <a:pt x="121" y="201"/>
                    <a:pt x="149" y="208"/>
                    <a:pt x="156" y="213"/>
                  </a:cubicBezTo>
                  <a:cubicBezTo>
                    <a:pt x="163" y="218"/>
                    <a:pt x="180" y="236"/>
                    <a:pt x="195" y="236"/>
                  </a:cubicBezTo>
                  <a:cubicBezTo>
                    <a:pt x="196" y="236"/>
                    <a:pt x="197" y="236"/>
                    <a:pt x="198" y="236"/>
                  </a:cubicBezTo>
                  <a:cubicBezTo>
                    <a:pt x="197" y="209"/>
                    <a:pt x="197" y="209"/>
                    <a:pt x="197" y="209"/>
                  </a:cubicBezTo>
                  <a:cubicBezTo>
                    <a:pt x="197" y="209"/>
                    <a:pt x="207" y="188"/>
                    <a:pt x="207" y="175"/>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36" name="Freeform 97"/>
            <p:cNvSpPr>
              <a:spLocks/>
            </p:cNvSpPr>
            <p:nvPr/>
          </p:nvSpPr>
          <p:spPr bwMode="gray">
            <a:xfrm>
              <a:off x="3890963" y="3671888"/>
              <a:ext cx="77787" cy="100013"/>
            </a:xfrm>
            <a:custGeom>
              <a:avLst/>
              <a:gdLst>
                <a:gd name="T0" fmla="*/ 126 w 140"/>
                <a:gd name="T1" fmla="*/ 122 h 179"/>
                <a:gd name="T2" fmla="*/ 126 w 140"/>
                <a:gd name="T3" fmla="*/ 108 h 179"/>
                <a:gd name="T4" fmla="*/ 140 w 140"/>
                <a:gd name="T5" fmla="*/ 105 h 179"/>
                <a:gd name="T6" fmla="*/ 138 w 140"/>
                <a:gd name="T7" fmla="*/ 88 h 179"/>
                <a:gd name="T8" fmla="*/ 119 w 140"/>
                <a:gd name="T9" fmla="*/ 99 h 179"/>
                <a:gd name="T10" fmla="*/ 120 w 140"/>
                <a:gd name="T11" fmla="*/ 86 h 179"/>
                <a:gd name="T12" fmla="*/ 131 w 140"/>
                <a:gd name="T13" fmla="*/ 70 h 179"/>
                <a:gd name="T14" fmla="*/ 120 w 140"/>
                <a:gd name="T15" fmla="*/ 50 h 179"/>
                <a:gd name="T16" fmla="*/ 123 w 140"/>
                <a:gd name="T17" fmla="*/ 41 h 179"/>
                <a:gd name="T18" fmla="*/ 95 w 140"/>
                <a:gd name="T19" fmla="*/ 0 h 179"/>
                <a:gd name="T20" fmla="*/ 69 w 140"/>
                <a:gd name="T21" fmla="*/ 0 h 179"/>
                <a:gd name="T22" fmla="*/ 65 w 140"/>
                <a:gd name="T23" fmla="*/ 12 h 179"/>
                <a:gd name="T24" fmla="*/ 40 w 140"/>
                <a:gd name="T25" fmla="*/ 12 h 179"/>
                <a:gd name="T26" fmla="*/ 9 w 140"/>
                <a:gd name="T27" fmla="*/ 54 h 179"/>
                <a:gd name="T28" fmla="*/ 0 w 140"/>
                <a:gd name="T29" fmla="*/ 59 h 179"/>
                <a:gd name="T30" fmla="*/ 9 w 140"/>
                <a:gd name="T31" fmla="*/ 66 h 179"/>
                <a:gd name="T32" fmla="*/ 1 w 140"/>
                <a:gd name="T33" fmla="*/ 84 h 179"/>
                <a:gd name="T34" fmla="*/ 16 w 140"/>
                <a:gd name="T35" fmla="*/ 103 h 179"/>
                <a:gd name="T36" fmla="*/ 15 w 140"/>
                <a:gd name="T37" fmla="*/ 121 h 179"/>
                <a:gd name="T38" fmla="*/ 29 w 140"/>
                <a:gd name="T39" fmla="*/ 132 h 179"/>
                <a:gd name="T40" fmla="*/ 37 w 140"/>
                <a:gd name="T41" fmla="*/ 148 h 179"/>
                <a:gd name="T42" fmla="*/ 65 w 140"/>
                <a:gd name="T43" fmla="*/ 157 h 179"/>
                <a:gd name="T44" fmla="*/ 85 w 140"/>
                <a:gd name="T45" fmla="*/ 179 h 179"/>
                <a:gd name="T46" fmla="*/ 87 w 140"/>
                <a:gd name="T47" fmla="*/ 156 h 179"/>
                <a:gd name="T48" fmla="*/ 126 w 140"/>
                <a:gd name="T49" fmla="*/ 122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0" h="179">
                  <a:moveTo>
                    <a:pt x="126" y="122"/>
                  </a:moveTo>
                  <a:cubicBezTo>
                    <a:pt x="130" y="112"/>
                    <a:pt x="126" y="108"/>
                    <a:pt x="126" y="108"/>
                  </a:cubicBezTo>
                  <a:cubicBezTo>
                    <a:pt x="140" y="105"/>
                    <a:pt x="140" y="105"/>
                    <a:pt x="140" y="105"/>
                  </a:cubicBezTo>
                  <a:cubicBezTo>
                    <a:pt x="138" y="88"/>
                    <a:pt x="138" y="88"/>
                    <a:pt x="138" y="88"/>
                  </a:cubicBezTo>
                  <a:cubicBezTo>
                    <a:pt x="119" y="99"/>
                    <a:pt x="119" y="99"/>
                    <a:pt x="119" y="99"/>
                  </a:cubicBezTo>
                  <a:cubicBezTo>
                    <a:pt x="120" y="86"/>
                    <a:pt x="120" y="86"/>
                    <a:pt x="120" y="86"/>
                  </a:cubicBezTo>
                  <a:cubicBezTo>
                    <a:pt x="120" y="86"/>
                    <a:pt x="131" y="78"/>
                    <a:pt x="131" y="70"/>
                  </a:cubicBezTo>
                  <a:cubicBezTo>
                    <a:pt x="131" y="62"/>
                    <a:pt x="120" y="50"/>
                    <a:pt x="120" y="50"/>
                  </a:cubicBezTo>
                  <a:cubicBezTo>
                    <a:pt x="123" y="41"/>
                    <a:pt x="123" y="41"/>
                    <a:pt x="123" y="41"/>
                  </a:cubicBezTo>
                  <a:cubicBezTo>
                    <a:pt x="95" y="0"/>
                    <a:pt x="95" y="0"/>
                    <a:pt x="95" y="0"/>
                  </a:cubicBezTo>
                  <a:cubicBezTo>
                    <a:pt x="69" y="0"/>
                    <a:pt x="69" y="0"/>
                    <a:pt x="69" y="0"/>
                  </a:cubicBezTo>
                  <a:cubicBezTo>
                    <a:pt x="65" y="12"/>
                    <a:pt x="65" y="12"/>
                    <a:pt x="65" y="12"/>
                  </a:cubicBezTo>
                  <a:cubicBezTo>
                    <a:pt x="40" y="12"/>
                    <a:pt x="40" y="12"/>
                    <a:pt x="40" y="12"/>
                  </a:cubicBezTo>
                  <a:cubicBezTo>
                    <a:pt x="40" y="12"/>
                    <a:pt x="21" y="54"/>
                    <a:pt x="9" y="54"/>
                  </a:cubicBezTo>
                  <a:cubicBezTo>
                    <a:pt x="0" y="59"/>
                    <a:pt x="0" y="59"/>
                    <a:pt x="0" y="59"/>
                  </a:cubicBezTo>
                  <a:cubicBezTo>
                    <a:pt x="9" y="66"/>
                    <a:pt x="9" y="66"/>
                    <a:pt x="9" y="66"/>
                  </a:cubicBezTo>
                  <a:cubicBezTo>
                    <a:pt x="9" y="66"/>
                    <a:pt x="1" y="75"/>
                    <a:pt x="1" y="84"/>
                  </a:cubicBezTo>
                  <a:cubicBezTo>
                    <a:pt x="1" y="93"/>
                    <a:pt x="16" y="103"/>
                    <a:pt x="16" y="103"/>
                  </a:cubicBezTo>
                  <a:cubicBezTo>
                    <a:pt x="15" y="121"/>
                    <a:pt x="15" y="121"/>
                    <a:pt x="15" y="121"/>
                  </a:cubicBezTo>
                  <a:cubicBezTo>
                    <a:pt x="29" y="132"/>
                    <a:pt x="29" y="132"/>
                    <a:pt x="29" y="132"/>
                  </a:cubicBezTo>
                  <a:cubicBezTo>
                    <a:pt x="29" y="132"/>
                    <a:pt x="28" y="139"/>
                    <a:pt x="37" y="148"/>
                  </a:cubicBezTo>
                  <a:cubicBezTo>
                    <a:pt x="46" y="157"/>
                    <a:pt x="65" y="157"/>
                    <a:pt x="65" y="157"/>
                  </a:cubicBezTo>
                  <a:cubicBezTo>
                    <a:pt x="85" y="179"/>
                    <a:pt x="85" y="179"/>
                    <a:pt x="85" y="179"/>
                  </a:cubicBezTo>
                  <a:cubicBezTo>
                    <a:pt x="86" y="171"/>
                    <a:pt x="86" y="160"/>
                    <a:pt x="87" y="156"/>
                  </a:cubicBezTo>
                  <a:cubicBezTo>
                    <a:pt x="88" y="149"/>
                    <a:pt x="122" y="132"/>
                    <a:pt x="126" y="122"/>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37" name="Freeform 98"/>
            <p:cNvSpPr>
              <a:spLocks/>
            </p:cNvSpPr>
            <p:nvPr/>
          </p:nvSpPr>
          <p:spPr bwMode="gray">
            <a:xfrm>
              <a:off x="4940300" y="4833938"/>
              <a:ext cx="61912" cy="63500"/>
            </a:xfrm>
            <a:custGeom>
              <a:avLst/>
              <a:gdLst>
                <a:gd name="T0" fmla="*/ 0 w 111"/>
                <a:gd name="T1" fmla="*/ 58 h 114"/>
                <a:gd name="T2" fmla="*/ 17 w 111"/>
                <a:gd name="T3" fmla="*/ 83 h 114"/>
                <a:gd name="T4" fmla="*/ 17 w 111"/>
                <a:gd name="T5" fmla="*/ 94 h 114"/>
                <a:gd name="T6" fmla="*/ 35 w 111"/>
                <a:gd name="T7" fmla="*/ 114 h 114"/>
                <a:gd name="T8" fmla="*/ 50 w 111"/>
                <a:gd name="T9" fmla="*/ 113 h 114"/>
                <a:gd name="T10" fmla="*/ 61 w 111"/>
                <a:gd name="T11" fmla="*/ 89 h 114"/>
                <a:gd name="T12" fmla="*/ 82 w 111"/>
                <a:gd name="T13" fmla="*/ 85 h 114"/>
                <a:gd name="T14" fmla="*/ 99 w 111"/>
                <a:gd name="T15" fmla="*/ 75 h 114"/>
                <a:gd name="T16" fmla="*/ 96 w 111"/>
                <a:gd name="T17" fmla="*/ 63 h 114"/>
                <a:gd name="T18" fmla="*/ 111 w 111"/>
                <a:gd name="T19" fmla="*/ 50 h 114"/>
                <a:gd name="T20" fmla="*/ 110 w 111"/>
                <a:gd name="T21" fmla="*/ 34 h 114"/>
                <a:gd name="T22" fmla="*/ 100 w 111"/>
                <a:gd name="T23" fmla="*/ 31 h 114"/>
                <a:gd name="T24" fmla="*/ 83 w 111"/>
                <a:gd name="T25" fmla="*/ 6 h 114"/>
                <a:gd name="T26" fmla="*/ 62 w 111"/>
                <a:gd name="T27" fmla="*/ 5 h 114"/>
                <a:gd name="T28" fmla="*/ 54 w 111"/>
                <a:gd name="T29" fmla="*/ 8 h 114"/>
                <a:gd name="T30" fmla="*/ 53 w 111"/>
                <a:gd name="T31" fmla="*/ 18 h 114"/>
                <a:gd name="T32" fmla="*/ 38 w 111"/>
                <a:gd name="T33" fmla="*/ 19 h 114"/>
                <a:gd name="T34" fmla="*/ 31 w 111"/>
                <a:gd name="T35" fmla="*/ 33 h 114"/>
                <a:gd name="T36" fmla="*/ 19 w 111"/>
                <a:gd name="T37" fmla="*/ 46 h 114"/>
                <a:gd name="T38" fmla="*/ 17 w 111"/>
                <a:gd name="T39" fmla="*/ 56 h 114"/>
                <a:gd name="T40" fmla="*/ 0 w 111"/>
                <a:gd name="T41" fmla="*/ 58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1" h="114">
                  <a:moveTo>
                    <a:pt x="0" y="58"/>
                  </a:moveTo>
                  <a:cubicBezTo>
                    <a:pt x="17" y="83"/>
                    <a:pt x="17" y="83"/>
                    <a:pt x="17" y="83"/>
                  </a:cubicBezTo>
                  <a:cubicBezTo>
                    <a:pt x="17" y="94"/>
                    <a:pt x="17" y="94"/>
                    <a:pt x="17" y="94"/>
                  </a:cubicBezTo>
                  <a:cubicBezTo>
                    <a:pt x="35" y="114"/>
                    <a:pt x="35" y="114"/>
                    <a:pt x="35" y="114"/>
                  </a:cubicBezTo>
                  <a:cubicBezTo>
                    <a:pt x="50" y="113"/>
                    <a:pt x="50" y="113"/>
                    <a:pt x="50" y="113"/>
                  </a:cubicBezTo>
                  <a:cubicBezTo>
                    <a:pt x="50" y="113"/>
                    <a:pt x="51" y="93"/>
                    <a:pt x="61" y="89"/>
                  </a:cubicBezTo>
                  <a:cubicBezTo>
                    <a:pt x="71" y="85"/>
                    <a:pt x="74" y="87"/>
                    <a:pt x="82" y="85"/>
                  </a:cubicBezTo>
                  <a:cubicBezTo>
                    <a:pt x="90" y="83"/>
                    <a:pt x="99" y="75"/>
                    <a:pt x="99" y="75"/>
                  </a:cubicBezTo>
                  <a:cubicBezTo>
                    <a:pt x="96" y="63"/>
                    <a:pt x="96" y="63"/>
                    <a:pt x="96" y="63"/>
                  </a:cubicBezTo>
                  <a:cubicBezTo>
                    <a:pt x="111" y="50"/>
                    <a:pt x="111" y="50"/>
                    <a:pt x="111" y="50"/>
                  </a:cubicBezTo>
                  <a:cubicBezTo>
                    <a:pt x="110" y="34"/>
                    <a:pt x="110" y="34"/>
                    <a:pt x="110" y="34"/>
                  </a:cubicBezTo>
                  <a:cubicBezTo>
                    <a:pt x="100" y="31"/>
                    <a:pt x="100" y="31"/>
                    <a:pt x="100" y="31"/>
                  </a:cubicBezTo>
                  <a:cubicBezTo>
                    <a:pt x="100" y="31"/>
                    <a:pt x="88" y="12"/>
                    <a:pt x="83" y="6"/>
                  </a:cubicBezTo>
                  <a:cubicBezTo>
                    <a:pt x="78" y="0"/>
                    <a:pt x="62" y="5"/>
                    <a:pt x="62" y="5"/>
                  </a:cubicBezTo>
                  <a:cubicBezTo>
                    <a:pt x="54" y="8"/>
                    <a:pt x="54" y="8"/>
                    <a:pt x="54" y="8"/>
                  </a:cubicBezTo>
                  <a:cubicBezTo>
                    <a:pt x="53" y="18"/>
                    <a:pt x="53" y="18"/>
                    <a:pt x="53" y="18"/>
                  </a:cubicBezTo>
                  <a:cubicBezTo>
                    <a:pt x="53" y="18"/>
                    <a:pt x="43" y="15"/>
                    <a:pt x="38" y="19"/>
                  </a:cubicBezTo>
                  <a:cubicBezTo>
                    <a:pt x="33" y="23"/>
                    <a:pt x="31" y="33"/>
                    <a:pt x="31" y="33"/>
                  </a:cubicBezTo>
                  <a:cubicBezTo>
                    <a:pt x="19" y="46"/>
                    <a:pt x="19" y="46"/>
                    <a:pt x="19" y="46"/>
                  </a:cubicBezTo>
                  <a:cubicBezTo>
                    <a:pt x="17" y="56"/>
                    <a:pt x="17" y="56"/>
                    <a:pt x="17" y="56"/>
                  </a:cubicBezTo>
                  <a:lnTo>
                    <a:pt x="0" y="58"/>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38" name="Freeform 99"/>
            <p:cNvSpPr>
              <a:spLocks/>
            </p:cNvSpPr>
            <p:nvPr/>
          </p:nvSpPr>
          <p:spPr bwMode="gray">
            <a:xfrm>
              <a:off x="4471988" y="3903663"/>
              <a:ext cx="157162" cy="190500"/>
            </a:xfrm>
            <a:custGeom>
              <a:avLst/>
              <a:gdLst>
                <a:gd name="T0" fmla="*/ 261 w 281"/>
                <a:gd name="T1" fmla="*/ 153 h 339"/>
                <a:gd name="T2" fmla="*/ 244 w 281"/>
                <a:gd name="T3" fmla="*/ 140 h 339"/>
                <a:gd name="T4" fmla="*/ 254 w 281"/>
                <a:gd name="T5" fmla="*/ 100 h 339"/>
                <a:gd name="T6" fmla="*/ 273 w 281"/>
                <a:gd name="T7" fmla="*/ 74 h 339"/>
                <a:gd name="T8" fmla="*/ 263 w 281"/>
                <a:gd name="T9" fmla="*/ 56 h 339"/>
                <a:gd name="T10" fmla="*/ 229 w 281"/>
                <a:gd name="T11" fmla="*/ 62 h 339"/>
                <a:gd name="T12" fmla="*/ 210 w 281"/>
                <a:gd name="T13" fmla="*/ 36 h 339"/>
                <a:gd name="T14" fmla="*/ 220 w 281"/>
                <a:gd name="T15" fmla="*/ 4 h 339"/>
                <a:gd name="T16" fmla="*/ 177 w 281"/>
                <a:gd name="T17" fmla="*/ 1 h 339"/>
                <a:gd name="T18" fmla="*/ 147 w 281"/>
                <a:gd name="T19" fmla="*/ 9 h 339"/>
                <a:gd name="T20" fmla="*/ 125 w 281"/>
                <a:gd name="T21" fmla="*/ 10 h 339"/>
                <a:gd name="T22" fmla="*/ 128 w 281"/>
                <a:gd name="T23" fmla="*/ 37 h 339"/>
                <a:gd name="T24" fmla="*/ 56 w 281"/>
                <a:gd name="T25" fmla="*/ 75 h 339"/>
                <a:gd name="T26" fmla="*/ 46 w 281"/>
                <a:gd name="T27" fmla="*/ 71 h 339"/>
                <a:gd name="T28" fmla="*/ 40 w 281"/>
                <a:gd name="T29" fmla="*/ 77 h 339"/>
                <a:gd name="T30" fmla="*/ 30 w 281"/>
                <a:gd name="T31" fmla="*/ 107 h 339"/>
                <a:gd name="T32" fmla="*/ 0 w 281"/>
                <a:gd name="T33" fmla="*/ 166 h 339"/>
                <a:gd name="T34" fmla="*/ 28 w 281"/>
                <a:gd name="T35" fmla="*/ 195 h 339"/>
                <a:gd name="T36" fmla="*/ 27 w 281"/>
                <a:gd name="T37" fmla="*/ 228 h 339"/>
                <a:gd name="T38" fmla="*/ 46 w 281"/>
                <a:gd name="T39" fmla="*/ 259 h 339"/>
                <a:gd name="T40" fmla="*/ 61 w 281"/>
                <a:gd name="T41" fmla="*/ 271 h 339"/>
                <a:gd name="T42" fmla="*/ 91 w 281"/>
                <a:gd name="T43" fmla="*/ 311 h 339"/>
                <a:gd name="T44" fmla="*/ 114 w 281"/>
                <a:gd name="T45" fmla="*/ 339 h 339"/>
                <a:gd name="T46" fmla="*/ 133 w 281"/>
                <a:gd name="T47" fmla="*/ 317 h 339"/>
                <a:gd name="T48" fmla="*/ 152 w 281"/>
                <a:gd name="T49" fmla="*/ 304 h 339"/>
                <a:gd name="T50" fmla="*/ 149 w 281"/>
                <a:gd name="T51" fmla="*/ 287 h 339"/>
                <a:gd name="T52" fmla="*/ 139 w 281"/>
                <a:gd name="T53" fmla="*/ 274 h 339"/>
                <a:gd name="T54" fmla="*/ 172 w 281"/>
                <a:gd name="T55" fmla="*/ 257 h 339"/>
                <a:gd name="T56" fmla="*/ 178 w 281"/>
                <a:gd name="T57" fmla="*/ 225 h 339"/>
                <a:gd name="T58" fmla="*/ 204 w 281"/>
                <a:gd name="T59" fmla="*/ 255 h 339"/>
                <a:gd name="T60" fmla="*/ 241 w 281"/>
                <a:gd name="T61" fmla="*/ 239 h 339"/>
                <a:gd name="T62" fmla="*/ 260 w 281"/>
                <a:gd name="T63" fmla="*/ 244 h 339"/>
                <a:gd name="T64" fmla="*/ 269 w 281"/>
                <a:gd name="T65" fmla="*/ 212 h 339"/>
                <a:gd name="T66" fmla="*/ 272 w 281"/>
                <a:gd name="T67" fmla="*/ 171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1" h="339">
                  <a:moveTo>
                    <a:pt x="279" y="160"/>
                  </a:moveTo>
                  <a:cubicBezTo>
                    <a:pt x="277" y="154"/>
                    <a:pt x="261" y="153"/>
                    <a:pt x="261" y="153"/>
                  </a:cubicBezTo>
                  <a:cubicBezTo>
                    <a:pt x="256" y="141"/>
                    <a:pt x="256" y="141"/>
                    <a:pt x="256" y="141"/>
                  </a:cubicBezTo>
                  <a:cubicBezTo>
                    <a:pt x="244" y="140"/>
                    <a:pt x="244" y="140"/>
                    <a:pt x="244" y="140"/>
                  </a:cubicBezTo>
                  <a:cubicBezTo>
                    <a:pt x="245" y="116"/>
                    <a:pt x="245" y="116"/>
                    <a:pt x="245" y="116"/>
                  </a:cubicBezTo>
                  <a:cubicBezTo>
                    <a:pt x="254" y="100"/>
                    <a:pt x="254" y="100"/>
                    <a:pt x="254" y="100"/>
                  </a:cubicBezTo>
                  <a:cubicBezTo>
                    <a:pt x="254" y="100"/>
                    <a:pt x="261" y="101"/>
                    <a:pt x="267" y="94"/>
                  </a:cubicBezTo>
                  <a:cubicBezTo>
                    <a:pt x="273" y="87"/>
                    <a:pt x="273" y="74"/>
                    <a:pt x="273" y="74"/>
                  </a:cubicBezTo>
                  <a:cubicBezTo>
                    <a:pt x="267" y="70"/>
                    <a:pt x="267" y="70"/>
                    <a:pt x="267" y="70"/>
                  </a:cubicBezTo>
                  <a:cubicBezTo>
                    <a:pt x="267" y="70"/>
                    <a:pt x="266" y="60"/>
                    <a:pt x="263" y="56"/>
                  </a:cubicBezTo>
                  <a:cubicBezTo>
                    <a:pt x="260" y="52"/>
                    <a:pt x="248" y="47"/>
                    <a:pt x="243" y="47"/>
                  </a:cubicBezTo>
                  <a:cubicBezTo>
                    <a:pt x="238" y="47"/>
                    <a:pt x="238" y="62"/>
                    <a:pt x="229" y="62"/>
                  </a:cubicBezTo>
                  <a:cubicBezTo>
                    <a:pt x="220" y="62"/>
                    <a:pt x="212" y="57"/>
                    <a:pt x="212" y="57"/>
                  </a:cubicBezTo>
                  <a:cubicBezTo>
                    <a:pt x="210" y="36"/>
                    <a:pt x="210" y="36"/>
                    <a:pt x="210" y="36"/>
                  </a:cubicBezTo>
                  <a:cubicBezTo>
                    <a:pt x="220" y="14"/>
                    <a:pt x="220" y="14"/>
                    <a:pt x="220" y="14"/>
                  </a:cubicBezTo>
                  <a:cubicBezTo>
                    <a:pt x="220" y="4"/>
                    <a:pt x="220" y="4"/>
                    <a:pt x="220" y="4"/>
                  </a:cubicBezTo>
                  <a:cubicBezTo>
                    <a:pt x="188" y="5"/>
                    <a:pt x="188" y="5"/>
                    <a:pt x="188" y="5"/>
                  </a:cubicBezTo>
                  <a:cubicBezTo>
                    <a:pt x="188" y="5"/>
                    <a:pt x="181" y="1"/>
                    <a:pt x="177" y="1"/>
                  </a:cubicBezTo>
                  <a:cubicBezTo>
                    <a:pt x="173" y="1"/>
                    <a:pt x="168" y="9"/>
                    <a:pt x="168" y="9"/>
                  </a:cubicBezTo>
                  <a:cubicBezTo>
                    <a:pt x="147" y="9"/>
                    <a:pt x="147" y="9"/>
                    <a:pt x="147" y="9"/>
                  </a:cubicBezTo>
                  <a:cubicBezTo>
                    <a:pt x="137" y="0"/>
                    <a:pt x="137" y="0"/>
                    <a:pt x="137" y="0"/>
                  </a:cubicBezTo>
                  <a:cubicBezTo>
                    <a:pt x="125" y="10"/>
                    <a:pt x="125" y="10"/>
                    <a:pt x="125" y="10"/>
                  </a:cubicBezTo>
                  <a:cubicBezTo>
                    <a:pt x="122" y="33"/>
                    <a:pt x="122" y="33"/>
                    <a:pt x="122" y="33"/>
                  </a:cubicBezTo>
                  <a:cubicBezTo>
                    <a:pt x="128" y="37"/>
                    <a:pt x="128" y="37"/>
                    <a:pt x="128" y="37"/>
                  </a:cubicBezTo>
                  <a:cubicBezTo>
                    <a:pt x="128" y="37"/>
                    <a:pt x="128" y="72"/>
                    <a:pt x="123" y="73"/>
                  </a:cubicBezTo>
                  <a:cubicBezTo>
                    <a:pt x="118" y="74"/>
                    <a:pt x="56" y="75"/>
                    <a:pt x="56" y="75"/>
                  </a:cubicBezTo>
                  <a:cubicBezTo>
                    <a:pt x="54" y="69"/>
                    <a:pt x="54" y="69"/>
                    <a:pt x="54" y="69"/>
                  </a:cubicBezTo>
                  <a:cubicBezTo>
                    <a:pt x="46" y="71"/>
                    <a:pt x="46" y="71"/>
                    <a:pt x="46" y="71"/>
                  </a:cubicBezTo>
                  <a:cubicBezTo>
                    <a:pt x="47" y="72"/>
                    <a:pt x="48" y="72"/>
                    <a:pt x="48" y="72"/>
                  </a:cubicBezTo>
                  <a:cubicBezTo>
                    <a:pt x="40" y="77"/>
                    <a:pt x="40" y="77"/>
                    <a:pt x="40" y="77"/>
                  </a:cubicBezTo>
                  <a:cubicBezTo>
                    <a:pt x="40" y="77"/>
                    <a:pt x="49" y="105"/>
                    <a:pt x="45" y="107"/>
                  </a:cubicBezTo>
                  <a:cubicBezTo>
                    <a:pt x="41" y="109"/>
                    <a:pt x="30" y="107"/>
                    <a:pt x="30" y="107"/>
                  </a:cubicBezTo>
                  <a:cubicBezTo>
                    <a:pt x="30" y="107"/>
                    <a:pt x="33" y="148"/>
                    <a:pt x="23" y="159"/>
                  </a:cubicBezTo>
                  <a:cubicBezTo>
                    <a:pt x="13" y="170"/>
                    <a:pt x="0" y="166"/>
                    <a:pt x="0" y="166"/>
                  </a:cubicBezTo>
                  <a:cubicBezTo>
                    <a:pt x="17" y="203"/>
                    <a:pt x="17" y="203"/>
                    <a:pt x="17" y="203"/>
                  </a:cubicBezTo>
                  <a:cubicBezTo>
                    <a:pt x="28" y="195"/>
                    <a:pt x="28" y="195"/>
                    <a:pt x="28" y="195"/>
                  </a:cubicBezTo>
                  <a:cubicBezTo>
                    <a:pt x="34" y="208"/>
                    <a:pt x="34" y="208"/>
                    <a:pt x="34" y="208"/>
                  </a:cubicBezTo>
                  <a:cubicBezTo>
                    <a:pt x="34" y="208"/>
                    <a:pt x="25" y="221"/>
                    <a:pt x="27" y="228"/>
                  </a:cubicBezTo>
                  <a:cubicBezTo>
                    <a:pt x="29" y="235"/>
                    <a:pt x="42" y="232"/>
                    <a:pt x="42" y="232"/>
                  </a:cubicBezTo>
                  <a:cubicBezTo>
                    <a:pt x="46" y="259"/>
                    <a:pt x="46" y="259"/>
                    <a:pt x="46" y="259"/>
                  </a:cubicBezTo>
                  <a:cubicBezTo>
                    <a:pt x="66" y="263"/>
                    <a:pt x="66" y="263"/>
                    <a:pt x="66" y="263"/>
                  </a:cubicBezTo>
                  <a:cubicBezTo>
                    <a:pt x="61" y="271"/>
                    <a:pt x="61" y="271"/>
                    <a:pt x="61" y="271"/>
                  </a:cubicBezTo>
                  <a:cubicBezTo>
                    <a:pt x="94" y="306"/>
                    <a:pt x="94" y="306"/>
                    <a:pt x="94" y="306"/>
                  </a:cubicBezTo>
                  <a:cubicBezTo>
                    <a:pt x="91" y="311"/>
                    <a:pt x="91" y="311"/>
                    <a:pt x="91" y="311"/>
                  </a:cubicBezTo>
                  <a:cubicBezTo>
                    <a:pt x="113" y="338"/>
                    <a:pt x="113" y="338"/>
                    <a:pt x="113" y="338"/>
                  </a:cubicBezTo>
                  <a:cubicBezTo>
                    <a:pt x="114" y="339"/>
                    <a:pt x="114" y="339"/>
                    <a:pt x="114" y="339"/>
                  </a:cubicBezTo>
                  <a:cubicBezTo>
                    <a:pt x="119" y="326"/>
                    <a:pt x="119" y="326"/>
                    <a:pt x="119" y="326"/>
                  </a:cubicBezTo>
                  <a:cubicBezTo>
                    <a:pt x="133" y="317"/>
                    <a:pt x="133" y="317"/>
                    <a:pt x="133" y="317"/>
                  </a:cubicBezTo>
                  <a:cubicBezTo>
                    <a:pt x="133" y="317"/>
                    <a:pt x="148" y="335"/>
                    <a:pt x="152" y="326"/>
                  </a:cubicBezTo>
                  <a:cubicBezTo>
                    <a:pt x="156" y="317"/>
                    <a:pt x="152" y="304"/>
                    <a:pt x="152" y="304"/>
                  </a:cubicBezTo>
                  <a:cubicBezTo>
                    <a:pt x="140" y="296"/>
                    <a:pt x="140" y="296"/>
                    <a:pt x="140" y="296"/>
                  </a:cubicBezTo>
                  <a:cubicBezTo>
                    <a:pt x="149" y="287"/>
                    <a:pt x="149" y="287"/>
                    <a:pt x="149" y="287"/>
                  </a:cubicBezTo>
                  <a:cubicBezTo>
                    <a:pt x="132" y="274"/>
                    <a:pt x="132" y="274"/>
                    <a:pt x="132" y="274"/>
                  </a:cubicBezTo>
                  <a:cubicBezTo>
                    <a:pt x="139" y="274"/>
                    <a:pt x="139" y="274"/>
                    <a:pt x="139" y="274"/>
                  </a:cubicBezTo>
                  <a:cubicBezTo>
                    <a:pt x="139" y="274"/>
                    <a:pt x="132" y="249"/>
                    <a:pt x="138" y="251"/>
                  </a:cubicBezTo>
                  <a:cubicBezTo>
                    <a:pt x="144" y="253"/>
                    <a:pt x="168" y="262"/>
                    <a:pt x="172" y="257"/>
                  </a:cubicBezTo>
                  <a:cubicBezTo>
                    <a:pt x="176" y="252"/>
                    <a:pt x="185" y="244"/>
                    <a:pt x="185" y="244"/>
                  </a:cubicBezTo>
                  <a:cubicBezTo>
                    <a:pt x="185" y="244"/>
                    <a:pt x="172" y="226"/>
                    <a:pt x="178" y="225"/>
                  </a:cubicBezTo>
                  <a:cubicBezTo>
                    <a:pt x="184" y="224"/>
                    <a:pt x="195" y="226"/>
                    <a:pt x="195" y="226"/>
                  </a:cubicBezTo>
                  <a:cubicBezTo>
                    <a:pt x="204" y="255"/>
                    <a:pt x="204" y="255"/>
                    <a:pt x="204" y="255"/>
                  </a:cubicBezTo>
                  <a:cubicBezTo>
                    <a:pt x="204" y="255"/>
                    <a:pt x="218" y="256"/>
                    <a:pt x="226" y="254"/>
                  </a:cubicBezTo>
                  <a:cubicBezTo>
                    <a:pt x="234" y="252"/>
                    <a:pt x="237" y="236"/>
                    <a:pt x="241" y="239"/>
                  </a:cubicBezTo>
                  <a:cubicBezTo>
                    <a:pt x="245" y="242"/>
                    <a:pt x="238" y="264"/>
                    <a:pt x="248" y="264"/>
                  </a:cubicBezTo>
                  <a:cubicBezTo>
                    <a:pt x="258" y="264"/>
                    <a:pt x="260" y="258"/>
                    <a:pt x="260" y="244"/>
                  </a:cubicBezTo>
                  <a:cubicBezTo>
                    <a:pt x="260" y="230"/>
                    <a:pt x="273" y="226"/>
                    <a:pt x="273" y="226"/>
                  </a:cubicBezTo>
                  <a:cubicBezTo>
                    <a:pt x="269" y="212"/>
                    <a:pt x="269" y="212"/>
                    <a:pt x="269" y="212"/>
                  </a:cubicBezTo>
                  <a:cubicBezTo>
                    <a:pt x="273" y="201"/>
                    <a:pt x="273" y="201"/>
                    <a:pt x="273" y="201"/>
                  </a:cubicBezTo>
                  <a:cubicBezTo>
                    <a:pt x="272" y="171"/>
                    <a:pt x="272" y="171"/>
                    <a:pt x="272" y="171"/>
                  </a:cubicBezTo>
                  <a:cubicBezTo>
                    <a:pt x="272" y="171"/>
                    <a:pt x="281" y="166"/>
                    <a:pt x="279" y="160"/>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39" name="Freeform 100"/>
            <p:cNvSpPr>
              <a:spLocks/>
            </p:cNvSpPr>
            <p:nvPr/>
          </p:nvSpPr>
          <p:spPr bwMode="gray">
            <a:xfrm>
              <a:off x="5041900" y="4749800"/>
              <a:ext cx="41275" cy="49213"/>
            </a:xfrm>
            <a:custGeom>
              <a:avLst/>
              <a:gdLst>
                <a:gd name="T0" fmla="*/ 59 w 73"/>
                <a:gd name="T1" fmla="*/ 35 h 87"/>
                <a:gd name="T2" fmla="*/ 62 w 73"/>
                <a:gd name="T3" fmla="*/ 11 h 87"/>
                <a:gd name="T4" fmla="*/ 46 w 73"/>
                <a:gd name="T5" fmla="*/ 14 h 87"/>
                <a:gd name="T6" fmla="*/ 27 w 73"/>
                <a:gd name="T7" fmla="*/ 0 h 87"/>
                <a:gd name="T8" fmla="*/ 11 w 73"/>
                <a:gd name="T9" fmla="*/ 29 h 87"/>
                <a:gd name="T10" fmla="*/ 2 w 73"/>
                <a:gd name="T11" fmla="*/ 58 h 87"/>
                <a:gd name="T12" fmla="*/ 34 w 73"/>
                <a:gd name="T13" fmla="*/ 86 h 87"/>
                <a:gd name="T14" fmla="*/ 56 w 73"/>
                <a:gd name="T15" fmla="*/ 87 h 87"/>
                <a:gd name="T16" fmla="*/ 63 w 73"/>
                <a:gd name="T17" fmla="*/ 62 h 87"/>
                <a:gd name="T18" fmla="*/ 73 w 73"/>
                <a:gd name="T19" fmla="*/ 58 h 87"/>
                <a:gd name="T20" fmla="*/ 69 w 73"/>
                <a:gd name="T21" fmla="*/ 42 h 87"/>
                <a:gd name="T22" fmla="*/ 59 w 73"/>
                <a:gd name="T23" fmla="*/ 3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87">
                  <a:moveTo>
                    <a:pt x="59" y="35"/>
                  </a:moveTo>
                  <a:cubicBezTo>
                    <a:pt x="57" y="28"/>
                    <a:pt x="62" y="11"/>
                    <a:pt x="62" y="11"/>
                  </a:cubicBezTo>
                  <a:cubicBezTo>
                    <a:pt x="46" y="14"/>
                    <a:pt x="46" y="14"/>
                    <a:pt x="46" y="14"/>
                  </a:cubicBezTo>
                  <a:cubicBezTo>
                    <a:pt x="46" y="14"/>
                    <a:pt x="34" y="0"/>
                    <a:pt x="27" y="0"/>
                  </a:cubicBezTo>
                  <a:cubicBezTo>
                    <a:pt x="20" y="0"/>
                    <a:pt x="14" y="25"/>
                    <a:pt x="11" y="29"/>
                  </a:cubicBezTo>
                  <a:cubicBezTo>
                    <a:pt x="8" y="33"/>
                    <a:pt x="0" y="46"/>
                    <a:pt x="2" y="58"/>
                  </a:cubicBezTo>
                  <a:cubicBezTo>
                    <a:pt x="4" y="70"/>
                    <a:pt x="27" y="86"/>
                    <a:pt x="34" y="86"/>
                  </a:cubicBezTo>
                  <a:cubicBezTo>
                    <a:pt x="41" y="86"/>
                    <a:pt x="56" y="87"/>
                    <a:pt x="56" y="87"/>
                  </a:cubicBezTo>
                  <a:cubicBezTo>
                    <a:pt x="63" y="62"/>
                    <a:pt x="63" y="62"/>
                    <a:pt x="63" y="62"/>
                  </a:cubicBezTo>
                  <a:cubicBezTo>
                    <a:pt x="63" y="62"/>
                    <a:pt x="68" y="59"/>
                    <a:pt x="73" y="58"/>
                  </a:cubicBezTo>
                  <a:cubicBezTo>
                    <a:pt x="69" y="42"/>
                    <a:pt x="69" y="42"/>
                    <a:pt x="69" y="42"/>
                  </a:cubicBezTo>
                  <a:cubicBezTo>
                    <a:pt x="69" y="42"/>
                    <a:pt x="62" y="42"/>
                    <a:pt x="59" y="35"/>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40" name="Freeform 101"/>
            <p:cNvSpPr>
              <a:spLocks/>
            </p:cNvSpPr>
            <p:nvPr/>
          </p:nvSpPr>
          <p:spPr bwMode="gray">
            <a:xfrm>
              <a:off x="4549775" y="4486275"/>
              <a:ext cx="355600" cy="361950"/>
            </a:xfrm>
            <a:custGeom>
              <a:avLst/>
              <a:gdLst>
                <a:gd name="T0" fmla="*/ 257 w 635"/>
                <a:gd name="T1" fmla="*/ 609 h 648"/>
                <a:gd name="T2" fmla="*/ 281 w 635"/>
                <a:gd name="T3" fmla="*/ 636 h 648"/>
                <a:gd name="T4" fmla="*/ 304 w 635"/>
                <a:gd name="T5" fmla="*/ 648 h 648"/>
                <a:gd name="T6" fmla="*/ 330 w 635"/>
                <a:gd name="T7" fmla="*/ 646 h 648"/>
                <a:gd name="T8" fmla="*/ 345 w 635"/>
                <a:gd name="T9" fmla="*/ 632 h 648"/>
                <a:gd name="T10" fmla="*/ 358 w 635"/>
                <a:gd name="T11" fmla="*/ 622 h 648"/>
                <a:gd name="T12" fmla="*/ 384 w 635"/>
                <a:gd name="T13" fmla="*/ 273 h 648"/>
                <a:gd name="T14" fmla="*/ 431 w 635"/>
                <a:gd name="T15" fmla="*/ 192 h 648"/>
                <a:gd name="T16" fmla="*/ 435 w 635"/>
                <a:gd name="T17" fmla="*/ 71 h 648"/>
                <a:gd name="T18" fmla="*/ 541 w 635"/>
                <a:gd name="T19" fmla="*/ 55 h 648"/>
                <a:gd name="T20" fmla="*/ 554 w 635"/>
                <a:gd name="T21" fmla="*/ 69 h 648"/>
                <a:gd name="T22" fmla="*/ 577 w 635"/>
                <a:gd name="T23" fmla="*/ 63 h 648"/>
                <a:gd name="T24" fmla="*/ 601 w 635"/>
                <a:gd name="T25" fmla="*/ 55 h 648"/>
                <a:gd name="T26" fmla="*/ 635 w 635"/>
                <a:gd name="T27" fmla="*/ 45 h 648"/>
                <a:gd name="T28" fmla="*/ 602 w 635"/>
                <a:gd name="T29" fmla="*/ 34 h 648"/>
                <a:gd name="T30" fmla="*/ 576 w 635"/>
                <a:gd name="T31" fmla="*/ 31 h 648"/>
                <a:gd name="T32" fmla="*/ 548 w 635"/>
                <a:gd name="T33" fmla="*/ 35 h 648"/>
                <a:gd name="T34" fmla="*/ 414 w 635"/>
                <a:gd name="T35" fmla="*/ 55 h 648"/>
                <a:gd name="T36" fmla="*/ 362 w 635"/>
                <a:gd name="T37" fmla="*/ 50 h 648"/>
                <a:gd name="T38" fmla="*/ 335 w 635"/>
                <a:gd name="T39" fmla="*/ 44 h 648"/>
                <a:gd name="T40" fmla="*/ 116 w 635"/>
                <a:gd name="T41" fmla="*/ 25 h 648"/>
                <a:gd name="T42" fmla="*/ 58 w 635"/>
                <a:gd name="T43" fmla="*/ 0 h 648"/>
                <a:gd name="T44" fmla="*/ 28 w 635"/>
                <a:gd name="T45" fmla="*/ 16 h 648"/>
                <a:gd name="T46" fmla="*/ 10 w 635"/>
                <a:gd name="T47" fmla="*/ 15 h 648"/>
                <a:gd name="T48" fmla="*/ 4 w 635"/>
                <a:gd name="T49" fmla="*/ 62 h 648"/>
                <a:gd name="T50" fmla="*/ 65 w 635"/>
                <a:gd name="T51" fmla="*/ 170 h 648"/>
                <a:gd name="T52" fmla="*/ 102 w 635"/>
                <a:gd name="T53" fmla="*/ 245 h 648"/>
                <a:gd name="T54" fmla="*/ 131 w 635"/>
                <a:gd name="T55" fmla="*/ 296 h 648"/>
                <a:gd name="T56" fmla="*/ 146 w 635"/>
                <a:gd name="T57" fmla="*/ 431 h 648"/>
                <a:gd name="T58" fmla="*/ 149 w 635"/>
                <a:gd name="T59" fmla="*/ 484 h 648"/>
                <a:gd name="T60" fmla="*/ 159 w 635"/>
                <a:gd name="T61" fmla="*/ 508 h 648"/>
                <a:gd name="T62" fmla="*/ 168 w 635"/>
                <a:gd name="T63" fmla="*/ 544 h 648"/>
                <a:gd name="T64" fmla="*/ 190 w 635"/>
                <a:gd name="T65" fmla="*/ 606 h 648"/>
                <a:gd name="T66" fmla="*/ 216 w 635"/>
                <a:gd name="T67" fmla="*/ 625 h 648"/>
                <a:gd name="T68" fmla="*/ 243 w 635"/>
                <a:gd name="T69" fmla="*/ 596 h 6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5" h="648">
                  <a:moveTo>
                    <a:pt x="243" y="596"/>
                  </a:moveTo>
                  <a:cubicBezTo>
                    <a:pt x="247" y="597"/>
                    <a:pt x="257" y="609"/>
                    <a:pt x="257" y="609"/>
                  </a:cubicBezTo>
                  <a:cubicBezTo>
                    <a:pt x="257" y="609"/>
                    <a:pt x="256" y="624"/>
                    <a:pt x="261" y="631"/>
                  </a:cubicBezTo>
                  <a:cubicBezTo>
                    <a:pt x="265" y="638"/>
                    <a:pt x="274" y="632"/>
                    <a:pt x="281" y="636"/>
                  </a:cubicBezTo>
                  <a:cubicBezTo>
                    <a:pt x="288" y="640"/>
                    <a:pt x="292" y="648"/>
                    <a:pt x="292" y="648"/>
                  </a:cubicBezTo>
                  <a:cubicBezTo>
                    <a:pt x="304" y="648"/>
                    <a:pt x="304" y="648"/>
                    <a:pt x="304" y="648"/>
                  </a:cubicBezTo>
                  <a:cubicBezTo>
                    <a:pt x="304" y="648"/>
                    <a:pt x="310" y="640"/>
                    <a:pt x="318" y="640"/>
                  </a:cubicBezTo>
                  <a:cubicBezTo>
                    <a:pt x="326" y="640"/>
                    <a:pt x="330" y="646"/>
                    <a:pt x="330" y="646"/>
                  </a:cubicBezTo>
                  <a:cubicBezTo>
                    <a:pt x="330" y="646"/>
                    <a:pt x="337" y="646"/>
                    <a:pt x="342" y="646"/>
                  </a:cubicBezTo>
                  <a:cubicBezTo>
                    <a:pt x="348" y="646"/>
                    <a:pt x="345" y="632"/>
                    <a:pt x="345" y="632"/>
                  </a:cubicBezTo>
                  <a:cubicBezTo>
                    <a:pt x="353" y="630"/>
                    <a:pt x="353" y="630"/>
                    <a:pt x="353" y="630"/>
                  </a:cubicBezTo>
                  <a:cubicBezTo>
                    <a:pt x="353" y="630"/>
                    <a:pt x="351" y="625"/>
                    <a:pt x="358" y="622"/>
                  </a:cubicBezTo>
                  <a:cubicBezTo>
                    <a:pt x="365" y="619"/>
                    <a:pt x="379" y="618"/>
                    <a:pt x="379" y="618"/>
                  </a:cubicBezTo>
                  <a:cubicBezTo>
                    <a:pt x="384" y="273"/>
                    <a:pt x="384" y="273"/>
                    <a:pt x="384" y="273"/>
                  </a:cubicBezTo>
                  <a:cubicBezTo>
                    <a:pt x="432" y="273"/>
                    <a:pt x="432" y="273"/>
                    <a:pt x="432" y="273"/>
                  </a:cubicBezTo>
                  <a:cubicBezTo>
                    <a:pt x="431" y="192"/>
                    <a:pt x="431" y="192"/>
                    <a:pt x="431" y="192"/>
                  </a:cubicBezTo>
                  <a:cubicBezTo>
                    <a:pt x="435" y="188"/>
                    <a:pt x="435" y="188"/>
                    <a:pt x="435" y="188"/>
                  </a:cubicBezTo>
                  <a:cubicBezTo>
                    <a:pt x="435" y="71"/>
                    <a:pt x="435" y="71"/>
                    <a:pt x="435" y="71"/>
                  </a:cubicBezTo>
                  <a:cubicBezTo>
                    <a:pt x="435" y="71"/>
                    <a:pt x="474" y="68"/>
                    <a:pt x="496" y="65"/>
                  </a:cubicBezTo>
                  <a:cubicBezTo>
                    <a:pt x="517" y="63"/>
                    <a:pt x="533" y="55"/>
                    <a:pt x="541" y="55"/>
                  </a:cubicBezTo>
                  <a:cubicBezTo>
                    <a:pt x="550" y="55"/>
                    <a:pt x="548" y="69"/>
                    <a:pt x="548" y="69"/>
                  </a:cubicBezTo>
                  <a:cubicBezTo>
                    <a:pt x="554" y="69"/>
                    <a:pt x="554" y="69"/>
                    <a:pt x="554" y="69"/>
                  </a:cubicBezTo>
                  <a:cubicBezTo>
                    <a:pt x="554" y="69"/>
                    <a:pt x="556" y="83"/>
                    <a:pt x="559" y="82"/>
                  </a:cubicBezTo>
                  <a:cubicBezTo>
                    <a:pt x="562" y="81"/>
                    <a:pt x="572" y="68"/>
                    <a:pt x="577" y="63"/>
                  </a:cubicBezTo>
                  <a:cubicBezTo>
                    <a:pt x="583" y="57"/>
                    <a:pt x="593" y="55"/>
                    <a:pt x="593" y="55"/>
                  </a:cubicBezTo>
                  <a:cubicBezTo>
                    <a:pt x="601" y="55"/>
                    <a:pt x="601" y="55"/>
                    <a:pt x="601" y="55"/>
                  </a:cubicBezTo>
                  <a:cubicBezTo>
                    <a:pt x="612" y="47"/>
                    <a:pt x="612" y="47"/>
                    <a:pt x="612" y="47"/>
                  </a:cubicBezTo>
                  <a:cubicBezTo>
                    <a:pt x="635" y="45"/>
                    <a:pt x="635" y="45"/>
                    <a:pt x="635" y="45"/>
                  </a:cubicBezTo>
                  <a:cubicBezTo>
                    <a:pt x="622" y="32"/>
                    <a:pt x="622" y="32"/>
                    <a:pt x="622" y="32"/>
                  </a:cubicBezTo>
                  <a:cubicBezTo>
                    <a:pt x="602" y="34"/>
                    <a:pt x="602" y="34"/>
                    <a:pt x="602" y="34"/>
                  </a:cubicBezTo>
                  <a:cubicBezTo>
                    <a:pt x="602" y="34"/>
                    <a:pt x="601" y="26"/>
                    <a:pt x="592" y="26"/>
                  </a:cubicBezTo>
                  <a:cubicBezTo>
                    <a:pt x="583" y="26"/>
                    <a:pt x="576" y="31"/>
                    <a:pt x="576" y="31"/>
                  </a:cubicBezTo>
                  <a:cubicBezTo>
                    <a:pt x="563" y="39"/>
                    <a:pt x="563" y="39"/>
                    <a:pt x="563" y="39"/>
                  </a:cubicBezTo>
                  <a:cubicBezTo>
                    <a:pt x="548" y="35"/>
                    <a:pt x="548" y="35"/>
                    <a:pt x="548" y="35"/>
                  </a:cubicBezTo>
                  <a:cubicBezTo>
                    <a:pt x="548" y="35"/>
                    <a:pt x="488" y="55"/>
                    <a:pt x="460" y="55"/>
                  </a:cubicBezTo>
                  <a:cubicBezTo>
                    <a:pt x="432" y="55"/>
                    <a:pt x="414" y="55"/>
                    <a:pt x="414" y="55"/>
                  </a:cubicBezTo>
                  <a:cubicBezTo>
                    <a:pt x="408" y="49"/>
                    <a:pt x="408" y="49"/>
                    <a:pt x="408" y="49"/>
                  </a:cubicBezTo>
                  <a:cubicBezTo>
                    <a:pt x="362" y="50"/>
                    <a:pt x="362" y="50"/>
                    <a:pt x="362" y="50"/>
                  </a:cubicBezTo>
                  <a:cubicBezTo>
                    <a:pt x="358" y="44"/>
                    <a:pt x="358" y="44"/>
                    <a:pt x="358" y="44"/>
                  </a:cubicBezTo>
                  <a:cubicBezTo>
                    <a:pt x="358" y="44"/>
                    <a:pt x="342" y="46"/>
                    <a:pt x="335" y="44"/>
                  </a:cubicBezTo>
                  <a:cubicBezTo>
                    <a:pt x="328" y="42"/>
                    <a:pt x="319" y="23"/>
                    <a:pt x="319" y="23"/>
                  </a:cubicBezTo>
                  <a:cubicBezTo>
                    <a:pt x="116" y="25"/>
                    <a:pt x="116" y="25"/>
                    <a:pt x="116" y="25"/>
                  </a:cubicBezTo>
                  <a:cubicBezTo>
                    <a:pt x="116" y="25"/>
                    <a:pt x="82" y="12"/>
                    <a:pt x="78" y="1"/>
                  </a:cubicBezTo>
                  <a:cubicBezTo>
                    <a:pt x="79" y="2"/>
                    <a:pt x="58" y="0"/>
                    <a:pt x="58" y="0"/>
                  </a:cubicBezTo>
                  <a:cubicBezTo>
                    <a:pt x="58" y="0"/>
                    <a:pt x="54" y="14"/>
                    <a:pt x="47" y="15"/>
                  </a:cubicBezTo>
                  <a:cubicBezTo>
                    <a:pt x="40" y="16"/>
                    <a:pt x="28" y="16"/>
                    <a:pt x="28" y="16"/>
                  </a:cubicBezTo>
                  <a:cubicBezTo>
                    <a:pt x="21" y="11"/>
                    <a:pt x="21" y="11"/>
                    <a:pt x="21" y="11"/>
                  </a:cubicBezTo>
                  <a:cubicBezTo>
                    <a:pt x="10" y="15"/>
                    <a:pt x="10" y="15"/>
                    <a:pt x="10" y="15"/>
                  </a:cubicBezTo>
                  <a:cubicBezTo>
                    <a:pt x="0" y="16"/>
                    <a:pt x="0" y="16"/>
                    <a:pt x="0" y="16"/>
                  </a:cubicBezTo>
                  <a:cubicBezTo>
                    <a:pt x="4" y="62"/>
                    <a:pt x="4" y="62"/>
                    <a:pt x="4" y="62"/>
                  </a:cubicBezTo>
                  <a:cubicBezTo>
                    <a:pt x="4" y="62"/>
                    <a:pt x="13" y="79"/>
                    <a:pt x="22" y="92"/>
                  </a:cubicBezTo>
                  <a:cubicBezTo>
                    <a:pt x="31" y="105"/>
                    <a:pt x="64" y="153"/>
                    <a:pt x="65" y="170"/>
                  </a:cubicBezTo>
                  <a:cubicBezTo>
                    <a:pt x="66" y="187"/>
                    <a:pt x="79" y="204"/>
                    <a:pt x="83" y="217"/>
                  </a:cubicBezTo>
                  <a:cubicBezTo>
                    <a:pt x="87" y="230"/>
                    <a:pt x="102" y="245"/>
                    <a:pt x="102" y="245"/>
                  </a:cubicBezTo>
                  <a:cubicBezTo>
                    <a:pt x="102" y="259"/>
                    <a:pt x="102" y="259"/>
                    <a:pt x="102" y="259"/>
                  </a:cubicBezTo>
                  <a:cubicBezTo>
                    <a:pt x="102" y="259"/>
                    <a:pt x="131" y="280"/>
                    <a:pt x="131" y="296"/>
                  </a:cubicBezTo>
                  <a:cubicBezTo>
                    <a:pt x="131" y="312"/>
                    <a:pt x="129" y="386"/>
                    <a:pt x="129" y="386"/>
                  </a:cubicBezTo>
                  <a:cubicBezTo>
                    <a:pt x="129" y="386"/>
                    <a:pt x="144" y="411"/>
                    <a:pt x="146" y="431"/>
                  </a:cubicBezTo>
                  <a:cubicBezTo>
                    <a:pt x="148" y="451"/>
                    <a:pt x="140" y="451"/>
                    <a:pt x="140" y="451"/>
                  </a:cubicBezTo>
                  <a:cubicBezTo>
                    <a:pt x="149" y="484"/>
                    <a:pt x="149" y="484"/>
                    <a:pt x="149" y="484"/>
                  </a:cubicBezTo>
                  <a:cubicBezTo>
                    <a:pt x="151" y="508"/>
                    <a:pt x="151" y="508"/>
                    <a:pt x="151" y="508"/>
                  </a:cubicBezTo>
                  <a:cubicBezTo>
                    <a:pt x="159" y="508"/>
                    <a:pt x="159" y="508"/>
                    <a:pt x="159" y="508"/>
                  </a:cubicBezTo>
                  <a:cubicBezTo>
                    <a:pt x="159" y="508"/>
                    <a:pt x="156" y="528"/>
                    <a:pt x="157" y="532"/>
                  </a:cubicBezTo>
                  <a:cubicBezTo>
                    <a:pt x="158" y="536"/>
                    <a:pt x="168" y="544"/>
                    <a:pt x="168" y="544"/>
                  </a:cubicBezTo>
                  <a:cubicBezTo>
                    <a:pt x="169" y="563"/>
                    <a:pt x="169" y="563"/>
                    <a:pt x="169" y="563"/>
                  </a:cubicBezTo>
                  <a:cubicBezTo>
                    <a:pt x="169" y="563"/>
                    <a:pt x="184" y="595"/>
                    <a:pt x="190" y="606"/>
                  </a:cubicBezTo>
                  <a:cubicBezTo>
                    <a:pt x="196" y="617"/>
                    <a:pt x="216" y="624"/>
                    <a:pt x="216" y="624"/>
                  </a:cubicBezTo>
                  <a:cubicBezTo>
                    <a:pt x="216" y="624"/>
                    <a:pt x="216" y="624"/>
                    <a:pt x="216" y="625"/>
                  </a:cubicBezTo>
                  <a:cubicBezTo>
                    <a:pt x="228" y="619"/>
                    <a:pt x="228" y="619"/>
                    <a:pt x="228" y="619"/>
                  </a:cubicBezTo>
                  <a:cubicBezTo>
                    <a:pt x="228" y="619"/>
                    <a:pt x="239" y="595"/>
                    <a:pt x="243" y="596"/>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41" name="Freeform 102"/>
            <p:cNvSpPr>
              <a:spLocks/>
            </p:cNvSpPr>
            <p:nvPr/>
          </p:nvSpPr>
          <p:spPr bwMode="gray">
            <a:xfrm>
              <a:off x="4905375" y="4445000"/>
              <a:ext cx="207962" cy="204788"/>
            </a:xfrm>
            <a:custGeom>
              <a:avLst/>
              <a:gdLst>
                <a:gd name="T0" fmla="*/ 11 w 372"/>
                <a:gd name="T1" fmla="*/ 136 h 366"/>
                <a:gd name="T2" fmla="*/ 11 w 372"/>
                <a:gd name="T3" fmla="*/ 156 h 366"/>
                <a:gd name="T4" fmla="*/ 23 w 372"/>
                <a:gd name="T5" fmla="*/ 160 h 366"/>
                <a:gd name="T6" fmla="*/ 33 w 372"/>
                <a:gd name="T7" fmla="*/ 181 h 366"/>
                <a:gd name="T8" fmla="*/ 42 w 372"/>
                <a:gd name="T9" fmla="*/ 213 h 366"/>
                <a:gd name="T10" fmla="*/ 70 w 372"/>
                <a:gd name="T11" fmla="*/ 234 h 366"/>
                <a:gd name="T12" fmla="*/ 90 w 372"/>
                <a:gd name="T13" fmla="*/ 238 h 366"/>
                <a:gd name="T14" fmla="*/ 91 w 372"/>
                <a:gd name="T15" fmla="*/ 260 h 366"/>
                <a:gd name="T16" fmla="*/ 112 w 372"/>
                <a:gd name="T17" fmla="*/ 261 h 366"/>
                <a:gd name="T18" fmla="*/ 114 w 372"/>
                <a:gd name="T19" fmla="*/ 276 h 366"/>
                <a:gd name="T20" fmla="*/ 110 w 372"/>
                <a:gd name="T21" fmla="*/ 281 h 366"/>
                <a:gd name="T22" fmla="*/ 110 w 372"/>
                <a:gd name="T23" fmla="*/ 299 h 366"/>
                <a:gd name="T24" fmla="*/ 122 w 372"/>
                <a:gd name="T25" fmla="*/ 304 h 366"/>
                <a:gd name="T26" fmla="*/ 122 w 372"/>
                <a:gd name="T27" fmla="*/ 319 h 366"/>
                <a:gd name="T28" fmla="*/ 161 w 372"/>
                <a:gd name="T29" fmla="*/ 327 h 366"/>
                <a:gd name="T30" fmla="*/ 180 w 372"/>
                <a:gd name="T31" fmla="*/ 352 h 366"/>
                <a:gd name="T32" fmla="*/ 167 w 372"/>
                <a:gd name="T33" fmla="*/ 353 h 366"/>
                <a:gd name="T34" fmla="*/ 206 w 372"/>
                <a:gd name="T35" fmla="*/ 351 h 366"/>
                <a:gd name="T36" fmla="*/ 230 w 372"/>
                <a:gd name="T37" fmla="*/ 359 h 366"/>
                <a:gd name="T38" fmla="*/ 265 w 372"/>
                <a:gd name="T39" fmla="*/ 359 h 366"/>
                <a:gd name="T40" fmla="*/ 277 w 372"/>
                <a:gd name="T41" fmla="*/ 366 h 366"/>
                <a:gd name="T42" fmla="*/ 324 w 372"/>
                <a:gd name="T43" fmla="*/ 310 h 366"/>
                <a:gd name="T44" fmla="*/ 334 w 372"/>
                <a:gd name="T45" fmla="*/ 307 h 366"/>
                <a:gd name="T46" fmla="*/ 325 w 372"/>
                <a:gd name="T47" fmla="*/ 294 h 366"/>
                <a:gd name="T48" fmla="*/ 333 w 372"/>
                <a:gd name="T49" fmla="*/ 289 h 366"/>
                <a:gd name="T50" fmla="*/ 334 w 372"/>
                <a:gd name="T51" fmla="*/ 266 h 366"/>
                <a:gd name="T52" fmla="*/ 350 w 372"/>
                <a:gd name="T53" fmla="*/ 257 h 366"/>
                <a:gd name="T54" fmla="*/ 354 w 372"/>
                <a:gd name="T55" fmla="*/ 242 h 366"/>
                <a:gd name="T56" fmla="*/ 364 w 372"/>
                <a:gd name="T57" fmla="*/ 229 h 366"/>
                <a:gd name="T58" fmla="*/ 346 w 372"/>
                <a:gd name="T59" fmla="*/ 206 h 366"/>
                <a:gd name="T60" fmla="*/ 360 w 372"/>
                <a:gd name="T61" fmla="*/ 190 h 366"/>
                <a:gd name="T62" fmla="*/ 346 w 372"/>
                <a:gd name="T63" fmla="*/ 174 h 366"/>
                <a:gd name="T64" fmla="*/ 360 w 372"/>
                <a:gd name="T65" fmla="*/ 167 h 366"/>
                <a:gd name="T66" fmla="*/ 360 w 372"/>
                <a:gd name="T67" fmla="*/ 158 h 366"/>
                <a:gd name="T68" fmla="*/ 366 w 372"/>
                <a:gd name="T69" fmla="*/ 145 h 366"/>
                <a:gd name="T70" fmla="*/ 358 w 372"/>
                <a:gd name="T71" fmla="*/ 119 h 366"/>
                <a:gd name="T72" fmla="*/ 366 w 372"/>
                <a:gd name="T73" fmla="*/ 107 h 366"/>
                <a:gd name="T74" fmla="*/ 360 w 372"/>
                <a:gd name="T75" fmla="*/ 99 h 366"/>
                <a:gd name="T76" fmla="*/ 366 w 372"/>
                <a:gd name="T77" fmla="*/ 90 h 366"/>
                <a:gd name="T78" fmla="*/ 358 w 372"/>
                <a:gd name="T79" fmla="*/ 81 h 366"/>
                <a:gd name="T80" fmla="*/ 368 w 372"/>
                <a:gd name="T81" fmla="*/ 63 h 366"/>
                <a:gd name="T82" fmla="*/ 349 w 372"/>
                <a:gd name="T83" fmla="*/ 55 h 366"/>
                <a:gd name="T84" fmla="*/ 336 w 372"/>
                <a:gd name="T85" fmla="*/ 43 h 366"/>
                <a:gd name="T86" fmla="*/ 318 w 372"/>
                <a:gd name="T87" fmla="*/ 46 h 366"/>
                <a:gd name="T88" fmla="*/ 308 w 372"/>
                <a:gd name="T89" fmla="*/ 30 h 366"/>
                <a:gd name="T90" fmla="*/ 293 w 372"/>
                <a:gd name="T91" fmla="*/ 33 h 366"/>
                <a:gd name="T92" fmla="*/ 285 w 372"/>
                <a:gd name="T93" fmla="*/ 21 h 366"/>
                <a:gd name="T94" fmla="*/ 246 w 372"/>
                <a:gd name="T95" fmla="*/ 21 h 366"/>
                <a:gd name="T96" fmla="*/ 245 w 372"/>
                <a:gd name="T97" fmla="*/ 1 h 366"/>
                <a:gd name="T98" fmla="*/ 205 w 372"/>
                <a:gd name="T99" fmla="*/ 5 h 366"/>
                <a:gd name="T100" fmla="*/ 170 w 372"/>
                <a:gd name="T101" fmla="*/ 25 h 366"/>
                <a:gd name="T102" fmla="*/ 172 w 372"/>
                <a:gd name="T103" fmla="*/ 49 h 366"/>
                <a:gd name="T104" fmla="*/ 125 w 372"/>
                <a:gd name="T105" fmla="*/ 68 h 366"/>
                <a:gd name="T106" fmla="*/ 116 w 372"/>
                <a:gd name="T107" fmla="*/ 91 h 366"/>
                <a:gd name="T108" fmla="*/ 77 w 372"/>
                <a:gd name="T109" fmla="*/ 127 h 366"/>
                <a:gd name="T110" fmla="*/ 51 w 372"/>
                <a:gd name="T111" fmla="*/ 121 h 366"/>
                <a:gd name="T112" fmla="*/ 38 w 372"/>
                <a:gd name="T113" fmla="*/ 127 h 366"/>
                <a:gd name="T114" fmla="*/ 26 w 372"/>
                <a:gd name="T115" fmla="*/ 117 h 366"/>
                <a:gd name="T116" fmla="*/ 0 w 372"/>
                <a:gd name="T117" fmla="*/ 117 h 366"/>
                <a:gd name="T118" fmla="*/ 2 w 372"/>
                <a:gd name="T119" fmla="*/ 127 h 366"/>
                <a:gd name="T120" fmla="*/ 11 w 372"/>
                <a:gd name="T121" fmla="*/ 136 h 3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72" h="366">
                  <a:moveTo>
                    <a:pt x="11" y="136"/>
                  </a:moveTo>
                  <a:cubicBezTo>
                    <a:pt x="11" y="156"/>
                    <a:pt x="11" y="156"/>
                    <a:pt x="11" y="156"/>
                  </a:cubicBezTo>
                  <a:cubicBezTo>
                    <a:pt x="11" y="156"/>
                    <a:pt x="19" y="150"/>
                    <a:pt x="23" y="160"/>
                  </a:cubicBezTo>
                  <a:cubicBezTo>
                    <a:pt x="27" y="170"/>
                    <a:pt x="33" y="181"/>
                    <a:pt x="33" y="181"/>
                  </a:cubicBezTo>
                  <a:cubicBezTo>
                    <a:pt x="33" y="181"/>
                    <a:pt x="35" y="204"/>
                    <a:pt x="42" y="213"/>
                  </a:cubicBezTo>
                  <a:cubicBezTo>
                    <a:pt x="49" y="222"/>
                    <a:pt x="70" y="234"/>
                    <a:pt x="70" y="234"/>
                  </a:cubicBezTo>
                  <a:cubicBezTo>
                    <a:pt x="70" y="234"/>
                    <a:pt x="88" y="231"/>
                    <a:pt x="90" y="238"/>
                  </a:cubicBezTo>
                  <a:cubicBezTo>
                    <a:pt x="92" y="245"/>
                    <a:pt x="91" y="260"/>
                    <a:pt x="91" y="260"/>
                  </a:cubicBezTo>
                  <a:cubicBezTo>
                    <a:pt x="112" y="261"/>
                    <a:pt x="112" y="261"/>
                    <a:pt x="112" y="261"/>
                  </a:cubicBezTo>
                  <a:cubicBezTo>
                    <a:pt x="114" y="276"/>
                    <a:pt x="114" y="276"/>
                    <a:pt x="114" y="276"/>
                  </a:cubicBezTo>
                  <a:cubicBezTo>
                    <a:pt x="110" y="281"/>
                    <a:pt x="110" y="281"/>
                    <a:pt x="110" y="281"/>
                  </a:cubicBezTo>
                  <a:cubicBezTo>
                    <a:pt x="110" y="299"/>
                    <a:pt x="110" y="299"/>
                    <a:pt x="110" y="299"/>
                  </a:cubicBezTo>
                  <a:cubicBezTo>
                    <a:pt x="110" y="299"/>
                    <a:pt x="122" y="297"/>
                    <a:pt x="122" y="304"/>
                  </a:cubicBezTo>
                  <a:cubicBezTo>
                    <a:pt x="122" y="311"/>
                    <a:pt x="122" y="319"/>
                    <a:pt x="122" y="319"/>
                  </a:cubicBezTo>
                  <a:cubicBezTo>
                    <a:pt x="122" y="319"/>
                    <a:pt x="148" y="322"/>
                    <a:pt x="161" y="327"/>
                  </a:cubicBezTo>
                  <a:cubicBezTo>
                    <a:pt x="171" y="331"/>
                    <a:pt x="177" y="345"/>
                    <a:pt x="180" y="352"/>
                  </a:cubicBezTo>
                  <a:cubicBezTo>
                    <a:pt x="167" y="353"/>
                    <a:pt x="167" y="353"/>
                    <a:pt x="167" y="353"/>
                  </a:cubicBezTo>
                  <a:cubicBezTo>
                    <a:pt x="206" y="351"/>
                    <a:pt x="206" y="351"/>
                    <a:pt x="206" y="351"/>
                  </a:cubicBezTo>
                  <a:cubicBezTo>
                    <a:pt x="206" y="351"/>
                    <a:pt x="222" y="358"/>
                    <a:pt x="230" y="359"/>
                  </a:cubicBezTo>
                  <a:cubicBezTo>
                    <a:pt x="238" y="360"/>
                    <a:pt x="265" y="359"/>
                    <a:pt x="265" y="359"/>
                  </a:cubicBezTo>
                  <a:cubicBezTo>
                    <a:pt x="277" y="366"/>
                    <a:pt x="277" y="366"/>
                    <a:pt x="277" y="366"/>
                  </a:cubicBezTo>
                  <a:cubicBezTo>
                    <a:pt x="324" y="310"/>
                    <a:pt x="324" y="310"/>
                    <a:pt x="324" y="310"/>
                  </a:cubicBezTo>
                  <a:cubicBezTo>
                    <a:pt x="334" y="307"/>
                    <a:pt x="334" y="307"/>
                    <a:pt x="334" y="307"/>
                  </a:cubicBezTo>
                  <a:cubicBezTo>
                    <a:pt x="325" y="294"/>
                    <a:pt x="325" y="294"/>
                    <a:pt x="325" y="294"/>
                  </a:cubicBezTo>
                  <a:cubicBezTo>
                    <a:pt x="333" y="289"/>
                    <a:pt x="333" y="289"/>
                    <a:pt x="333" y="289"/>
                  </a:cubicBezTo>
                  <a:cubicBezTo>
                    <a:pt x="334" y="266"/>
                    <a:pt x="334" y="266"/>
                    <a:pt x="334" y="266"/>
                  </a:cubicBezTo>
                  <a:cubicBezTo>
                    <a:pt x="334" y="266"/>
                    <a:pt x="349" y="265"/>
                    <a:pt x="350" y="257"/>
                  </a:cubicBezTo>
                  <a:cubicBezTo>
                    <a:pt x="352" y="249"/>
                    <a:pt x="354" y="242"/>
                    <a:pt x="354" y="242"/>
                  </a:cubicBezTo>
                  <a:cubicBezTo>
                    <a:pt x="354" y="242"/>
                    <a:pt x="365" y="235"/>
                    <a:pt x="364" y="229"/>
                  </a:cubicBezTo>
                  <a:cubicBezTo>
                    <a:pt x="362" y="222"/>
                    <a:pt x="345" y="211"/>
                    <a:pt x="346" y="206"/>
                  </a:cubicBezTo>
                  <a:cubicBezTo>
                    <a:pt x="348" y="201"/>
                    <a:pt x="360" y="190"/>
                    <a:pt x="360" y="190"/>
                  </a:cubicBezTo>
                  <a:cubicBezTo>
                    <a:pt x="346" y="174"/>
                    <a:pt x="346" y="174"/>
                    <a:pt x="346" y="174"/>
                  </a:cubicBezTo>
                  <a:cubicBezTo>
                    <a:pt x="360" y="167"/>
                    <a:pt x="360" y="167"/>
                    <a:pt x="360" y="167"/>
                  </a:cubicBezTo>
                  <a:cubicBezTo>
                    <a:pt x="360" y="158"/>
                    <a:pt x="360" y="158"/>
                    <a:pt x="360" y="158"/>
                  </a:cubicBezTo>
                  <a:cubicBezTo>
                    <a:pt x="360" y="158"/>
                    <a:pt x="369" y="158"/>
                    <a:pt x="366" y="145"/>
                  </a:cubicBezTo>
                  <a:cubicBezTo>
                    <a:pt x="364" y="131"/>
                    <a:pt x="356" y="125"/>
                    <a:pt x="358" y="119"/>
                  </a:cubicBezTo>
                  <a:cubicBezTo>
                    <a:pt x="361" y="114"/>
                    <a:pt x="366" y="107"/>
                    <a:pt x="366" y="107"/>
                  </a:cubicBezTo>
                  <a:cubicBezTo>
                    <a:pt x="360" y="99"/>
                    <a:pt x="360" y="99"/>
                    <a:pt x="360" y="99"/>
                  </a:cubicBezTo>
                  <a:cubicBezTo>
                    <a:pt x="366" y="90"/>
                    <a:pt x="366" y="90"/>
                    <a:pt x="366" y="90"/>
                  </a:cubicBezTo>
                  <a:cubicBezTo>
                    <a:pt x="358" y="81"/>
                    <a:pt x="358" y="81"/>
                    <a:pt x="358" y="81"/>
                  </a:cubicBezTo>
                  <a:cubicBezTo>
                    <a:pt x="358" y="81"/>
                    <a:pt x="372" y="71"/>
                    <a:pt x="368" y="63"/>
                  </a:cubicBezTo>
                  <a:cubicBezTo>
                    <a:pt x="364" y="55"/>
                    <a:pt x="349" y="55"/>
                    <a:pt x="349" y="55"/>
                  </a:cubicBezTo>
                  <a:cubicBezTo>
                    <a:pt x="349" y="55"/>
                    <a:pt x="344" y="43"/>
                    <a:pt x="336" y="43"/>
                  </a:cubicBezTo>
                  <a:cubicBezTo>
                    <a:pt x="328" y="43"/>
                    <a:pt x="318" y="46"/>
                    <a:pt x="318" y="46"/>
                  </a:cubicBezTo>
                  <a:cubicBezTo>
                    <a:pt x="308" y="30"/>
                    <a:pt x="308" y="30"/>
                    <a:pt x="308" y="30"/>
                  </a:cubicBezTo>
                  <a:cubicBezTo>
                    <a:pt x="293" y="33"/>
                    <a:pt x="293" y="33"/>
                    <a:pt x="293" y="33"/>
                  </a:cubicBezTo>
                  <a:cubicBezTo>
                    <a:pt x="285" y="21"/>
                    <a:pt x="285" y="21"/>
                    <a:pt x="285" y="21"/>
                  </a:cubicBezTo>
                  <a:cubicBezTo>
                    <a:pt x="246" y="21"/>
                    <a:pt x="246" y="21"/>
                    <a:pt x="246" y="21"/>
                  </a:cubicBezTo>
                  <a:cubicBezTo>
                    <a:pt x="245" y="1"/>
                    <a:pt x="245" y="1"/>
                    <a:pt x="245" y="1"/>
                  </a:cubicBezTo>
                  <a:cubicBezTo>
                    <a:pt x="236" y="0"/>
                    <a:pt x="218" y="0"/>
                    <a:pt x="205" y="5"/>
                  </a:cubicBezTo>
                  <a:cubicBezTo>
                    <a:pt x="188" y="11"/>
                    <a:pt x="170" y="25"/>
                    <a:pt x="170" y="25"/>
                  </a:cubicBezTo>
                  <a:cubicBezTo>
                    <a:pt x="170" y="25"/>
                    <a:pt x="173" y="48"/>
                    <a:pt x="172" y="49"/>
                  </a:cubicBezTo>
                  <a:cubicBezTo>
                    <a:pt x="171" y="50"/>
                    <a:pt x="132" y="61"/>
                    <a:pt x="125" y="68"/>
                  </a:cubicBezTo>
                  <a:cubicBezTo>
                    <a:pt x="118" y="75"/>
                    <a:pt x="116" y="91"/>
                    <a:pt x="116" y="91"/>
                  </a:cubicBezTo>
                  <a:cubicBezTo>
                    <a:pt x="116" y="91"/>
                    <a:pt x="95" y="118"/>
                    <a:pt x="77" y="127"/>
                  </a:cubicBezTo>
                  <a:cubicBezTo>
                    <a:pt x="59" y="136"/>
                    <a:pt x="58" y="127"/>
                    <a:pt x="51" y="121"/>
                  </a:cubicBezTo>
                  <a:cubicBezTo>
                    <a:pt x="44" y="115"/>
                    <a:pt x="42" y="127"/>
                    <a:pt x="38" y="127"/>
                  </a:cubicBezTo>
                  <a:cubicBezTo>
                    <a:pt x="34" y="127"/>
                    <a:pt x="28" y="121"/>
                    <a:pt x="26" y="117"/>
                  </a:cubicBezTo>
                  <a:cubicBezTo>
                    <a:pt x="24" y="113"/>
                    <a:pt x="0" y="117"/>
                    <a:pt x="0" y="117"/>
                  </a:cubicBezTo>
                  <a:cubicBezTo>
                    <a:pt x="2" y="127"/>
                    <a:pt x="2" y="127"/>
                    <a:pt x="2" y="127"/>
                  </a:cubicBezTo>
                  <a:lnTo>
                    <a:pt x="11" y="136"/>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42" name="Freeform 103"/>
            <p:cNvSpPr>
              <a:spLocks/>
            </p:cNvSpPr>
            <p:nvPr/>
          </p:nvSpPr>
          <p:spPr bwMode="gray">
            <a:xfrm>
              <a:off x="4764088" y="4511675"/>
              <a:ext cx="242887" cy="273050"/>
            </a:xfrm>
            <a:custGeom>
              <a:avLst/>
              <a:gdLst>
                <a:gd name="T0" fmla="*/ 0 w 433"/>
                <a:gd name="T1" fmla="*/ 377 h 490"/>
                <a:gd name="T2" fmla="*/ 22 w 433"/>
                <a:gd name="T3" fmla="*/ 394 h 490"/>
                <a:gd name="T4" fmla="*/ 30 w 433"/>
                <a:gd name="T5" fmla="*/ 423 h 490"/>
                <a:gd name="T6" fmla="*/ 37 w 433"/>
                <a:gd name="T7" fmla="*/ 443 h 490"/>
                <a:gd name="T8" fmla="*/ 27 w 433"/>
                <a:gd name="T9" fmla="*/ 465 h 490"/>
                <a:gd name="T10" fmla="*/ 27 w 433"/>
                <a:gd name="T11" fmla="*/ 487 h 490"/>
                <a:gd name="T12" fmla="*/ 78 w 433"/>
                <a:gd name="T13" fmla="*/ 485 h 490"/>
                <a:gd name="T14" fmla="*/ 83 w 433"/>
                <a:gd name="T15" fmla="*/ 473 h 490"/>
                <a:gd name="T16" fmla="*/ 97 w 433"/>
                <a:gd name="T17" fmla="*/ 474 h 490"/>
                <a:gd name="T18" fmla="*/ 106 w 433"/>
                <a:gd name="T19" fmla="*/ 454 h 490"/>
                <a:gd name="T20" fmla="*/ 124 w 433"/>
                <a:gd name="T21" fmla="*/ 446 h 490"/>
                <a:gd name="T22" fmla="*/ 142 w 433"/>
                <a:gd name="T23" fmla="*/ 401 h 490"/>
                <a:gd name="T24" fmla="*/ 171 w 433"/>
                <a:gd name="T25" fmla="*/ 413 h 490"/>
                <a:gd name="T26" fmla="*/ 181 w 433"/>
                <a:gd name="T27" fmla="*/ 423 h 490"/>
                <a:gd name="T28" fmla="*/ 198 w 433"/>
                <a:gd name="T29" fmla="*/ 424 h 490"/>
                <a:gd name="T30" fmla="*/ 223 w 433"/>
                <a:gd name="T31" fmla="*/ 433 h 490"/>
                <a:gd name="T32" fmla="*/ 236 w 433"/>
                <a:gd name="T33" fmla="*/ 426 h 490"/>
                <a:gd name="T34" fmla="*/ 255 w 433"/>
                <a:gd name="T35" fmla="*/ 426 h 490"/>
                <a:gd name="T36" fmla="*/ 270 w 433"/>
                <a:gd name="T37" fmla="*/ 386 h 490"/>
                <a:gd name="T38" fmla="*/ 284 w 433"/>
                <a:gd name="T39" fmla="*/ 374 h 490"/>
                <a:gd name="T40" fmla="*/ 295 w 433"/>
                <a:gd name="T41" fmla="*/ 371 h 490"/>
                <a:gd name="T42" fmla="*/ 318 w 433"/>
                <a:gd name="T43" fmla="*/ 347 h 490"/>
                <a:gd name="T44" fmla="*/ 329 w 433"/>
                <a:gd name="T45" fmla="*/ 311 h 490"/>
                <a:gd name="T46" fmla="*/ 353 w 433"/>
                <a:gd name="T47" fmla="*/ 298 h 490"/>
                <a:gd name="T48" fmla="*/ 383 w 433"/>
                <a:gd name="T49" fmla="*/ 259 h 490"/>
                <a:gd name="T50" fmla="*/ 412 w 433"/>
                <a:gd name="T51" fmla="*/ 252 h 490"/>
                <a:gd name="T52" fmla="*/ 420 w 433"/>
                <a:gd name="T53" fmla="*/ 236 h 490"/>
                <a:gd name="T54" fmla="*/ 433 w 433"/>
                <a:gd name="T55" fmla="*/ 235 h 490"/>
                <a:gd name="T56" fmla="*/ 414 w 433"/>
                <a:gd name="T57" fmla="*/ 210 h 490"/>
                <a:gd name="T58" fmla="*/ 375 w 433"/>
                <a:gd name="T59" fmla="*/ 202 h 490"/>
                <a:gd name="T60" fmla="*/ 375 w 433"/>
                <a:gd name="T61" fmla="*/ 187 h 490"/>
                <a:gd name="T62" fmla="*/ 363 w 433"/>
                <a:gd name="T63" fmla="*/ 182 h 490"/>
                <a:gd name="T64" fmla="*/ 363 w 433"/>
                <a:gd name="T65" fmla="*/ 164 h 490"/>
                <a:gd name="T66" fmla="*/ 367 w 433"/>
                <a:gd name="T67" fmla="*/ 159 h 490"/>
                <a:gd name="T68" fmla="*/ 365 w 433"/>
                <a:gd name="T69" fmla="*/ 144 h 490"/>
                <a:gd name="T70" fmla="*/ 344 w 433"/>
                <a:gd name="T71" fmla="*/ 143 h 490"/>
                <a:gd name="T72" fmla="*/ 343 w 433"/>
                <a:gd name="T73" fmla="*/ 121 h 490"/>
                <a:gd name="T74" fmla="*/ 323 w 433"/>
                <a:gd name="T75" fmla="*/ 117 h 490"/>
                <a:gd name="T76" fmla="*/ 295 w 433"/>
                <a:gd name="T77" fmla="*/ 96 h 490"/>
                <a:gd name="T78" fmla="*/ 286 w 433"/>
                <a:gd name="T79" fmla="*/ 64 h 490"/>
                <a:gd name="T80" fmla="*/ 276 w 433"/>
                <a:gd name="T81" fmla="*/ 43 h 490"/>
                <a:gd name="T82" fmla="*/ 264 w 433"/>
                <a:gd name="T83" fmla="*/ 39 h 490"/>
                <a:gd name="T84" fmla="*/ 264 w 433"/>
                <a:gd name="T85" fmla="*/ 19 h 490"/>
                <a:gd name="T86" fmla="*/ 255 w 433"/>
                <a:gd name="T87" fmla="*/ 10 h 490"/>
                <a:gd name="T88" fmla="*/ 253 w 433"/>
                <a:gd name="T89" fmla="*/ 0 h 490"/>
                <a:gd name="T90" fmla="*/ 230 w 433"/>
                <a:gd name="T91" fmla="*/ 2 h 490"/>
                <a:gd name="T92" fmla="*/ 219 w 433"/>
                <a:gd name="T93" fmla="*/ 10 h 490"/>
                <a:gd name="T94" fmla="*/ 211 w 433"/>
                <a:gd name="T95" fmla="*/ 10 h 490"/>
                <a:gd name="T96" fmla="*/ 195 w 433"/>
                <a:gd name="T97" fmla="*/ 18 h 490"/>
                <a:gd name="T98" fmla="*/ 177 w 433"/>
                <a:gd name="T99" fmla="*/ 37 h 490"/>
                <a:gd name="T100" fmla="*/ 172 w 433"/>
                <a:gd name="T101" fmla="*/ 24 h 490"/>
                <a:gd name="T102" fmla="*/ 166 w 433"/>
                <a:gd name="T103" fmla="*/ 24 h 490"/>
                <a:gd name="T104" fmla="*/ 159 w 433"/>
                <a:gd name="T105" fmla="*/ 10 h 490"/>
                <a:gd name="T106" fmla="*/ 114 w 433"/>
                <a:gd name="T107" fmla="*/ 20 h 490"/>
                <a:gd name="T108" fmla="*/ 53 w 433"/>
                <a:gd name="T109" fmla="*/ 26 h 490"/>
                <a:gd name="T110" fmla="*/ 53 w 433"/>
                <a:gd name="T111" fmla="*/ 143 h 490"/>
                <a:gd name="T112" fmla="*/ 49 w 433"/>
                <a:gd name="T113" fmla="*/ 147 h 490"/>
                <a:gd name="T114" fmla="*/ 50 w 433"/>
                <a:gd name="T115" fmla="*/ 228 h 490"/>
                <a:gd name="T116" fmla="*/ 2 w 433"/>
                <a:gd name="T117" fmla="*/ 228 h 490"/>
                <a:gd name="T118" fmla="*/ 0 w 433"/>
                <a:gd name="T119" fmla="*/ 377 h 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3" h="490">
                  <a:moveTo>
                    <a:pt x="0" y="377"/>
                  </a:moveTo>
                  <a:cubicBezTo>
                    <a:pt x="9" y="381"/>
                    <a:pt x="18" y="386"/>
                    <a:pt x="22" y="394"/>
                  </a:cubicBezTo>
                  <a:cubicBezTo>
                    <a:pt x="31" y="413"/>
                    <a:pt x="30" y="423"/>
                    <a:pt x="30" y="423"/>
                  </a:cubicBezTo>
                  <a:cubicBezTo>
                    <a:pt x="30" y="423"/>
                    <a:pt x="39" y="434"/>
                    <a:pt x="37" y="443"/>
                  </a:cubicBezTo>
                  <a:cubicBezTo>
                    <a:pt x="35" y="452"/>
                    <a:pt x="27" y="465"/>
                    <a:pt x="27" y="465"/>
                  </a:cubicBezTo>
                  <a:cubicBezTo>
                    <a:pt x="27" y="465"/>
                    <a:pt x="22" y="484"/>
                    <a:pt x="27" y="487"/>
                  </a:cubicBezTo>
                  <a:cubicBezTo>
                    <a:pt x="32" y="490"/>
                    <a:pt x="78" y="485"/>
                    <a:pt x="78" y="485"/>
                  </a:cubicBezTo>
                  <a:cubicBezTo>
                    <a:pt x="78" y="485"/>
                    <a:pt x="79" y="474"/>
                    <a:pt x="83" y="473"/>
                  </a:cubicBezTo>
                  <a:cubicBezTo>
                    <a:pt x="87" y="472"/>
                    <a:pt x="97" y="474"/>
                    <a:pt x="97" y="474"/>
                  </a:cubicBezTo>
                  <a:cubicBezTo>
                    <a:pt x="97" y="474"/>
                    <a:pt x="99" y="457"/>
                    <a:pt x="106" y="454"/>
                  </a:cubicBezTo>
                  <a:cubicBezTo>
                    <a:pt x="113" y="451"/>
                    <a:pt x="124" y="453"/>
                    <a:pt x="124" y="446"/>
                  </a:cubicBezTo>
                  <a:cubicBezTo>
                    <a:pt x="124" y="439"/>
                    <a:pt x="129" y="401"/>
                    <a:pt x="142" y="401"/>
                  </a:cubicBezTo>
                  <a:cubicBezTo>
                    <a:pt x="155" y="401"/>
                    <a:pt x="171" y="413"/>
                    <a:pt x="171" y="413"/>
                  </a:cubicBezTo>
                  <a:cubicBezTo>
                    <a:pt x="181" y="423"/>
                    <a:pt x="181" y="423"/>
                    <a:pt x="181" y="423"/>
                  </a:cubicBezTo>
                  <a:cubicBezTo>
                    <a:pt x="198" y="424"/>
                    <a:pt x="198" y="424"/>
                    <a:pt x="198" y="424"/>
                  </a:cubicBezTo>
                  <a:cubicBezTo>
                    <a:pt x="198" y="424"/>
                    <a:pt x="213" y="435"/>
                    <a:pt x="223" y="433"/>
                  </a:cubicBezTo>
                  <a:cubicBezTo>
                    <a:pt x="233" y="431"/>
                    <a:pt x="236" y="426"/>
                    <a:pt x="236" y="426"/>
                  </a:cubicBezTo>
                  <a:cubicBezTo>
                    <a:pt x="236" y="426"/>
                    <a:pt x="244" y="433"/>
                    <a:pt x="255" y="426"/>
                  </a:cubicBezTo>
                  <a:cubicBezTo>
                    <a:pt x="266" y="419"/>
                    <a:pt x="270" y="386"/>
                    <a:pt x="270" y="386"/>
                  </a:cubicBezTo>
                  <a:cubicBezTo>
                    <a:pt x="284" y="374"/>
                    <a:pt x="284" y="374"/>
                    <a:pt x="284" y="374"/>
                  </a:cubicBezTo>
                  <a:cubicBezTo>
                    <a:pt x="295" y="371"/>
                    <a:pt x="295" y="371"/>
                    <a:pt x="295" y="371"/>
                  </a:cubicBezTo>
                  <a:cubicBezTo>
                    <a:pt x="295" y="371"/>
                    <a:pt x="318" y="353"/>
                    <a:pt x="318" y="347"/>
                  </a:cubicBezTo>
                  <a:cubicBezTo>
                    <a:pt x="318" y="341"/>
                    <a:pt x="319" y="318"/>
                    <a:pt x="329" y="311"/>
                  </a:cubicBezTo>
                  <a:cubicBezTo>
                    <a:pt x="339" y="304"/>
                    <a:pt x="342" y="305"/>
                    <a:pt x="353" y="298"/>
                  </a:cubicBezTo>
                  <a:cubicBezTo>
                    <a:pt x="364" y="291"/>
                    <a:pt x="378" y="265"/>
                    <a:pt x="383" y="259"/>
                  </a:cubicBezTo>
                  <a:cubicBezTo>
                    <a:pt x="388" y="253"/>
                    <a:pt x="412" y="252"/>
                    <a:pt x="412" y="252"/>
                  </a:cubicBezTo>
                  <a:cubicBezTo>
                    <a:pt x="420" y="236"/>
                    <a:pt x="420" y="236"/>
                    <a:pt x="420" y="236"/>
                  </a:cubicBezTo>
                  <a:cubicBezTo>
                    <a:pt x="433" y="235"/>
                    <a:pt x="433" y="235"/>
                    <a:pt x="433" y="235"/>
                  </a:cubicBezTo>
                  <a:cubicBezTo>
                    <a:pt x="430" y="228"/>
                    <a:pt x="424" y="214"/>
                    <a:pt x="414" y="210"/>
                  </a:cubicBezTo>
                  <a:cubicBezTo>
                    <a:pt x="401" y="205"/>
                    <a:pt x="375" y="202"/>
                    <a:pt x="375" y="202"/>
                  </a:cubicBezTo>
                  <a:cubicBezTo>
                    <a:pt x="375" y="202"/>
                    <a:pt x="375" y="194"/>
                    <a:pt x="375" y="187"/>
                  </a:cubicBezTo>
                  <a:cubicBezTo>
                    <a:pt x="375" y="180"/>
                    <a:pt x="363" y="182"/>
                    <a:pt x="363" y="182"/>
                  </a:cubicBezTo>
                  <a:cubicBezTo>
                    <a:pt x="363" y="164"/>
                    <a:pt x="363" y="164"/>
                    <a:pt x="363" y="164"/>
                  </a:cubicBezTo>
                  <a:cubicBezTo>
                    <a:pt x="367" y="159"/>
                    <a:pt x="367" y="159"/>
                    <a:pt x="367" y="159"/>
                  </a:cubicBezTo>
                  <a:cubicBezTo>
                    <a:pt x="365" y="144"/>
                    <a:pt x="365" y="144"/>
                    <a:pt x="365" y="144"/>
                  </a:cubicBezTo>
                  <a:cubicBezTo>
                    <a:pt x="344" y="143"/>
                    <a:pt x="344" y="143"/>
                    <a:pt x="344" y="143"/>
                  </a:cubicBezTo>
                  <a:cubicBezTo>
                    <a:pt x="344" y="143"/>
                    <a:pt x="345" y="128"/>
                    <a:pt x="343" y="121"/>
                  </a:cubicBezTo>
                  <a:cubicBezTo>
                    <a:pt x="341" y="114"/>
                    <a:pt x="323" y="117"/>
                    <a:pt x="323" y="117"/>
                  </a:cubicBezTo>
                  <a:cubicBezTo>
                    <a:pt x="323" y="117"/>
                    <a:pt x="302" y="105"/>
                    <a:pt x="295" y="96"/>
                  </a:cubicBezTo>
                  <a:cubicBezTo>
                    <a:pt x="288" y="87"/>
                    <a:pt x="286" y="64"/>
                    <a:pt x="286" y="64"/>
                  </a:cubicBezTo>
                  <a:cubicBezTo>
                    <a:pt x="286" y="64"/>
                    <a:pt x="280" y="53"/>
                    <a:pt x="276" y="43"/>
                  </a:cubicBezTo>
                  <a:cubicBezTo>
                    <a:pt x="272" y="33"/>
                    <a:pt x="264" y="39"/>
                    <a:pt x="264" y="39"/>
                  </a:cubicBezTo>
                  <a:cubicBezTo>
                    <a:pt x="264" y="19"/>
                    <a:pt x="264" y="19"/>
                    <a:pt x="264" y="19"/>
                  </a:cubicBezTo>
                  <a:cubicBezTo>
                    <a:pt x="255" y="10"/>
                    <a:pt x="255" y="10"/>
                    <a:pt x="255" y="10"/>
                  </a:cubicBezTo>
                  <a:cubicBezTo>
                    <a:pt x="253" y="0"/>
                    <a:pt x="253" y="0"/>
                    <a:pt x="253" y="0"/>
                  </a:cubicBezTo>
                  <a:cubicBezTo>
                    <a:pt x="230" y="2"/>
                    <a:pt x="230" y="2"/>
                    <a:pt x="230" y="2"/>
                  </a:cubicBezTo>
                  <a:cubicBezTo>
                    <a:pt x="219" y="10"/>
                    <a:pt x="219" y="10"/>
                    <a:pt x="219" y="10"/>
                  </a:cubicBezTo>
                  <a:cubicBezTo>
                    <a:pt x="211" y="10"/>
                    <a:pt x="211" y="10"/>
                    <a:pt x="211" y="10"/>
                  </a:cubicBezTo>
                  <a:cubicBezTo>
                    <a:pt x="211" y="10"/>
                    <a:pt x="201" y="12"/>
                    <a:pt x="195" y="18"/>
                  </a:cubicBezTo>
                  <a:cubicBezTo>
                    <a:pt x="190" y="23"/>
                    <a:pt x="180" y="36"/>
                    <a:pt x="177" y="37"/>
                  </a:cubicBezTo>
                  <a:cubicBezTo>
                    <a:pt x="174" y="38"/>
                    <a:pt x="172" y="24"/>
                    <a:pt x="172" y="24"/>
                  </a:cubicBezTo>
                  <a:cubicBezTo>
                    <a:pt x="166" y="24"/>
                    <a:pt x="166" y="24"/>
                    <a:pt x="166" y="24"/>
                  </a:cubicBezTo>
                  <a:cubicBezTo>
                    <a:pt x="166" y="24"/>
                    <a:pt x="168" y="10"/>
                    <a:pt x="159" y="10"/>
                  </a:cubicBezTo>
                  <a:cubicBezTo>
                    <a:pt x="151" y="10"/>
                    <a:pt x="135" y="18"/>
                    <a:pt x="114" y="20"/>
                  </a:cubicBezTo>
                  <a:cubicBezTo>
                    <a:pt x="92" y="23"/>
                    <a:pt x="53" y="26"/>
                    <a:pt x="53" y="26"/>
                  </a:cubicBezTo>
                  <a:cubicBezTo>
                    <a:pt x="53" y="143"/>
                    <a:pt x="53" y="143"/>
                    <a:pt x="53" y="143"/>
                  </a:cubicBezTo>
                  <a:cubicBezTo>
                    <a:pt x="49" y="147"/>
                    <a:pt x="49" y="147"/>
                    <a:pt x="49" y="147"/>
                  </a:cubicBezTo>
                  <a:cubicBezTo>
                    <a:pt x="50" y="228"/>
                    <a:pt x="50" y="228"/>
                    <a:pt x="50" y="228"/>
                  </a:cubicBezTo>
                  <a:cubicBezTo>
                    <a:pt x="2" y="228"/>
                    <a:pt x="2" y="228"/>
                    <a:pt x="2" y="228"/>
                  </a:cubicBezTo>
                  <a:lnTo>
                    <a:pt x="0" y="377"/>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43" name="Freeform 104"/>
            <p:cNvSpPr>
              <a:spLocks/>
            </p:cNvSpPr>
            <p:nvPr/>
          </p:nvSpPr>
          <p:spPr bwMode="gray">
            <a:xfrm>
              <a:off x="5330825" y="3613150"/>
              <a:ext cx="268287" cy="414338"/>
            </a:xfrm>
            <a:custGeom>
              <a:avLst/>
              <a:gdLst>
                <a:gd name="T0" fmla="*/ 70 w 480"/>
                <a:gd name="T1" fmla="*/ 77 h 739"/>
                <a:gd name="T2" fmla="*/ 79 w 480"/>
                <a:gd name="T3" fmla="*/ 85 h 739"/>
                <a:gd name="T4" fmla="*/ 78 w 480"/>
                <a:gd name="T5" fmla="*/ 93 h 739"/>
                <a:gd name="T6" fmla="*/ 97 w 480"/>
                <a:gd name="T7" fmla="*/ 117 h 739"/>
                <a:gd name="T8" fmla="*/ 107 w 480"/>
                <a:gd name="T9" fmla="*/ 142 h 739"/>
                <a:gd name="T10" fmla="*/ 122 w 480"/>
                <a:gd name="T11" fmla="*/ 142 h 739"/>
                <a:gd name="T12" fmla="*/ 143 w 480"/>
                <a:gd name="T13" fmla="*/ 167 h 739"/>
                <a:gd name="T14" fmla="*/ 225 w 480"/>
                <a:gd name="T15" fmla="*/ 194 h 739"/>
                <a:gd name="T16" fmla="*/ 277 w 480"/>
                <a:gd name="T17" fmla="*/ 220 h 739"/>
                <a:gd name="T18" fmla="*/ 325 w 480"/>
                <a:gd name="T19" fmla="*/ 217 h 739"/>
                <a:gd name="T20" fmla="*/ 185 w 480"/>
                <a:gd name="T21" fmla="*/ 382 h 739"/>
                <a:gd name="T22" fmla="*/ 129 w 480"/>
                <a:gd name="T23" fmla="*/ 382 h 739"/>
                <a:gd name="T24" fmla="*/ 96 w 480"/>
                <a:gd name="T25" fmla="*/ 396 h 739"/>
                <a:gd name="T26" fmla="*/ 89 w 480"/>
                <a:gd name="T27" fmla="*/ 414 h 739"/>
                <a:gd name="T28" fmla="*/ 50 w 480"/>
                <a:gd name="T29" fmla="*/ 421 h 739"/>
                <a:gd name="T30" fmla="*/ 42 w 480"/>
                <a:gd name="T31" fmla="*/ 435 h 739"/>
                <a:gd name="T32" fmla="*/ 22 w 480"/>
                <a:gd name="T33" fmla="*/ 471 h 739"/>
                <a:gd name="T34" fmla="*/ 1 w 480"/>
                <a:gd name="T35" fmla="*/ 492 h 739"/>
                <a:gd name="T36" fmla="*/ 0 w 480"/>
                <a:gd name="T37" fmla="*/ 695 h 739"/>
                <a:gd name="T38" fmla="*/ 28 w 480"/>
                <a:gd name="T39" fmla="*/ 735 h 739"/>
                <a:gd name="T40" fmla="*/ 26 w 480"/>
                <a:gd name="T41" fmla="*/ 739 h 739"/>
                <a:gd name="T42" fmla="*/ 26 w 480"/>
                <a:gd name="T43" fmla="*/ 739 h 739"/>
                <a:gd name="T44" fmla="*/ 58 w 480"/>
                <a:gd name="T45" fmla="*/ 680 h 739"/>
                <a:gd name="T46" fmla="*/ 100 w 480"/>
                <a:gd name="T47" fmla="*/ 639 h 739"/>
                <a:gd name="T48" fmla="*/ 157 w 480"/>
                <a:gd name="T49" fmla="*/ 573 h 739"/>
                <a:gd name="T50" fmla="*/ 210 w 480"/>
                <a:gd name="T51" fmla="*/ 536 h 739"/>
                <a:gd name="T52" fmla="*/ 281 w 480"/>
                <a:gd name="T53" fmla="*/ 473 h 739"/>
                <a:gd name="T54" fmla="*/ 335 w 480"/>
                <a:gd name="T55" fmla="*/ 399 h 739"/>
                <a:gd name="T56" fmla="*/ 370 w 480"/>
                <a:gd name="T57" fmla="*/ 334 h 739"/>
                <a:gd name="T58" fmla="*/ 384 w 480"/>
                <a:gd name="T59" fmla="*/ 308 h 739"/>
                <a:gd name="T60" fmla="*/ 397 w 480"/>
                <a:gd name="T61" fmla="*/ 262 h 739"/>
                <a:gd name="T62" fmla="*/ 417 w 480"/>
                <a:gd name="T63" fmla="*/ 228 h 739"/>
                <a:gd name="T64" fmla="*/ 427 w 480"/>
                <a:gd name="T65" fmla="*/ 205 h 739"/>
                <a:gd name="T66" fmla="*/ 440 w 480"/>
                <a:gd name="T67" fmla="*/ 169 h 739"/>
                <a:gd name="T68" fmla="*/ 457 w 480"/>
                <a:gd name="T69" fmla="*/ 147 h 739"/>
                <a:gd name="T70" fmla="*/ 457 w 480"/>
                <a:gd name="T71" fmla="*/ 93 h 739"/>
                <a:gd name="T72" fmla="*/ 471 w 480"/>
                <a:gd name="T73" fmla="*/ 84 h 739"/>
                <a:gd name="T74" fmla="*/ 467 w 480"/>
                <a:gd name="T75" fmla="*/ 38 h 739"/>
                <a:gd name="T76" fmla="*/ 474 w 480"/>
                <a:gd name="T77" fmla="*/ 8 h 739"/>
                <a:gd name="T78" fmla="*/ 447 w 480"/>
                <a:gd name="T79" fmla="*/ 0 h 739"/>
                <a:gd name="T80" fmla="*/ 432 w 480"/>
                <a:gd name="T81" fmla="*/ 21 h 739"/>
                <a:gd name="T82" fmla="*/ 382 w 480"/>
                <a:gd name="T83" fmla="*/ 37 h 739"/>
                <a:gd name="T84" fmla="*/ 345 w 480"/>
                <a:gd name="T85" fmla="*/ 35 h 739"/>
                <a:gd name="T86" fmla="*/ 318 w 480"/>
                <a:gd name="T87" fmla="*/ 54 h 739"/>
                <a:gd name="T88" fmla="*/ 296 w 480"/>
                <a:gd name="T89" fmla="*/ 43 h 739"/>
                <a:gd name="T90" fmla="*/ 252 w 480"/>
                <a:gd name="T91" fmla="*/ 73 h 739"/>
                <a:gd name="T92" fmla="*/ 221 w 480"/>
                <a:gd name="T93" fmla="*/ 62 h 739"/>
                <a:gd name="T94" fmla="*/ 181 w 480"/>
                <a:gd name="T95" fmla="*/ 84 h 739"/>
                <a:gd name="T96" fmla="*/ 141 w 480"/>
                <a:gd name="T97" fmla="*/ 85 h 739"/>
                <a:gd name="T98" fmla="*/ 111 w 480"/>
                <a:gd name="T99" fmla="*/ 48 h 739"/>
                <a:gd name="T100" fmla="*/ 99 w 480"/>
                <a:gd name="T101" fmla="*/ 35 h 739"/>
                <a:gd name="T102" fmla="*/ 84 w 480"/>
                <a:gd name="T103" fmla="*/ 55 h 739"/>
                <a:gd name="T104" fmla="*/ 70 w 480"/>
                <a:gd name="T105" fmla="*/ 77 h 7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80" h="739">
                  <a:moveTo>
                    <a:pt x="70" y="77"/>
                  </a:moveTo>
                  <a:cubicBezTo>
                    <a:pt x="79" y="85"/>
                    <a:pt x="79" y="85"/>
                    <a:pt x="79" y="85"/>
                  </a:cubicBezTo>
                  <a:cubicBezTo>
                    <a:pt x="78" y="93"/>
                    <a:pt x="78" y="93"/>
                    <a:pt x="78" y="93"/>
                  </a:cubicBezTo>
                  <a:cubicBezTo>
                    <a:pt x="78" y="93"/>
                    <a:pt x="91" y="109"/>
                    <a:pt x="97" y="117"/>
                  </a:cubicBezTo>
                  <a:cubicBezTo>
                    <a:pt x="103" y="125"/>
                    <a:pt x="107" y="142"/>
                    <a:pt x="107" y="142"/>
                  </a:cubicBezTo>
                  <a:cubicBezTo>
                    <a:pt x="122" y="142"/>
                    <a:pt x="122" y="142"/>
                    <a:pt x="122" y="142"/>
                  </a:cubicBezTo>
                  <a:cubicBezTo>
                    <a:pt x="122" y="142"/>
                    <a:pt x="132" y="159"/>
                    <a:pt x="143" y="167"/>
                  </a:cubicBezTo>
                  <a:cubicBezTo>
                    <a:pt x="154" y="175"/>
                    <a:pt x="206" y="188"/>
                    <a:pt x="225" y="194"/>
                  </a:cubicBezTo>
                  <a:cubicBezTo>
                    <a:pt x="244" y="200"/>
                    <a:pt x="277" y="220"/>
                    <a:pt x="277" y="220"/>
                  </a:cubicBezTo>
                  <a:cubicBezTo>
                    <a:pt x="325" y="217"/>
                    <a:pt x="325" y="217"/>
                    <a:pt x="325" y="217"/>
                  </a:cubicBezTo>
                  <a:cubicBezTo>
                    <a:pt x="185" y="382"/>
                    <a:pt x="185" y="382"/>
                    <a:pt x="185" y="382"/>
                  </a:cubicBezTo>
                  <a:cubicBezTo>
                    <a:pt x="185" y="382"/>
                    <a:pt x="137" y="380"/>
                    <a:pt x="129" y="382"/>
                  </a:cubicBezTo>
                  <a:cubicBezTo>
                    <a:pt x="121" y="384"/>
                    <a:pt x="96" y="396"/>
                    <a:pt x="96" y="396"/>
                  </a:cubicBezTo>
                  <a:cubicBezTo>
                    <a:pt x="96" y="396"/>
                    <a:pt x="95" y="408"/>
                    <a:pt x="89" y="414"/>
                  </a:cubicBezTo>
                  <a:cubicBezTo>
                    <a:pt x="83" y="420"/>
                    <a:pt x="58" y="418"/>
                    <a:pt x="50" y="421"/>
                  </a:cubicBezTo>
                  <a:cubicBezTo>
                    <a:pt x="42" y="424"/>
                    <a:pt x="42" y="435"/>
                    <a:pt x="42" y="435"/>
                  </a:cubicBezTo>
                  <a:cubicBezTo>
                    <a:pt x="42" y="435"/>
                    <a:pt x="29" y="463"/>
                    <a:pt x="22" y="471"/>
                  </a:cubicBezTo>
                  <a:cubicBezTo>
                    <a:pt x="15" y="479"/>
                    <a:pt x="1" y="492"/>
                    <a:pt x="1" y="492"/>
                  </a:cubicBezTo>
                  <a:cubicBezTo>
                    <a:pt x="0" y="695"/>
                    <a:pt x="0" y="695"/>
                    <a:pt x="0" y="695"/>
                  </a:cubicBezTo>
                  <a:cubicBezTo>
                    <a:pt x="28" y="735"/>
                    <a:pt x="28" y="735"/>
                    <a:pt x="28" y="735"/>
                  </a:cubicBezTo>
                  <a:cubicBezTo>
                    <a:pt x="27" y="737"/>
                    <a:pt x="27" y="738"/>
                    <a:pt x="26" y="739"/>
                  </a:cubicBezTo>
                  <a:cubicBezTo>
                    <a:pt x="26" y="739"/>
                    <a:pt x="26" y="739"/>
                    <a:pt x="26" y="739"/>
                  </a:cubicBezTo>
                  <a:cubicBezTo>
                    <a:pt x="35" y="722"/>
                    <a:pt x="52" y="690"/>
                    <a:pt x="58" y="680"/>
                  </a:cubicBezTo>
                  <a:cubicBezTo>
                    <a:pt x="65" y="669"/>
                    <a:pt x="97" y="654"/>
                    <a:pt x="100" y="639"/>
                  </a:cubicBezTo>
                  <a:cubicBezTo>
                    <a:pt x="103" y="624"/>
                    <a:pt x="146" y="586"/>
                    <a:pt x="157" y="573"/>
                  </a:cubicBezTo>
                  <a:cubicBezTo>
                    <a:pt x="168" y="560"/>
                    <a:pt x="202" y="541"/>
                    <a:pt x="210" y="536"/>
                  </a:cubicBezTo>
                  <a:cubicBezTo>
                    <a:pt x="218" y="531"/>
                    <a:pt x="275" y="484"/>
                    <a:pt x="281" y="473"/>
                  </a:cubicBezTo>
                  <a:cubicBezTo>
                    <a:pt x="287" y="462"/>
                    <a:pt x="331" y="413"/>
                    <a:pt x="335" y="399"/>
                  </a:cubicBezTo>
                  <a:cubicBezTo>
                    <a:pt x="339" y="385"/>
                    <a:pt x="364" y="339"/>
                    <a:pt x="370" y="334"/>
                  </a:cubicBezTo>
                  <a:cubicBezTo>
                    <a:pt x="376" y="329"/>
                    <a:pt x="384" y="316"/>
                    <a:pt x="384" y="308"/>
                  </a:cubicBezTo>
                  <a:cubicBezTo>
                    <a:pt x="384" y="300"/>
                    <a:pt x="390" y="271"/>
                    <a:pt x="397" y="262"/>
                  </a:cubicBezTo>
                  <a:cubicBezTo>
                    <a:pt x="404" y="253"/>
                    <a:pt x="417" y="241"/>
                    <a:pt x="417" y="228"/>
                  </a:cubicBezTo>
                  <a:cubicBezTo>
                    <a:pt x="417" y="215"/>
                    <a:pt x="427" y="205"/>
                    <a:pt x="427" y="205"/>
                  </a:cubicBezTo>
                  <a:cubicBezTo>
                    <a:pt x="440" y="169"/>
                    <a:pt x="440" y="169"/>
                    <a:pt x="440" y="169"/>
                  </a:cubicBezTo>
                  <a:cubicBezTo>
                    <a:pt x="440" y="169"/>
                    <a:pt x="457" y="173"/>
                    <a:pt x="457" y="147"/>
                  </a:cubicBezTo>
                  <a:cubicBezTo>
                    <a:pt x="457" y="121"/>
                    <a:pt x="457" y="93"/>
                    <a:pt x="457" y="93"/>
                  </a:cubicBezTo>
                  <a:cubicBezTo>
                    <a:pt x="471" y="84"/>
                    <a:pt x="471" y="84"/>
                    <a:pt x="471" y="84"/>
                  </a:cubicBezTo>
                  <a:cubicBezTo>
                    <a:pt x="467" y="38"/>
                    <a:pt x="467" y="38"/>
                    <a:pt x="467" y="38"/>
                  </a:cubicBezTo>
                  <a:cubicBezTo>
                    <a:pt x="467" y="38"/>
                    <a:pt x="480" y="14"/>
                    <a:pt x="474" y="8"/>
                  </a:cubicBezTo>
                  <a:cubicBezTo>
                    <a:pt x="468" y="2"/>
                    <a:pt x="447" y="0"/>
                    <a:pt x="447" y="0"/>
                  </a:cubicBezTo>
                  <a:cubicBezTo>
                    <a:pt x="447" y="0"/>
                    <a:pt x="439" y="14"/>
                    <a:pt x="432" y="21"/>
                  </a:cubicBezTo>
                  <a:cubicBezTo>
                    <a:pt x="425" y="28"/>
                    <a:pt x="388" y="37"/>
                    <a:pt x="382" y="37"/>
                  </a:cubicBezTo>
                  <a:cubicBezTo>
                    <a:pt x="376" y="37"/>
                    <a:pt x="355" y="31"/>
                    <a:pt x="345" y="35"/>
                  </a:cubicBezTo>
                  <a:cubicBezTo>
                    <a:pt x="335" y="39"/>
                    <a:pt x="322" y="54"/>
                    <a:pt x="318" y="54"/>
                  </a:cubicBezTo>
                  <a:cubicBezTo>
                    <a:pt x="314" y="54"/>
                    <a:pt x="304" y="42"/>
                    <a:pt x="296" y="43"/>
                  </a:cubicBezTo>
                  <a:cubicBezTo>
                    <a:pt x="288" y="44"/>
                    <a:pt x="261" y="72"/>
                    <a:pt x="252" y="73"/>
                  </a:cubicBezTo>
                  <a:cubicBezTo>
                    <a:pt x="243" y="74"/>
                    <a:pt x="235" y="58"/>
                    <a:pt x="221" y="62"/>
                  </a:cubicBezTo>
                  <a:cubicBezTo>
                    <a:pt x="207" y="66"/>
                    <a:pt x="189" y="83"/>
                    <a:pt x="181" y="84"/>
                  </a:cubicBezTo>
                  <a:cubicBezTo>
                    <a:pt x="173" y="85"/>
                    <a:pt x="141" y="85"/>
                    <a:pt x="141" y="85"/>
                  </a:cubicBezTo>
                  <a:cubicBezTo>
                    <a:pt x="141" y="85"/>
                    <a:pt x="111" y="58"/>
                    <a:pt x="111" y="48"/>
                  </a:cubicBezTo>
                  <a:cubicBezTo>
                    <a:pt x="111" y="40"/>
                    <a:pt x="102" y="36"/>
                    <a:pt x="99" y="35"/>
                  </a:cubicBezTo>
                  <a:cubicBezTo>
                    <a:pt x="84" y="55"/>
                    <a:pt x="84" y="55"/>
                    <a:pt x="84" y="55"/>
                  </a:cubicBezTo>
                  <a:lnTo>
                    <a:pt x="70" y="77"/>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44" name="Freeform 105"/>
            <p:cNvSpPr>
              <a:spLocks/>
            </p:cNvSpPr>
            <p:nvPr/>
          </p:nvSpPr>
          <p:spPr bwMode="gray">
            <a:xfrm>
              <a:off x="5343525" y="3594100"/>
              <a:ext cx="47625" cy="52388"/>
            </a:xfrm>
            <a:custGeom>
              <a:avLst/>
              <a:gdLst>
                <a:gd name="T0" fmla="*/ 47 w 85"/>
                <a:gd name="T1" fmla="*/ 18 h 95"/>
                <a:gd name="T2" fmla="*/ 31 w 85"/>
                <a:gd name="T3" fmla="*/ 8 h 95"/>
                <a:gd name="T4" fmla="*/ 13 w 85"/>
                <a:gd name="T5" fmla="*/ 47 h 95"/>
                <a:gd name="T6" fmla="*/ 0 w 85"/>
                <a:gd name="T7" fmla="*/ 56 h 95"/>
                <a:gd name="T8" fmla="*/ 11 w 85"/>
                <a:gd name="T9" fmla="*/ 94 h 95"/>
                <a:gd name="T10" fmla="*/ 36 w 85"/>
                <a:gd name="T11" fmla="*/ 91 h 95"/>
                <a:gd name="T12" fmla="*/ 46 w 85"/>
                <a:gd name="T13" fmla="*/ 84 h 95"/>
                <a:gd name="T14" fmla="*/ 59 w 85"/>
                <a:gd name="T15" fmla="*/ 93 h 95"/>
                <a:gd name="T16" fmla="*/ 60 w 85"/>
                <a:gd name="T17" fmla="*/ 91 h 95"/>
                <a:gd name="T18" fmla="*/ 75 w 85"/>
                <a:gd name="T19" fmla="*/ 71 h 95"/>
                <a:gd name="T20" fmla="*/ 74 w 85"/>
                <a:gd name="T21" fmla="*/ 71 h 95"/>
                <a:gd name="T22" fmla="*/ 67 w 85"/>
                <a:gd name="T23" fmla="*/ 61 h 95"/>
                <a:gd name="T24" fmla="*/ 44 w 85"/>
                <a:gd name="T25" fmla="*/ 63 h 95"/>
                <a:gd name="T26" fmla="*/ 76 w 85"/>
                <a:gd name="T27" fmla="*/ 17 h 95"/>
                <a:gd name="T28" fmla="*/ 63 w 85"/>
                <a:gd name="T29" fmla="*/ 0 h 95"/>
                <a:gd name="T30" fmla="*/ 54 w 85"/>
                <a:gd name="T31" fmla="*/ 6 h 95"/>
                <a:gd name="T32" fmla="*/ 47 w 85"/>
                <a:gd name="T33" fmla="*/ 18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 h="95">
                  <a:moveTo>
                    <a:pt x="47" y="18"/>
                  </a:moveTo>
                  <a:cubicBezTo>
                    <a:pt x="31" y="8"/>
                    <a:pt x="31" y="8"/>
                    <a:pt x="31" y="8"/>
                  </a:cubicBezTo>
                  <a:cubicBezTo>
                    <a:pt x="13" y="47"/>
                    <a:pt x="13" y="47"/>
                    <a:pt x="13" y="47"/>
                  </a:cubicBezTo>
                  <a:cubicBezTo>
                    <a:pt x="0" y="56"/>
                    <a:pt x="0" y="56"/>
                    <a:pt x="0" y="56"/>
                  </a:cubicBezTo>
                  <a:cubicBezTo>
                    <a:pt x="0" y="56"/>
                    <a:pt x="3" y="93"/>
                    <a:pt x="11" y="94"/>
                  </a:cubicBezTo>
                  <a:cubicBezTo>
                    <a:pt x="19" y="95"/>
                    <a:pt x="36" y="91"/>
                    <a:pt x="36" y="91"/>
                  </a:cubicBezTo>
                  <a:cubicBezTo>
                    <a:pt x="36" y="91"/>
                    <a:pt x="39" y="83"/>
                    <a:pt x="46" y="84"/>
                  </a:cubicBezTo>
                  <a:cubicBezTo>
                    <a:pt x="50" y="85"/>
                    <a:pt x="55" y="89"/>
                    <a:pt x="59" y="93"/>
                  </a:cubicBezTo>
                  <a:cubicBezTo>
                    <a:pt x="60" y="91"/>
                    <a:pt x="60" y="91"/>
                    <a:pt x="60" y="91"/>
                  </a:cubicBezTo>
                  <a:cubicBezTo>
                    <a:pt x="75" y="71"/>
                    <a:pt x="75" y="71"/>
                    <a:pt x="75" y="71"/>
                  </a:cubicBezTo>
                  <a:cubicBezTo>
                    <a:pt x="74" y="71"/>
                    <a:pt x="74" y="71"/>
                    <a:pt x="74" y="71"/>
                  </a:cubicBezTo>
                  <a:cubicBezTo>
                    <a:pt x="67" y="61"/>
                    <a:pt x="67" y="61"/>
                    <a:pt x="67" y="61"/>
                  </a:cubicBezTo>
                  <a:cubicBezTo>
                    <a:pt x="44" y="63"/>
                    <a:pt x="44" y="63"/>
                    <a:pt x="44" y="63"/>
                  </a:cubicBezTo>
                  <a:cubicBezTo>
                    <a:pt x="44" y="63"/>
                    <a:pt x="85" y="30"/>
                    <a:pt x="76" y="17"/>
                  </a:cubicBezTo>
                  <a:cubicBezTo>
                    <a:pt x="73" y="12"/>
                    <a:pt x="68" y="6"/>
                    <a:pt x="63" y="0"/>
                  </a:cubicBezTo>
                  <a:cubicBezTo>
                    <a:pt x="54" y="6"/>
                    <a:pt x="54" y="6"/>
                    <a:pt x="54" y="6"/>
                  </a:cubicBezTo>
                  <a:lnTo>
                    <a:pt x="47" y="18"/>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45" name="Freeform 106"/>
            <p:cNvSpPr>
              <a:spLocks/>
            </p:cNvSpPr>
            <p:nvPr/>
          </p:nvSpPr>
          <p:spPr bwMode="gray">
            <a:xfrm>
              <a:off x="5200650" y="3433763"/>
              <a:ext cx="177800" cy="169863"/>
            </a:xfrm>
            <a:custGeom>
              <a:avLst/>
              <a:gdLst>
                <a:gd name="T0" fmla="*/ 51 w 320"/>
                <a:gd name="T1" fmla="*/ 35 h 305"/>
                <a:gd name="T2" fmla="*/ 50 w 320"/>
                <a:gd name="T3" fmla="*/ 50 h 305"/>
                <a:gd name="T4" fmla="*/ 31 w 320"/>
                <a:gd name="T5" fmla="*/ 57 h 305"/>
                <a:gd name="T6" fmla="*/ 31 w 320"/>
                <a:gd name="T7" fmla="*/ 67 h 305"/>
                <a:gd name="T8" fmla="*/ 20 w 320"/>
                <a:gd name="T9" fmla="*/ 75 h 305"/>
                <a:gd name="T10" fmla="*/ 26 w 320"/>
                <a:gd name="T11" fmla="*/ 106 h 305"/>
                <a:gd name="T12" fmla="*/ 14 w 320"/>
                <a:gd name="T13" fmla="*/ 126 h 305"/>
                <a:gd name="T14" fmla="*/ 13 w 320"/>
                <a:gd name="T15" fmla="*/ 143 h 305"/>
                <a:gd name="T16" fmla="*/ 1 w 320"/>
                <a:gd name="T17" fmla="*/ 157 h 305"/>
                <a:gd name="T18" fmla="*/ 6 w 320"/>
                <a:gd name="T19" fmla="*/ 167 h 305"/>
                <a:gd name="T20" fmla="*/ 8 w 320"/>
                <a:gd name="T21" fmla="*/ 200 h 305"/>
                <a:gd name="T22" fmla="*/ 31 w 320"/>
                <a:gd name="T23" fmla="*/ 201 h 305"/>
                <a:gd name="T24" fmla="*/ 41 w 320"/>
                <a:gd name="T25" fmla="*/ 191 h 305"/>
                <a:gd name="T26" fmla="*/ 57 w 320"/>
                <a:gd name="T27" fmla="*/ 211 h 305"/>
                <a:gd name="T28" fmla="*/ 73 w 320"/>
                <a:gd name="T29" fmla="*/ 170 h 305"/>
                <a:gd name="T30" fmla="*/ 89 w 320"/>
                <a:gd name="T31" fmla="*/ 179 h 305"/>
                <a:gd name="T32" fmla="*/ 99 w 320"/>
                <a:gd name="T33" fmla="*/ 194 h 305"/>
                <a:gd name="T34" fmla="*/ 116 w 320"/>
                <a:gd name="T35" fmla="*/ 194 h 305"/>
                <a:gd name="T36" fmla="*/ 128 w 320"/>
                <a:gd name="T37" fmla="*/ 181 h 305"/>
                <a:gd name="T38" fmla="*/ 137 w 320"/>
                <a:gd name="T39" fmla="*/ 194 h 305"/>
                <a:gd name="T40" fmla="*/ 155 w 320"/>
                <a:gd name="T41" fmla="*/ 187 h 305"/>
                <a:gd name="T42" fmla="*/ 165 w 320"/>
                <a:gd name="T43" fmla="*/ 192 h 305"/>
                <a:gd name="T44" fmla="*/ 185 w 320"/>
                <a:gd name="T45" fmla="*/ 193 h 305"/>
                <a:gd name="T46" fmla="*/ 196 w 320"/>
                <a:gd name="T47" fmla="*/ 207 h 305"/>
                <a:gd name="T48" fmla="*/ 216 w 320"/>
                <a:gd name="T49" fmla="*/ 216 h 305"/>
                <a:gd name="T50" fmla="*/ 231 w 320"/>
                <a:gd name="T51" fmla="*/ 242 h 305"/>
                <a:gd name="T52" fmla="*/ 257 w 320"/>
                <a:gd name="T53" fmla="*/ 257 h 305"/>
                <a:gd name="T54" fmla="*/ 262 w 320"/>
                <a:gd name="T55" fmla="*/ 277 h 305"/>
                <a:gd name="T56" fmla="*/ 280 w 320"/>
                <a:gd name="T57" fmla="*/ 283 h 305"/>
                <a:gd name="T58" fmla="*/ 288 w 320"/>
                <a:gd name="T59" fmla="*/ 295 h 305"/>
                <a:gd name="T60" fmla="*/ 304 w 320"/>
                <a:gd name="T61" fmla="*/ 305 h 305"/>
                <a:gd name="T62" fmla="*/ 311 w 320"/>
                <a:gd name="T63" fmla="*/ 293 h 305"/>
                <a:gd name="T64" fmla="*/ 320 w 320"/>
                <a:gd name="T65" fmla="*/ 287 h 305"/>
                <a:gd name="T66" fmla="*/ 304 w 320"/>
                <a:gd name="T67" fmla="*/ 268 h 305"/>
                <a:gd name="T68" fmla="*/ 285 w 320"/>
                <a:gd name="T69" fmla="*/ 264 h 305"/>
                <a:gd name="T70" fmla="*/ 283 w 320"/>
                <a:gd name="T71" fmla="*/ 239 h 305"/>
                <a:gd name="T72" fmla="*/ 241 w 320"/>
                <a:gd name="T73" fmla="*/ 216 h 305"/>
                <a:gd name="T74" fmla="*/ 231 w 320"/>
                <a:gd name="T75" fmla="*/ 181 h 305"/>
                <a:gd name="T76" fmla="*/ 204 w 320"/>
                <a:gd name="T77" fmla="*/ 177 h 305"/>
                <a:gd name="T78" fmla="*/ 190 w 320"/>
                <a:gd name="T79" fmla="*/ 159 h 305"/>
                <a:gd name="T80" fmla="*/ 177 w 320"/>
                <a:gd name="T81" fmla="*/ 165 h 305"/>
                <a:gd name="T82" fmla="*/ 169 w 320"/>
                <a:gd name="T83" fmla="*/ 152 h 305"/>
                <a:gd name="T84" fmla="*/ 157 w 320"/>
                <a:gd name="T85" fmla="*/ 149 h 305"/>
                <a:gd name="T86" fmla="*/ 134 w 320"/>
                <a:gd name="T87" fmla="*/ 117 h 305"/>
                <a:gd name="T88" fmla="*/ 128 w 320"/>
                <a:gd name="T89" fmla="*/ 62 h 305"/>
                <a:gd name="T90" fmla="*/ 100 w 320"/>
                <a:gd name="T91" fmla="*/ 1 h 305"/>
                <a:gd name="T92" fmla="*/ 98 w 320"/>
                <a:gd name="T93" fmla="*/ 0 h 305"/>
                <a:gd name="T94" fmla="*/ 87 w 320"/>
                <a:gd name="T95" fmla="*/ 25 h 305"/>
                <a:gd name="T96" fmla="*/ 51 w 320"/>
                <a:gd name="T97" fmla="*/ 3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0" h="305">
                  <a:moveTo>
                    <a:pt x="51" y="35"/>
                  </a:moveTo>
                  <a:cubicBezTo>
                    <a:pt x="51" y="35"/>
                    <a:pt x="51" y="43"/>
                    <a:pt x="50" y="50"/>
                  </a:cubicBezTo>
                  <a:cubicBezTo>
                    <a:pt x="49" y="57"/>
                    <a:pt x="31" y="57"/>
                    <a:pt x="31" y="57"/>
                  </a:cubicBezTo>
                  <a:cubicBezTo>
                    <a:pt x="31" y="67"/>
                    <a:pt x="31" y="67"/>
                    <a:pt x="31" y="67"/>
                  </a:cubicBezTo>
                  <a:cubicBezTo>
                    <a:pt x="31" y="67"/>
                    <a:pt x="20" y="72"/>
                    <a:pt x="20" y="75"/>
                  </a:cubicBezTo>
                  <a:cubicBezTo>
                    <a:pt x="20" y="78"/>
                    <a:pt x="26" y="88"/>
                    <a:pt x="26" y="106"/>
                  </a:cubicBezTo>
                  <a:cubicBezTo>
                    <a:pt x="26" y="124"/>
                    <a:pt x="14" y="126"/>
                    <a:pt x="14" y="126"/>
                  </a:cubicBezTo>
                  <a:cubicBezTo>
                    <a:pt x="14" y="126"/>
                    <a:pt x="13" y="136"/>
                    <a:pt x="13" y="143"/>
                  </a:cubicBezTo>
                  <a:cubicBezTo>
                    <a:pt x="13" y="150"/>
                    <a:pt x="2" y="149"/>
                    <a:pt x="1" y="157"/>
                  </a:cubicBezTo>
                  <a:cubicBezTo>
                    <a:pt x="0" y="165"/>
                    <a:pt x="6" y="167"/>
                    <a:pt x="6" y="167"/>
                  </a:cubicBezTo>
                  <a:cubicBezTo>
                    <a:pt x="8" y="200"/>
                    <a:pt x="8" y="200"/>
                    <a:pt x="8" y="200"/>
                  </a:cubicBezTo>
                  <a:cubicBezTo>
                    <a:pt x="31" y="201"/>
                    <a:pt x="31" y="201"/>
                    <a:pt x="31" y="201"/>
                  </a:cubicBezTo>
                  <a:cubicBezTo>
                    <a:pt x="31" y="201"/>
                    <a:pt x="36" y="191"/>
                    <a:pt x="41" y="191"/>
                  </a:cubicBezTo>
                  <a:cubicBezTo>
                    <a:pt x="46" y="191"/>
                    <a:pt x="49" y="211"/>
                    <a:pt x="57" y="211"/>
                  </a:cubicBezTo>
                  <a:cubicBezTo>
                    <a:pt x="65" y="211"/>
                    <a:pt x="73" y="170"/>
                    <a:pt x="73" y="170"/>
                  </a:cubicBezTo>
                  <a:cubicBezTo>
                    <a:pt x="73" y="170"/>
                    <a:pt x="85" y="177"/>
                    <a:pt x="89" y="179"/>
                  </a:cubicBezTo>
                  <a:cubicBezTo>
                    <a:pt x="93" y="181"/>
                    <a:pt x="99" y="194"/>
                    <a:pt x="99" y="194"/>
                  </a:cubicBezTo>
                  <a:cubicBezTo>
                    <a:pt x="99" y="194"/>
                    <a:pt x="113" y="194"/>
                    <a:pt x="116" y="194"/>
                  </a:cubicBezTo>
                  <a:cubicBezTo>
                    <a:pt x="119" y="194"/>
                    <a:pt x="128" y="181"/>
                    <a:pt x="128" y="181"/>
                  </a:cubicBezTo>
                  <a:cubicBezTo>
                    <a:pt x="128" y="181"/>
                    <a:pt x="134" y="194"/>
                    <a:pt x="137" y="194"/>
                  </a:cubicBezTo>
                  <a:cubicBezTo>
                    <a:pt x="140" y="194"/>
                    <a:pt x="151" y="187"/>
                    <a:pt x="155" y="187"/>
                  </a:cubicBezTo>
                  <a:cubicBezTo>
                    <a:pt x="159" y="187"/>
                    <a:pt x="165" y="192"/>
                    <a:pt x="165" y="192"/>
                  </a:cubicBezTo>
                  <a:cubicBezTo>
                    <a:pt x="185" y="193"/>
                    <a:pt x="185" y="193"/>
                    <a:pt x="185" y="193"/>
                  </a:cubicBezTo>
                  <a:cubicBezTo>
                    <a:pt x="196" y="207"/>
                    <a:pt x="196" y="207"/>
                    <a:pt x="196" y="207"/>
                  </a:cubicBezTo>
                  <a:cubicBezTo>
                    <a:pt x="196" y="207"/>
                    <a:pt x="208" y="208"/>
                    <a:pt x="216" y="216"/>
                  </a:cubicBezTo>
                  <a:cubicBezTo>
                    <a:pt x="224" y="224"/>
                    <a:pt x="227" y="234"/>
                    <a:pt x="231" y="242"/>
                  </a:cubicBezTo>
                  <a:cubicBezTo>
                    <a:pt x="235" y="250"/>
                    <a:pt x="253" y="252"/>
                    <a:pt x="257" y="257"/>
                  </a:cubicBezTo>
                  <a:cubicBezTo>
                    <a:pt x="261" y="262"/>
                    <a:pt x="261" y="271"/>
                    <a:pt x="262" y="277"/>
                  </a:cubicBezTo>
                  <a:cubicBezTo>
                    <a:pt x="263" y="283"/>
                    <a:pt x="280" y="283"/>
                    <a:pt x="280" y="283"/>
                  </a:cubicBezTo>
                  <a:cubicBezTo>
                    <a:pt x="288" y="295"/>
                    <a:pt x="288" y="295"/>
                    <a:pt x="288" y="295"/>
                  </a:cubicBezTo>
                  <a:cubicBezTo>
                    <a:pt x="304" y="305"/>
                    <a:pt x="304" y="305"/>
                    <a:pt x="304" y="305"/>
                  </a:cubicBezTo>
                  <a:cubicBezTo>
                    <a:pt x="311" y="293"/>
                    <a:pt x="311" y="293"/>
                    <a:pt x="311" y="293"/>
                  </a:cubicBezTo>
                  <a:cubicBezTo>
                    <a:pt x="320" y="287"/>
                    <a:pt x="320" y="287"/>
                    <a:pt x="320" y="287"/>
                  </a:cubicBezTo>
                  <a:cubicBezTo>
                    <a:pt x="312" y="277"/>
                    <a:pt x="304" y="268"/>
                    <a:pt x="304" y="268"/>
                  </a:cubicBezTo>
                  <a:cubicBezTo>
                    <a:pt x="304" y="268"/>
                    <a:pt x="287" y="271"/>
                    <a:pt x="285" y="264"/>
                  </a:cubicBezTo>
                  <a:cubicBezTo>
                    <a:pt x="283" y="257"/>
                    <a:pt x="283" y="239"/>
                    <a:pt x="283" y="239"/>
                  </a:cubicBezTo>
                  <a:cubicBezTo>
                    <a:pt x="283" y="239"/>
                    <a:pt x="244" y="225"/>
                    <a:pt x="241" y="216"/>
                  </a:cubicBezTo>
                  <a:cubicBezTo>
                    <a:pt x="238" y="207"/>
                    <a:pt x="238" y="185"/>
                    <a:pt x="231" y="181"/>
                  </a:cubicBezTo>
                  <a:cubicBezTo>
                    <a:pt x="224" y="177"/>
                    <a:pt x="207" y="181"/>
                    <a:pt x="204" y="177"/>
                  </a:cubicBezTo>
                  <a:cubicBezTo>
                    <a:pt x="201" y="173"/>
                    <a:pt x="190" y="159"/>
                    <a:pt x="190" y="159"/>
                  </a:cubicBezTo>
                  <a:cubicBezTo>
                    <a:pt x="177" y="165"/>
                    <a:pt x="177" y="165"/>
                    <a:pt x="177" y="165"/>
                  </a:cubicBezTo>
                  <a:cubicBezTo>
                    <a:pt x="169" y="152"/>
                    <a:pt x="169" y="152"/>
                    <a:pt x="169" y="152"/>
                  </a:cubicBezTo>
                  <a:cubicBezTo>
                    <a:pt x="157" y="149"/>
                    <a:pt x="157" y="149"/>
                    <a:pt x="157" y="149"/>
                  </a:cubicBezTo>
                  <a:cubicBezTo>
                    <a:pt x="157" y="149"/>
                    <a:pt x="137" y="129"/>
                    <a:pt x="134" y="117"/>
                  </a:cubicBezTo>
                  <a:cubicBezTo>
                    <a:pt x="131" y="105"/>
                    <a:pt x="135" y="85"/>
                    <a:pt x="128" y="62"/>
                  </a:cubicBezTo>
                  <a:cubicBezTo>
                    <a:pt x="121" y="39"/>
                    <a:pt x="100" y="1"/>
                    <a:pt x="100" y="1"/>
                  </a:cubicBezTo>
                  <a:cubicBezTo>
                    <a:pt x="98" y="0"/>
                    <a:pt x="98" y="0"/>
                    <a:pt x="98" y="0"/>
                  </a:cubicBezTo>
                  <a:cubicBezTo>
                    <a:pt x="96" y="9"/>
                    <a:pt x="92" y="21"/>
                    <a:pt x="87" y="25"/>
                  </a:cubicBezTo>
                  <a:cubicBezTo>
                    <a:pt x="78" y="33"/>
                    <a:pt x="51" y="35"/>
                    <a:pt x="51" y="35"/>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46" name="Freeform 107"/>
            <p:cNvSpPr>
              <a:spLocks/>
            </p:cNvSpPr>
            <p:nvPr/>
          </p:nvSpPr>
          <p:spPr bwMode="gray">
            <a:xfrm>
              <a:off x="5114925" y="3527425"/>
              <a:ext cx="396875" cy="344488"/>
            </a:xfrm>
            <a:custGeom>
              <a:avLst/>
              <a:gdLst>
                <a:gd name="T0" fmla="*/ 75 w 709"/>
                <a:gd name="T1" fmla="*/ 428 h 615"/>
                <a:gd name="T2" fmla="*/ 87 w 709"/>
                <a:gd name="T3" fmla="*/ 442 h 615"/>
                <a:gd name="T4" fmla="*/ 96 w 709"/>
                <a:gd name="T5" fmla="*/ 471 h 615"/>
                <a:gd name="T6" fmla="*/ 133 w 709"/>
                <a:gd name="T7" fmla="*/ 513 h 615"/>
                <a:gd name="T8" fmla="*/ 138 w 709"/>
                <a:gd name="T9" fmla="*/ 545 h 615"/>
                <a:gd name="T10" fmla="*/ 191 w 709"/>
                <a:gd name="T11" fmla="*/ 562 h 615"/>
                <a:gd name="T12" fmla="*/ 282 w 709"/>
                <a:gd name="T13" fmla="*/ 606 h 615"/>
                <a:gd name="T14" fmla="*/ 326 w 709"/>
                <a:gd name="T15" fmla="*/ 601 h 615"/>
                <a:gd name="T16" fmla="*/ 360 w 709"/>
                <a:gd name="T17" fmla="*/ 577 h 615"/>
                <a:gd name="T18" fmla="*/ 388 w 709"/>
                <a:gd name="T19" fmla="*/ 585 h 615"/>
                <a:gd name="T20" fmla="*/ 410 w 709"/>
                <a:gd name="T21" fmla="*/ 582 h 615"/>
                <a:gd name="T22" fmla="*/ 434 w 709"/>
                <a:gd name="T23" fmla="*/ 574 h 615"/>
                <a:gd name="T24" fmla="*/ 480 w 709"/>
                <a:gd name="T25" fmla="*/ 549 h 615"/>
                <a:gd name="T26" fmla="*/ 569 w 709"/>
                <a:gd name="T27" fmla="*/ 535 h 615"/>
                <a:gd name="T28" fmla="*/ 661 w 709"/>
                <a:gd name="T29" fmla="*/ 373 h 615"/>
                <a:gd name="T30" fmla="*/ 527 w 709"/>
                <a:gd name="T31" fmla="*/ 320 h 615"/>
                <a:gd name="T32" fmla="*/ 491 w 709"/>
                <a:gd name="T33" fmla="*/ 295 h 615"/>
                <a:gd name="T34" fmla="*/ 462 w 709"/>
                <a:gd name="T35" fmla="*/ 246 h 615"/>
                <a:gd name="T36" fmla="*/ 454 w 709"/>
                <a:gd name="T37" fmla="*/ 230 h 615"/>
                <a:gd name="T38" fmla="*/ 454 w 709"/>
                <a:gd name="T39" fmla="*/ 201 h 615"/>
                <a:gd name="T40" fmla="*/ 419 w 709"/>
                <a:gd name="T41" fmla="*/ 211 h 615"/>
                <a:gd name="T42" fmla="*/ 421 w 709"/>
                <a:gd name="T43" fmla="*/ 164 h 615"/>
                <a:gd name="T44" fmla="*/ 431 w 709"/>
                <a:gd name="T45" fmla="*/ 113 h 615"/>
                <a:gd name="T46" fmla="*/ 408 w 709"/>
                <a:gd name="T47" fmla="*/ 87 h 615"/>
                <a:gd name="T48" fmla="*/ 367 w 709"/>
                <a:gd name="T49" fmla="*/ 46 h 615"/>
                <a:gd name="T50" fmla="*/ 336 w 709"/>
                <a:gd name="T51" fmla="*/ 23 h 615"/>
                <a:gd name="T52" fmla="*/ 306 w 709"/>
                <a:gd name="T53" fmla="*/ 17 h 615"/>
                <a:gd name="T54" fmla="*/ 279 w 709"/>
                <a:gd name="T55" fmla="*/ 11 h 615"/>
                <a:gd name="T56" fmla="*/ 250 w 709"/>
                <a:gd name="T57" fmla="*/ 24 h 615"/>
                <a:gd name="T58" fmla="*/ 224 w 709"/>
                <a:gd name="T59" fmla="*/ 0 h 615"/>
                <a:gd name="T60" fmla="*/ 192 w 709"/>
                <a:gd name="T61" fmla="*/ 21 h 615"/>
                <a:gd name="T62" fmla="*/ 159 w 709"/>
                <a:gd name="T63" fmla="*/ 30 h 615"/>
                <a:gd name="T64" fmla="*/ 143 w 709"/>
                <a:gd name="T65" fmla="*/ 88 h 615"/>
                <a:gd name="T66" fmla="*/ 123 w 709"/>
                <a:gd name="T67" fmla="*/ 116 h 615"/>
                <a:gd name="T68" fmla="*/ 110 w 709"/>
                <a:gd name="T69" fmla="*/ 155 h 615"/>
                <a:gd name="T70" fmla="*/ 96 w 709"/>
                <a:gd name="T71" fmla="*/ 179 h 615"/>
                <a:gd name="T72" fmla="*/ 90 w 709"/>
                <a:gd name="T73" fmla="*/ 221 h 615"/>
                <a:gd name="T74" fmla="*/ 71 w 709"/>
                <a:gd name="T75" fmla="*/ 215 h 615"/>
                <a:gd name="T76" fmla="*/ 65 w 709"/>
                <a:gd name="T77" fmla="*/ 256 h 615"/>
                <a:gd name="T78" fmla="*/ 54 w 709"/>
                <a:gd name="T79" fmla="*/ 305 h 615"/>
                <a:gd name="T80" fmla="*/ 36 w 709"/>
                <a:gd name="T81" fmla="*/ 351 h 615"/>
                <a:gd name="T82" fmla="*/ 8 w 709"/>
                <a:gd name="T83" fmla="*/ 345 h 615"/>
                <a:gd name="T84" fmla="*/ 3 w 709"/>
                <a:gd name="T85" fmla="*/ 383 h 615"/>
                <a:gd name="T86" fmla="*/ 55 w 709"/>
                <a:gd name="T87" fmla="*/ 405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9" h="615">
                  <a:moveTo>
                    <a:pt x="60" y="425"/>
                  </a:moveTo>
                  <a:cubicBezTo>
                    <a:pt x="64" y="430"/>
                    <a:pt x="75" y="428"/>
                    <a:pt x="75" y="428"/>
                  </a:cubicBezTo>
                  <a:cubicBezTo>
                    <a:pt x="78" y="441"/>
                    <a:pt x="78" y="441"/>
                    <a:pt x="78" y="441"/>
                  </a:cubicBezTo>
                  <a:cubicBezTo>
                    <a:pt x="87" y="442"/>
                    <a:pt x="87" y="442"/>
                    <a:pt x="87" y="442"/>
                  </a:cubicBezTo>
                  <a:cubicBezTo>
                    <a:pt x="89" y="467"/>
                    <a:pt x="89" y="467"/>
                    <a:pt x="89" y="467"/>
                  </a:cubicBezTo>
                  <a:cubicBezTo>
                    <a:pt x="96" y="471"/>
                    <a:pt x="96" y="471"/>
                    <a:pt x="96" y="471"/>
                  </a:cubicBezTo>
                  <a:cubicBezTo>
                    <a:pt x="96" y="471"/>
                    <a:pt x="98" y="498"/>
                    <a:pt x="108" y="506"/>
                  </a:cubicBezTo>
                  <a:cubicBezTo>
                    <a:pt x="118" y="514"/>
                    <a:pt x="128" y="505"/>
                    <a:pt x="133" y="513"/>
                  </a:cubicBezTo>
                  <a:cubicBezTo>
                    <a:pt x="138" y="521"/>
                    <a:pt x="137" y="535"/>
                    <a:pt x="137" y="535"/>
                  </a:cubicBezTo>
                  <a:cubicBezTo>
                    <a:pt x="138" y="545"/>
                    <a:pt x="138" y="545"/>
                    <a:pt x="138" y="545"/>
                  </a:cubicBezTo>
                  <a:cubicBezTo>
                    <a:pt x="144" y="560"/>
                    <a:pt x="144" y="560"/>
                    <a:pt x="144" y="560"/>
                  </a:cubicBezTo>
                  <a:cubicBezTo>
                    <a:pt x="191" y="562"/>
                    <a:pt x="191" y="562"/>
                    <a:pt x="191" y="562"/>
                  </a:cubicBezTo>
                  <a:cubicBezTo>
                    <a:pt x="242" y="602"/>
                    <a:pt x="242" y="602"/>
                    <a:pt x="242" y="602"/>
                  </a:cubicBezTo>
                  <a:cubicBezTo>
                    <a:pt x="242" y="602"/>
                    <a:pt x="269" y="604"/>
                    <a:pt x="282" y="606"/>
                  </a:cubicBezTo>
                  <a:cubicBezTo>
                    <a:pt x="295" y="608"/>
                    <a:pt x="313" y="615"/>
                    <a:pt x="313" y="615"/>
                  </a:cubicBezTo>
                  <a:cubicBezTo>
                    <a:pt x="326" y="601"/>
                    <a:pt x="326" y="601"/>
                    <a:pt x="326" y="601"/>
                  </a:cubicBezTo>
                  <a:cubicBezTo>
                    <a:pt x="326" y="601"/>
                    <a:pt x="324" y="597"/>
                    <a:pt x="331" y="591"/>
                  </a:cubicBezTo>
                  <a:cubicBezTo>
                    <a:pt x="338" y="585"/>
                    <a:pt x="360" y="577"/>
                    <a:pt x="360" y="577"/>
                  </a:cubicBezTo>
                  <a:cubicBezTo>
                    <a:pt x="372" y="568"/>
                    <a:pt x="372" y="568"/>
                    <a:pt x="372" y="568"/>
                  </a:cubicBezTo>
                  <a:cubicBezTo>
                    <a:pt x="388" y="585"/>
                    <a:pt x="388" y="585"/>
                    <a:pt x="388" y="585"/>
                  </a:cubicBezTo>
                  <a:cubicBezTo>
                    <a:pt x="406" y="586"/>
                    <a:pt x="406" y="586"/>
                    <a:pt x="406" y="586"/>
                  </a:cubicBezTo>
                  <a:cubicBezTo>
                    <a:pt x="410" y="582"/>
                    <a:pt x="410" y="582"/>
                    <a:pt x="410" y="582"/>
                  </a:cubicBezTo>
                  <a:cubicBezTo>
                    <a:pt x="426" y="588"/>
                    <a:pt x="426" y="588"/>
                    <a:pt x="426" y="588"/>
                  </a:cubicBezTo>
                  <a:cubicBezTo>
                    <a:pt x="426" y="588"/>
                    <a:pt x="426" y="577"/>
                    <a:pt x="434" y="574"/>
                  </a:cubicBezTo>
                  <a:cubicBezTo>
                    <a:pt x="442" y="571"/>
                    <a:pt x="467" y="573"/>
                    <a:pt x="473" y="567"/>
                  </a:cubicBezTo>
                  <a:cubicBezTo>
                    <a:pt x="479" y="561"/>
                    <a:pt x="480" y="549"/>
                    <a:pt x="480" y="549"/>
                  </a:cubicBezTo>
                  <a:cubicBezTo>
                    <a:pt x="480" y="549"/>
                    <a:pt x="505" y="537"/>
                    <a:pt x="513" y="535"/>
                  </a:cubicBezTo>
                  <a:cubicBezTo>
                    <a:pt x="521" y="533"/>
                    <a:pt x="569" y="535"/>
                    <a:pt x="569" y="535"/>
                  </a:cubicBezTo>
                  <a:cubicBezTo>
                    <a:pt x="709" y="370"/>
                    <a:pt x="709" y="370"/>
                    <a:pt x="709" y="370"/>
                  </a:cubicBezTo>
                  <a:cubicBezTo>
                    <a:pt x="661" y="373"/>
                    <a:pt x="661" y="373"/>
                    <a:pt x="661" y="373"/>
                  </a:cubicBezTo>
                  <a:cubicBezTo>
                    <a:pt x="661" y="373"/>
                    <a:pt x="628" y="353"/>
                    <a:pt x="609" y="347"/>
                  </a:cubicBezTo>
                  <a:cubicBezTo>
                    <a:pt x="590" y="341"/>
                    <a:pt x="538" y="328"/>
                    <a:pt x="527" y="320"/>
                  </a:cubicBezTo>
                  <a:cubicBezTo>
                    <a:pt x="516" y="312"/>
                    <a:pt x="506" y="295"/>
                    <a:pt x="506" y="295"/>
                  </a:cubicBezTo>
                  <a:cubicBezTo>
                    <a:pt x="491" y="295"/>
                    <a:pt x="491" y="295"/>
                    <a:pt x="491" y="295"/>
                  </a:cubicBezTo>
                  <a:cubicBezTo>
                    <a:pt x="491" y="295"/>
                    <a:pt x="487" y="278"/>
                    <a:pt x="481" y="270"/>
                  </a:cubicBezTo>
                  <a:cubicBezTo>
                    <a:pt x="475" y="262"/>
                    <a:pt x="462" y="246"/>
                    <a:pt x="462" y="246"/>
                  </a:cubicBezTo>
                  <a:cubicBezTo>
                    <a:pt x="463" y="238"/>
                    <a:pt x="463" y="238"/>
                    <a:pt x="463" y="238"/>
                  </a:cubicBezTo>
                  <a:cubicBezTo>
                    <a:pt x="454" y="230"/>
                    <a:pt x="454" y="230"/>
                    <a:pt x="454" y="230"/>
                  </a:cubicBezTo>
                  <a:cubicBezTo>
                    <a:pt x="467" y="210"/>
                    <a:pt x="467" y="210"/>
                    <a:pt x="467" y="210"/>
                  </a:cubicBezTo>
                  <a:cubicBezTo>
                    <a:pt x="463" y="206"/>
                    <a:pt x="458" y="202"/>
                    <a:pt x="454" y="201"/>
                  </a:cubicBezTo>
                  <a:cubicBezTo>
                    <a:pt x="447" y="200"/>
                    <a:pt x="444" y="208"/>
                    <a:pt x="444" y="208"/>
                  </a:cubicBezTo>
                  <a:cubicBezTo>
                    <a:pt x="444" y="208"/>
                    <a:pt x="427" y="212"/>
                    <a:pt x="419" y="211"/>
                  </a:cubicBezTo>
                  <a:cubicBezTo>
                    <a:pt x="411" y="210"/>
                    <a:pt x="408" y="173"/>
                    <a:pt x="408" y="173"/>
                  </a:cubicBezTo>
                  <a:cubicBezTo>
                    <a:pt x="421" y="164"/>
                    <a:pt x="421" y="164"/>
                    <a:pt x="421" y="164"/>
                  </a:cubicBezTo>
                  <a:cubicBezTo>
                    <a:pt x="439" y="125"/>
                    <a:pt x="439" y="125"/>
                    <a:pt x="439" y="125"/>
                  </a:cubicBezTo>
                  <a:cubicBezTo>
                    <a:pt x="431" y="113"/>
                    <a:pt x="431" y="113"/>
                    <a:pt x="431" y="113"/>
                  </a:cubicBezTo>
                  <a:cubicBezTo>
                    <a:pt x="431" y="113"/>
                    <a:pt x="414" y="113"/>
                    <a:pt x="413" y="107"/>
                  </a:cubicBezTo>
                  <a:cubicBezTo>
                    <a:pt x="412" y="101"/>
                    <a:pt x="412" y="92"/>
                    <a:pt x="408" y="87"/>
                  </a:cubicBezTo>
                  <a:cubicBezTo>
                    <a:pt x="404" y="82"/>
                    <a:pt x="386" y="80"/>
                    <a:pt x="382" y="72"/>
                  </a:cubicBezTo>
                  <a:cubicBezTo>
                    <a:pt x="378" y="64"/>
                    <a:pt x="375" y="54"/>
                    <a:pt x="367" y="46"/>
                  </a:cubicBezTo>
                  <a:cubicBezTo>
                    <a:pt x="359" y="38"/>
                    <a:pt x="347" y="37"/>
                    <a:pt x="347" y="37"/>
                  </a:cubicBezTo>
                  <a:cubicBezTo>
                    <a:pt x="336" y="23"/>
                    <a:pt x="336" y="23"/>
                    <a:pt x="336" y="23"/>
                  </a:cubicBezTo>
                  <a:cubicBezTo>
                    <a:pt x="316" y="22"/>
                    <a:pt x="316" y="22"/>
                    <a:pt x="316" y="22"/>
                  </a:cubicBezTo>
                  <a:cubicBezTo>
                    <a:pt x="316" y="22"/>
                    <a:pt x="310" y="17"/>
                    <a:pt x="306" y="17"/>
                  </a:cubicBezTo>
                  <a:cubicBezTo>
                    <a:pt x="302" y="17"/>
                    <a:pt x="291" y="24"/>
                    <a:pt x="288" y="24"/>
                  </a:cubicBezTo>
                  <a:cubicBezTo>
                    <a:pt x="285" y="24"/>
                    <a:pt x="279" y="11"/>
                    <a:pt x="279" y="11"/>
                  </a:cubicBezTo>
                  <a:cubicBezTo>
                    <a:pt x="279" y="11"/>
                    <a:pt x="270" y="24"/>
                    <a:pt x="267" y="24"/>
                  </a:cubicBezTo>
                  <a:cubicBezTo>
                    <a:pt x="264" y="24"/>
                    <a:pt x="250" y="24"/>
                    <a:pt x="250" y="24"/>
                  </a:cubicBezTo>
                  <a:cubicBezTo>
                    <a:pt x="250" y="24"/>
                    <a:pt x="244" y="11"/>
                    <a:pt x="240" y="9"/>
                  </a:cubicBezTo>
                  <a:cubicBezTo>
                    <a:pt x="236" y="7"/>
                    <a:pt x="224" y="0"/>
                    <a:pt x="224" y="0"/>
                  </a:cubicBezTo>
                  <a:cubicBezTo>
                    <a:pt x="224" y="0"/>
                    <a:pt x="216" y="41"/>
                    <a:pt x="208" y="41"/>
                  </a:cubicBezTo>
                  <a:cubicBezTo>
                    <a:pt x="200" y="41"/>
                    <a:pt x="197" y="21"/>
                    <a:pt x="192" y="21"/>
                  </a:cubicBezTo>
                  <a:cubicBezTo>
                    <a:pt x="187" y="21"/>
                    <a:pt x="182" y="31"/>
                    <a:pt x="182" y="31"/>
                  </a:cubicBezTo>
                  <a:cubicBezTo>
                    <a:pt x="159" y="30"/>
                    <a:pt x="159" y="30"/>
                    <a:pt x="159" y="30"/>
                  </a:cubicBezTo>
                  <a:cubicBezTo>
                    <a:pt x="159" y="60"/>
                    <a:pt x="159" y="60"/>
                    <a:pt x="159" y="60"/>
                  </a:cubicBezTo>
                  <a:cubicBezTo>
                    <a:pt x="159" y="60"/>
                    <a:pt x="143" y="80"/>
                    <a:pt x="143" y="88"/>
                  </a:cubicBezTo>
                  <a:cubicBezTo>
                    <a:pt x="143" y="96"/>
                    <a:pt x="145" y="114"/>
                    <a:pt x="145" y="114"/>
                  </a:cubicBezTo>
                  <a:cubicBezTo>
                    <a:pt x="123" y="116"/>
                    <a:pt x="123" y="116"/>
                    <a:pt x="123" y="116"/>
                  </a:cubicBezTo>
                  <a:cubicBezTo>
                    <a:pt x="123" y="116"/>
                    <a:pt x="112" y="130"/>
                    <a:pt x="111" y="135"/>
                  </a:cubicBezTo>
                  <a:cubicBezTo>
                    <a:pt x="110" y="140"/>
                    <a:pt x="115" y="150"/>
                    <a:pt x="110" y="155"/>
                  </a:cubicBezTo>
                  <a:cubicBezTo>
                    <a:pt x="105" y="160"/>
                    <a:pt x="94" y="164"/>
                    <a:pt x="94" y="164"/>
                  </a:cubicBezTo>
                  <a:cubicBezTo>
                    <a:pt x="96" y="179"/>
                    <a:pt x="96" y="179"/>
                    <a:pt x="96" y="179"/>
                  </a:cubicBezTo>
                  <a:cubicBezTo>
                    <a:pt x="89" y="190"/>
                    <a:pt x="89" y="190"/>
                    <a:pt x="89" y="190"/>
                  </a:cubicBezTo>
                  <a:cubicBezTo>
                    <a:pt x="89" y="190"/>
                    <a:pt x="96" y="213"/>
                    <a:pt x="90" y="221"/>
                  </a:cubicBezTo>
                  <a:cubicBezTo>
                    <a:pt x="84" y="229"/>
                    <a:pt x="78" y="226"/>
                    <a:pt x="78" y="226"/>
                  </a:cubicBezTo>
                  <a:cubicBezTo>
                    <a:pt x="78" y="226"/>
                    <a:pt x="76" y="215"/>
                    <a:pt x="71" y="215"/>
                  </a:cubicBezTo>
                  <a:cubicBezTo>
                    <a:pt x="66" y="215"/>
                    <a:pt x="60" y="228"/>
                    <a:pt x="60" y="235"/>
                  </a:cubicBezTo>
                  <a:cubicBezTo>
                    <a:pt x="60" y="242"/>
                    <a:pt x="66" y="253"/>
                    <a:pt x="65" y="256"/>
                  </a:cubicBezTo>
                  <a:cubicBezTo>
                    <a:pt x="64" y="259"/>
                    <a:pt x="49" y="270"/>
                    <a:pt x="48" y="278"/>
                  </a:cubicBezTo>
                  <a:cubicBezTo>
                    <a:pt x="47" y="286"/>
                    <a:pt x="54" y="305"/>
                    <a:pt x="54" y="305"/>
                  </a:cubicBezTo>
                  <a:cubicBezTo>
                    <a:pt x="54" y="305"/>
                    <a:pt x="57" y="336"/>
                    <a:pt x="50" y="341"/>
                  </a:cubicBezTo>
                  <a:cubicBezTo>
                    <a:pt x="43" y="346"/>
                    <a:pt x="36" y="351"/>
                    <a:pt x="36" y="351"/>
                  </a:cubicBezTo>
                  <a:cubicBezTo>
                    <a:pt x="31" y="346"/>
                    <a:pt x="31" y="346"/>
                    <a:pt x="31" y="346"/>
                  </a:cubicBezTo>
                  <a:cubicBezTo>
                    <a:pt x="8" y="345"/>
                    <a:pt x="8" y="345"/>
                    <a:pt x="8" y="345"/>
                  </a:cubicBezTo>
                  <a:cubicBezTo>
                    <a:pt x="10" y="361"/>
                    <a:pt x="10" y="361"/>
                    <a:pt x="10" y="361"/>
                  </a:cubicBezTo>
                  <a:cubicBezTo>
                    <a:pt x="10" y="361"/>
                    <a:pt x="0" y="378"/>
                    <a:pt x="3" y="383"/>
                  </a:cubicBezTo>
                  <a:cubicBezTo>
                    <a:pt x="6" y="388"/>
                    <a:pt x="22" y="382"/>
                    <a:pt x="30" y="386"/>
                  </a:cubicBezTo>
                  <a:cubicBezTo>
                    <a:pt x="38" y="390"/>
                    <a:pt x="55" y="405"/>
                    <a:pt x="55" y="405"/>
                  </a:cubicBezTo>
                  <a:cubicBezTo>
                    <a:pt x="55" y="405"/>
                    <a:pt x="56" y="420"/>
                    <a:pt x="60" y="425"/>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47" name="Freeform 108"/>
            <p:cNvSpPr>
              <a:spLocks/>
            </p:cNvSpPr>
            <p:nvPr/>
          </p:nvSpPr>
          <p:spPr bwMode="gray">
            <a:xfrm>
              <a:off x="4878388" y="3022600"/>
              <a:ext cx="296862" cy="306388"/>
            </a:xfrm>
            <a:custGeom>
              <a:avLst/>
              <a:gdLst>
                <a:gd name="T0" fmla="*/ 11 w 530"/>
                <a:gd name="T1" fmla="*/ 13 h 546"/>
                <a:gd name="T2" fmla="*/ 7 w 530"/>
                <a:gd name="T3" fmla="*/ 34 h 546"/>
                <a:gd name="T4" fmla="*/ 17 w 530"/>
                <a:gd name="T5" fmla="*/ 54 h 546"/>
                <a:gd name="T6" fmla="*/ 3 w 530"/>
                <a:gd name="T7" fmla="*/ 82 h 546"/>
                <a:gd name="T8" fmla="*/ 21 w 530"/>
                <a:gd name="T9" fmla="*/ 120 h 546"/>
                <a:gd name="T10" fmla="*/ 34 w 530"/>
                <a:gd name="T11" fmla="*/ 518 h 546"/>
                <a:gd name="T12" fmla="*/ 320 w 530"/>
                <a:gd name="T13" fmla="*/ 522 h 546"/>
                <a:gd name="T14" fmla="*/ 329 w 530"/>
                <a:gd name="T15" fmla="*/ 510 h 546"/>
                <a:gd name="T16" fmla="*/ 334 w 530"/>
                <a:gd name="T17" fmla="*/ 518 h 546"/>
                <a:gd name="T18" fmla="*/ 413 w 530"/>
                <a:gd name="T19" fmla="*/ 521 h 546"/>
                <a:gd name="T20" fmla="*/ 438 w 530"/>
                <a:gd name="T21" fmla="*/ 539 h 546"/>
                <a:gd name="T22" fmla="*/ 460 w 530"/>
                <a:gd name="T23" fmla="*/ 508 h 546"/>
                <a:gd name="T24" fmla="*/ 482 w 530"/>
                <a:gd name="T25" fmla="*/ 505 h 546"/>
                <a:gd name="T26" fmla="*/ 492 w 530"/>
                <a:gd name="T27" fmla="*/ 478 h 546"/>
                <a:gd name="T28" fmla="*/ 509 w 530"/>
                <a:gd name="T29" fmla="*/ 477 h 546"/>
                <a:gd name="T30" fmla="*/ 525 w 530"/>
                <a:gd name="T31" fmla="*/ 462 h 546"/>
                <a:gd name="T32" fmla="*/ 520 w 530"/>
                <a:gd name="T33" fmla="*/ 445 h 546"/>
                <a:gd name="T34" fmla="*/ 518 w 530"/>
                <a:gd name="T35" fmla="*/ 416 h 546"/>
                <a:gd name="T36" fmla="*/ 530 w 530"/>
                <a:gd name="T37" fmla="*/ 415 h 546"/>
                <a:gd name="T38" fmla="*/ 490 w 530"/>
                <a:gd name="T39" fmla="*/ 369 h 546"/>
                <a:gd name="T40" fmla="*/ 469 w 530"/>
                <a:gd name="T41" fmla="*/ 315 h 546"/>
                <a:gd name="T42" fmla="*/ 448 w 530"/>
                <a:gd name="T43" fmla="*/ 288 h 546"/>
                <a:gd name="T44" fmla="*/ 440 w 530"/>
                <a:gd name="T45" fmla="*/ 252 h 546"/>
                <a:gd name="T46" fmla="*/ 415 w 530"/>
                <a:gd name="T47" fmla="*/ 225 h 546"/>
                <a:gd name="T48" fmla="*/ 412 w 530"/>
                <a:gd name="T49" fmla="*/ 204 h 546"/>
                <a:gd name="T50" fmla="*/ 378 w 530"/>
                <a:gd name="T51" fmla="*/ 161 h 546"/>
                <a:gd name="T52" fmla="*/ 368 w 530"/>
                <a:gd name="T53" fmla="*/ 147 h 546"/>
                <a:gd name="T54" fmla="*/ 368 w 530"/>
                <a:gd name="T55" fmla="*/ 126 h 546"/>
                <a:gd name="T56" fmla="*/ 350 w 530"/>
                <a:gd name="T57" fmla="*/ 112 h 546"/>
                <a:gd name="T58" fmla="*/ 361 w 530"/>
                <a:gd name="T59" fmla="*/ 99 h 546"/>
                <a:gd name="T60" fmla="*/ 373 w 530"/>
                <a:gd name="T61" fmla="*/ 107 h 546"/>
                <a:gd name="T62" fmla="*/ 381 w 530"/>
                <a:gd name="T63" fmla="*/ 130 h 546"/>
                <a:gd name="T64" fmla="*/ 395 w 530"/>
                <a:gd name="T65" fmla="*/ 145 h 546"/>
                <a:gd name="T66" fmla="*/ 394 w 530"/>
                <a:gd name="T67" fmla="*/ 162 h 546"/>
                <a:gd name="T68" fmla="*/ 438 w 530"/>
                <a:gd name="T69" fmla="*/ 207 h 546"/>
                <a:gd name="T70" fmla="*/ 456 w 530"/>
                <a:gd name="T71" fmla="*/ 195 h 546"/>
                <a:gd name="T72" fmla="*/ 449 w 530"/>
                <a:gd name="T73" fmla="*/ 183 h 546"/>
                <a:gd name="T74" fmla="*/ 462 w 530"/>
                <a:gd name="T75" fmla="*/ 143 h 546"/>
                <a:gd name="T76" fmla="*/ 471 w 530"/>
                <a:gd name="T77" fmla="*/ 112 h 546"/>
                <a:gd name="T78" fmla="*/ 435 w 530"/>
                <a:gd name="T79" fmla="*/ 19 h 546"/>
                <a:gd name="T80" fmla="*/ 388 w 530"/>
                <a:gd name="T81" fmla="*/ 30 h 546"/>
                <a:gd name="T82" fmla="*/ 373 w 530"/>
                <a:gd name="T83" fmla="*/ 22 h 546"/>
                <a:gd name="T84" fmla="*/ 350 w 530"/>
                <a:gd name="T85" fmla="*/ 26 h 546"/>
                <a:gd name="T86" fmla="*/ 325 w 530"/>
                <a:gd name="T87" fmla="*/ 7 h 546"/>
                <a:gd name="T88" fmla="*/ 288 w 530"/>
                <a:gd name="T89" fmla="*/ 14 h 546"/>
                <a:gd name="T90" fmla="*/ 262 w 530"/>
                <a:gd name="T91" fmla="*/ 11 h 546"/>
                <a:gd name="T92" fmla="*/ 243 w 530"/>
                <a:gd name="T93" fmla="*/ 30 h 546"/>
                <a:gd name="T94" fmla="*/ 227 w 530"/>
                <a:gd name="T95" fmla="*/ 30 h 546"/>
                <a:gd name="T96" fmla="*/ 210 w 530"/>
                <a:gd name="T97" fmla="*/ 43 h 546"/>
                <a:gd name="T98" fmla="*/ 170 w 530"/>
                <a:gd name="T99" fmla="*/ 29 h 546"/>
                <a:gd name="T100" fmla="*/ 140 w 530"/>
                <a:gd name="T101" fmla="*/ 29 h 546"/>
                <a:gd name="T102" fmla="*/ 112 w 530"/>
                <a:gd name="T103" fmla="*/ 13 h 546"/>
                <a:gd name="T104" fmla="*/ 89 w 530"/>
                <a:gd name="T105" fmla="*/ 12 h 546"/>
                <a:gd name="T106" fmla="*/ 60 w 530"/>
                <a:gd name="T107" fmla="*/ 1 h 546"/>
                <a:gd name="T108" fmla="*/ 31 w 530"/>
                <a:gd name="T109" fmla="*/ 6 h 546"/>
                <a:gd name="T110" fmla="*/ 24 w 530"/>
                <a:gd name="T111" fmla="*/ 0 h 546"/>
                <a:gd name="T112" fmla="*/ 11 w 530"/>
                <a:gd name="T113" fmla="*/ 13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0" h="546">
                  <a:moveTo>
                    <a:pt x="11" y="13"/>
                  </a:moveTo>
                  <a:cubicBezTo>
                    <a:pt x="6" y="16"/>
                    <a:pt x="6" y="30"/>
                    <a:pt x="7" y="34"/>
                  </a:cubicBezTo>
                  <a:cubicBezTo>
                    <a:pt x="8" y="38"/>
                    <a:pt x="20" y="45"/>
                    <a:pt x="17" y="54"/>
                  </a:cubicBezTo>
                  <a:cubicBezTo>
                    <a:pt x="14" y="63"/>
                    <a:pt x="0" y="75"/>
                    <a:pt x="3" y="82"/>
                  </a:cubicBezTo>
                  <a:cubicBezTo>
                    <a:pt x="6" y="89"/>
                    <a:pt x="21" y="107"/>
                    <a:pt x="21" y="120"/>
                  </a:cubicBezTo>
                  <a:cubicBezTo>
                    <a:pt x="21" y="133"/>
                    <a:pt x="34" y="518"/>
                    <a:pt x="34" y="518"/>
                  </a:cubicBezTo>
                  <a:cubicBezTo>
                    <a:pt x="320" y="522"/>
                    <a:pt x="320" y="522"/>
                    <a:pt x="320" y="522"/>
                  </a:cubicBezTo>
                  <a:cubicBezTo>
                    <a:pt x="320" y="522"/>
                    <a:pt x="322" y="512"/>
                    <a:pt x="329" y="510"/>
                  </a:cubicBezTo>
                  <a:cubicBezTo>
                    <a:pt x="336" y="508"/>
                    <a:pt x="334" y="518"/>
                    <a:pt x="334" y="518"/>
                  </a:cubicBezTo>
                  <a:cubicBezTo>
                    <a:pt x="413" y="521"/>
                    <a:pt x="413" y="521"/>
                    <a:pt x="413" y="521"/>
                  </a:cubicBezTo>
                  <a:cubicBezTo>
                    <a:pt x="413" y="521"/>
                    <a:pt x="425" y="546"/>
                    <a:pt x="438" y="539"/>
                  </a:cubicBezTo>
                  <a:cubicBezTo>
                    <a:pt x="451" y="532"/>
                    <a:pt x="450" y="511"/>
                    <a:pt x="460" y="508"/>
                  </a:cubicBezTo>
                  <a:cubicBezTo>
                    <a:pt x="470" y="505"/>
                    <a:pt x="472" y="509"/>
                    <a:pt x="482" y="505"/>
                  </a:cubicBezTo>
                  <a:cubicBezTo>
                    <a:pt x="492" y="501"/>
                    <a:pt x="492" y="478"/>
                    <a:pt x="492" y="478"/>
                  </a:cubicBezTo>
                  <a:cubicBezTo>
                    <a:pt x="509" y="477"/>
                    <a:pt x="509" y="477"/>
                    <a:pt x="509" y="477"/>
                  </a:cubicBezTo>
                  <a:cubicBezTo>
                    <a:pt x="525" y="462"/>
                    <a:pt x="525" y="462"/>
                    <a:pt x="525" y="462"/>
                  </a:cubicBezTo>
                  <a:cubicBezTo>
                    <a:pt x="522" y="456"/>
                    <a:pt x="520" y="450"/>
                    <a:pt x="520" y="445"/>
                  </a:cubicBezTo>
                  <a:cubicBezTo>
                    <a:pt x="519" y="430"/>
                    <a:pt x="518" y="416"/>
                    <a:pt x="518" y="416"/>
                  </a:cubicBezTo>
                  <a:cubicBezTo>
                    <a:pt x="530" y="415"/>
                    <a:pt x="530" y="415"/>
                    <a:pt x="530" y="415"/>
                  </a:cubicBezTo>
                  <a:cubicBezTo>
                    <a:pt x="530" y="415"/>
                    <a:pt x="503" y="397"/>
                    <a:pt x="490" y="369"/>
                  </a:cubicBezTo>
                  <a:cubicBezTo>
                    <a:pt x="477" y="341"/>
                    <a:pt x="478" y="326"/>
                    <a:pt x="469" y="315"/>
                  </a:cubicBezTo>
                  <a:cubicBezTo>
                    <a:pt x="460" y="304"/>
                    <a:pt x="456" y="302"/>
                    <a:pt x="448" y="288"/>
                  </a:cubicBezTo>
                  <a:cubicBezTo>
                    <a:pt x="440" y="274"/>
                    <a:pt x="440" y="252"/>
                    <a:pt x="440" y="252"/>
                  </a:cubicBezTo>
                  <a:cubicBezTo>
                    <a:pt x="415" y="225"/>
                    <a:pt x="415" y="225"/>
                    <a:pt x="415" y="225"/>
                  </a:cubicBezTo>
                  <a:cubicBezTo>
                    <a:pt x="415" y="225"/>
                    <a:pt x="418" y="216"/>
                    <a:pt x="412" y="204"/>
                  </a:cubicBezTo>
                  <a:cubicBezTo>
                    <a:pt x="406" y="192"/>
                    <a:pt x="380" y="170"/>
                    <a:pt x="378" y="161"/>
                  </a:cubicBezTo>
                  <a:cubicBezTo>
                    <a:pt x="376" y="152"/>
                    <a:pt x="368" y="147"/>
                    <a:pt x="368" y="147"/>
                  </a:cubicBezTo>
                  <a:cubicBezTo>
                    <a:pt x="368" y="147"/>
                    <a:pt x="376" y="137"/>
                    <a:pt x="368" y="126"/>
                  </a:cubicBezTo>
                  <a:cubicBezTo>
                    <a:pt x="360" y="115"/>
                    <a:pt x="350" y="112"/>
                    <a:pt x="350" y="112"/>
                  </a:cubicBezTo>
                  <a:cubicBezTo>
                    <a:pt x="361" y="99"/>
                    <a:pt x="361" y="99"/>
                    <a:pt x="361" y="99"/>
                  </a:cubicBezTo>
                  <a:cubicBezTo>
                    <a:pt x="373" y="107"/>
                    <a:pt x="373" y="107"/>
                    <a:pt x="373" y="107"/>
                  </a:cubicBezTo>
                  <a:cubicBezTo>
                    <a:pt x="373" y="107"/>
                    <a:pt x="372" y="124"/>
                    <a:pt x="381" y="130"/>
                  </a:cubicBezTo>
                  <a:cubicBezTo>
                    <a:pt x="390" y="136"/>
                    <a:pt x="395" y="145"/>
                    <a:pt x="395" y="145"/>
                  </a:cubicBezTo>
                  <a:cubicBezTo>
                    <a:pt x="394" y="162"/>
                    <a:pt x="394" y="162"/>
                    <a:pt x="394" y="162"/>
                  </a:cubicBezTo>
                  <a:cubicBezTo>
                    <a:pt x="394" y="162"/>
                    <a:pt x="426" y="214"/>
                    <a:pt x="438" y="207"/>
                  </a:cubicBezTo>
                  <a:cubicBezTo>
                    <a:pt x="450" y="200"/>
                    <a:pt x="456" y="195"/>
                    <a:pt x="456" y="195"/>
                  </a:cubicBezTo>
                  <a:cubicBezTo>
                    <a:pt x="449" y="183"/>
                    <a:pt x="449" y="183"/>
                    <a:pt x="449" y="183"/>
                  </a:cubicBezTo>
                  <a:cubicBezTo>
                    <a:pt x="449" y="183"/>
                    <a:pt x="462" y="157"/>
                    <a:pt x="462" y="143"/>
                  </a:cubicBezTo>
                  <a:cubicBezTo>
                    <a:pt x="462" y="129"/>
                    <a:pt x="471" y="112"/>
                    <a:pt x="471" y="112"/>
                  </a:cubicBezTo>
                  <a:cubicBezTo>
                    <a:pt x="435" y="19"/>
                    <a:pt x="435" y="19"/>
                    <a:pt x="435" y="19"/>
                  </a:cubicBezTo>
                  <a:cubicBezTo>
                    <a:pt x="435" y="19"/>
                    <a:pt x="397" y="34"/>
                    <a:pt x="388" y="30"/>
                  </a:cubicBezTo>
                  <a:cubicBezTo>
                    <a:pt x="379" y="26"/>
                    <a:pt x="373" y="22"/>
                    <a:pt x="373" y="22"/>
                  </a:cubicBezTo>
                  <a:cubicBezTo>
                    <a:pt x="373" y="22"/>
                    <a:pt x="364" y="33"/>
                    <a:pt x="350" y="26"/>
                  </a:cubicBezTo>
                  <a:cubicBezTo>
                    <a:pt x="336" y="19"/>
                    <a:pt x="341" y="10"/>
                    <a:pt x="325" y="7"/>
                  </a:cubicBezTo>
                  <a:cubicBezTo>
                    <a:pt x="309" y="4"/>
                    <a:pt x="288" y="14"/>
                    <a:pt x="288" y="14"/>
                  </a:cubicBezTo>
                  <a:cubicBezTo>
                    <a:pt x="288" y="14"/>
                    <a:pt x="273" y="7"/>
                    <a:pt x="262" y="11"/>
                  </a:cubicBezTo>
                  <a:cubicBezTo>
                    <a:pt x="251" y="15"/>
                    <a:pt x="243" y="30"/>
                    <a:pt x="243" y="30"/>
                  </a:cubicBezTo>
                  <a:cubicBezTo>
                    <a:pt x="243" y="30"/>
                    <a:pt x="231" y="28"/>
                    <a:pt x="227" y="30"/>
                  </a:cubicBezTo>
                  <a:cubicBezTo>
                    <a:pt x="223" y="32"/>
                    <a:pt x="210" y="43"/>
                    <a:pt x="210" y="43"/>
                  </a:cubicBezTo>
                  <a:cubicBezTo>
                    <a:pt x="210" y="43"/>
                    <a:pt x="176" y="29"/>
                    <a:pt x="170" y="29"/>
                  </a:cubicBezTo>
                  <a:cubicBezTo>
                    <a:pt x="164" y="29"/>
                    <a:pt x="153" y="32"/>
                    <a:pt x="140" y="29"/>
                  </a:cubicBezTo>
                  <a:cubicBezTo>
                    <a:pt x="127" y="26"/>
                    <a:pt x="125" y="14"/>
                    <a:pt x="112" y="13"/>
                  </a:cubicBezTo>
                  <a:cubicBezTo>
                    <a:pt x="99" y="12"/>
                    <a:pt x="89" y="12"/>
                    <a:pt x="89" y="12"/>
                  </a:cubicBezTo>
                  <a:cubicBezTo>
                    <a:pt x="89" y="12"/>
                    <a:pt x="69" y="1"/>
                    <a:pt x="60" y="1"/>
                  </a:cubicBezTo>
                  <a:cubicBezTo>
                    <a:pt x="51" y="1"/>
                    <a:pt x="46" y="15"/>
                    <a:pt x="31" y="6"/>
                  </a:cubicBezTo>
                  <a:cubicBezTo>
                    <a:pt x="28" y="4"/>
                    <a:pt x="26" y="2"/>
                    <a:pt x="24" y="0"/>
                  </a:cubicBezTo>
                  <a:cubicBezTo>
                    <a:pt x="21" y="4"/>
                    <a:pt x="15" y="11"/>
                    <a:pt x="11" y="13"/>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48" name="Freeform 109"/>
            <p:cNvSpPr>
              <a:spLocks/>
            </p:cNvSpPr>
            <p:nvPr/>
          </p:nvSpPr>
          <p:spPr bwMode="gray">
            <a:xfrm>
              <a:off x="4467225" y="3581400"/>
              <a:ext cx="203200" cy="344488"/>
            </a:xfrm>
            <a:custGeom>
              <a:avLst/>
              <a:gdLst>
                <a:gd name="T0" fmla="*/ 275 w 363"/>
                <a:gd name="T1" fmla="*/ 0 h 614"/>
                <a:gd name="T2" fmla="*/ 263 w 363"/>
                <a:gd name="T3" fmla="*/ 43 h 614"/>
                <a:gd name="T4" fmla="*/ 282 w 363"/>
                <a:gd name="T5" fmla="*/ 70 h 614"/>
                <a:gd name="T6" fmla="*/ 256 w 363"/>
                <a:gd name="T7" fmla="*/ 100 h 614"/>
                <a:gd name="T8" fmla="*/ 236 w 363"/>
                <a:gd name="T9" fmla="*/ 136 h 614"/>
                <a:gd name="T10" fmla="*/ 227 w 363"/>
                <a:gd name="T11" fmla="*/ 159 h 614"/>
                <a:gd name="T12" fmla="*/ 207 w 363"/>
                <a:gd name="T13" fmla="*/ 198 h 614"/>
                <a:gd name="T14" fmla="*/ 181 w 363"/>
                <a:gd name="T15" fmla="*/ 250 h 614"/>
                <a:gd name="T16" fmla="*/ 157 w 363"/>
                <a:gd name="T17" fmla="*/ 302 h 614"/>
                <a:gd name="T18" fmla="*/ 140 w 363"/>
                <a:gd name="T19" fmla="*/ 337 h 614"/>
                <a:gd name="T20" fmla="*/ 119 w 363"/>
                <a:gd name="T21" fmla="*/ 342 h 614"/>
                <a:gd name="T22" fmla="*/ 95 w 363"/>
                <a:gd name="T23" fmla="*/ 334 h 614"/>
                <a:gd name="T24" fmla="*/ 56 w 363"/>
                <a:gd name="T25" fmla="*/ 353 h 614"/>
                <a:gd name="T26" fmla="*/ 13 w 363"/>
                <a:gd name="T27" fmla="*/ 428 h 614"/>
                <a:gd name="T28" fmla="*/ 4 w 363"/>
                <a:gd name="T29" fmla="*/ 449 h 614"/>
                <a:gd name="T30" fmla="*/ 18 w 363"/>
                <a:gd name="T31" fmla="*/ 455 h 614"/>
                <a:gd name="T32" fmla="*/ 44 w 363"/>
                <a:gd name="T33" fmla="*/ 497 h 614"/>
                <a:gd name="T34" fmla="*/ 45 w 363"/>
                <a:gd name="T35" fmla="*/ 504 h 614"/>
                <a:gd name="T36" fmla="*/ 70 w 363"/>
                <a:gd name="T37" fmla="*/ 527 h 614"/>
                <a:gd name="T38" fmla="*/ 61 w 363"/>
                <a:gd name="T39" fmla="*/ 559 h 614"/>
                <a:gd name="T40" fmla="*/ 68 w 363"/>
                <a:gd name="T41" fmla="*/ 586 h 614"/>
                <a:gd name="T42" fmla="*/ 144 w 363"/>
                <a:gd name="T43" fmla="*/ 576 h 614"/>
                <a:gd name="T44" fmla="*/ 175 w 363"/>
                <a:gd name="T45" fmla="*/ 585 h 614"/>
                <a:gd name="T46" fmla="*/ 195 w 363"/>
                <a:gd name="T47" fmla="*/ 581 h 614"/>
                <a:gd name="T48" fmla="*/ 227 w 363"/>
                <a:gd name="T49" fmla="*/ 590 h 614"/>
                <a:gd name="T50" fmla="*/ 320 w 363"/>
                <a:gd name="T51" fmla="*/ 600 h 614"/>
                <a:gd name="T52" fmla="*/ 358 w 363"/>
                <a:gd name="T53" fmla="*/ 614 h 614"/>
                <a:gd name="T54" fmla="*/ 363 w 363"/>
                <a:gd name="T55" fmla="*/ 581 h 614"/>
                <a:gd name="T56" fmla="*/ 358 w 363"/>
                <a:gd name="T57" fmla="*/ 556 h 614"/>
                <a:gd name="T58" fmla="*/ 332 w 363"/>
                <a:gd name="T59" fmla="*/ 526 h 614"/>
                <a:gd name="T60" fmla="*/ 313 w 363"/>
                <a:gd name="T61" fmla="*/ 472 h 614"/>
                <a:gd name="T62" fmla="*/ 294 w 363"/>
                <a:gd name="T63" fmla="*/ 427 h 614"/>
                <a:gd name="T64" fmla="*/ 289 w 363"/>
                <a:gd name="T65" fmla="*/ 412 h 614"/>
                <a:gd name="T66" fmla="*/ 276 w 363"/>
                <a:gd name="T67" fmla="*/ 378 h 614"/>
                <a:gd name="T68" fmla="*/ 304 w 363"/>
                <a:gd name="T69" fmla="*/ 338 h 614"/>
                <a:gd name="T70" fmla="*/ 312 w 363"/>
                <a:gd name="T71" fmla="*/ 318 h 614"/>
                <a:gd name="T72" fmla="*/ 317 w 363"/>
                <a:gd name="T73" fmla="*/ 243 h 614"/>
                <a:gd name="T74" fmla="*/ 261 w 363"/>
                <a:gd name="T75" fmla="*/ 174 h 614"/>
                <a:gd name="T76" fmla="*/ 336 w 363"/>
                <a:gd name="T77" fmla="*/ 165 h 614"/>
                <a:gd name="T78" fmla="*/ 304 w 363"/>
                <a:gd name="T79" fmla="*/ 91 h 614"/>
                <a:gd name="T80" fmla="*/ 296 w 363"/>
                <a:gd name="T81" fmla="*/ 52 h 614"/>
                <a:gd name="T82" fmla="*/ 280 w 363"/>
                <a:gd name="T83" fmla="*/ 17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63" h="614">
                  <a:moveTo>
                    <a:pt x="280" y="17"/>
                  </a:moveTo>
                  <a:cubicBezTo>
                    <a:pt x="276" y="12"/>
                    <a:pt x="275" y="0"/>
                    <a:pt x="275" y="0"/>
                  </a:cubicBezTo>
                  <a:cubicBezTo>
                    <a:pt x="259" y="2"/>
                    <a:pt x="259" y="2"/>
                    <a:pt x="259" y="2"/>
                  </a:cubicBezTo>
                  <a:cubicBezTo>
                    <a:pt x="260" y="11"/>
                    <a:pt x="261" y="40"/>
                    <a:pt x="263" y="43"/>
                  </a:cubicBezTo>
                  <a:cubicBezTo>
                    <a:pt x="265" y="46"/>
                    <a:pt x="284" y="35"/>
                    <a:pt x="285" y="46"/>
                  </a:cubicBezTo>
                  <a:cubicBezTo>
                    <a:pt x="286" y="57"/>
                    <a:pt x="282" y="70"/>
                    <a:pt x="282" y="70"/>
                  </a:cubicBezTo>
                  <a:cubicBezTo>
                    <a:pt x="282" y="70"/>
                    <a:pt x="290" y="79"/>
                    <a:pt x="280" y="88"/>
                  </a:cubicBezTo>
                  <a:cubicBezTo>
                    <a:pt x="270" y="97"/>
                    <a:pt x="256" y="100"/>
                    <a:pt x="256" y="100"/>
                  </a:cubicBezTo>
                  <a:cubicBezTo>
                    <a:pt x="256" y="100"/>
                    <a:pt x="248" y="117"/>
                    <a:pt x="247" y="120"/>
                  </a:cubicBezTo>
                  <a:cubicBezTo>
                    <a:pt x="246" y="123"/>
                    <a:pt x="236" y="136"/>
                    <a:pt x="236" y="136"/>
                  </a:cubicBezTo>
                  <a:cubicBezTo>
                    <a:pt x="234" y="155"/>
                    <a:pt x="234" y="155"/>
                    <a:pt x="234" y="155"/>
                  </a:cubicBezTo>
                  <a:cubicBezTo>
                    <a:pt x="227" y="159"/>
                    <a:pt x="227" y="159"/>
                    <a:pt x="227" y="159"/>
                  </a:cubicBezTo>
                  <a:cubicBezTo>
                    <a:pt x="227" y="159"/>
                    <a:pt x="229" y="180"/>
                    <a:pt x="224" y="189"/>
                  </a:cubicBezTo>
                  <a:cubicBezTo>
                    <a:pt x="219" y="198"/>
                    <a:pt x="209" y="191"/>
                    <a:pt x="207" y="198"/>
                  </a:cubicBezTo>
                  <a:cubicBezTo>
                    <a:pt x="205" y="205"/>
                    <a:pt x="210" y="223"/>
                    <a:pt x="205" y="233"/>
                  </a:cubicBezTo>
                  <a:cubicBezTo>
                    <a:pt x="200" y="243"/>
                    <a:pt x="181" y="250"/>
                    <a:pt x="181" y="250"/>
                  </a:cubicBezTo>
                  <a:cubicBezTo>
                    <a:pt x="173" y="282"/>
                    <a:pt x="173" y="282"/>
                    <a:pt x="173" y="282"/>
                  </a:cubicBezTo>
                  <a:cubicBezTo>
                    <a:pt x="157" y="302"/>
                    <a:pt x="157" y="302"/>
                    <a:pt x="157" y="302"/>
                  </a:cubicBezTo>
                  <a:cubicBezTo>
                    <a:pt x="157" y="302"/>
                    <a:pt x="161" y="316"/>
                    <a:pt x="156" y="322"/>
                  </a:cubicBezTo>
                  <a:cubicBezTo>
                    <a:pt x="151" y="328"/>
                    <a:pt x="140" y="337"/>
                    <a:pt x="140" y="337"/>
                  </a:cubicBezTo>
                  <a:cubicBezTo>
                    <a:pt x="140" y="337"/>
                    <a:pt x="140" y="358"/>
                    <a:pt x="128" y="358"/>
                  </a:cubicBezTo>
                  <a:cubicBezTo>
                    <a:pt x="116" y="358"/>
                    <a:pt x="119" y="342"/>
                    <a:pt x="119" y="342"/>
                  </a:cubicBezTo>
                  <a:cubicBezTo>
                    <a:pt x="119" y="342"/>
                    <a:pt x="105" y="318"/>
                    <a:pt x="98" y="318"/>
                  </a:cubicBezTo>
                  <a:cubicBezTo>
                    <a:pt x="91" y="318"/>
                    <a:pt x="104" y="332"/>
                    <a:pt x="95" y="334"/>
                  </a:cubicBezTo>
                  <a:cubicBezTo>
                    <a:pt x="86" y="336"/>
                    <a:pt x="78" y="323"/>
                    <a:pt x="72" y="328"/>
                  </a:cubicBezTo>
                  <a:cubicBezTo>
                    <a:pt x="66" y="333"/>
                    <a:pt x="56" y="353"/>
                    <a:pt x="56" y="353"/>
                  </a:cubicBezTo>
                  <a:cubicBezTo>
                    <a:pt x="13" y="390"/>
                    <a:pt x="13" y="390"/>
                    <a:pt x="13" y="390"/>
                  </a:cubicBezTo>
                  <a:cubicBezTo>
                    <a:pt x="13" y="390"/>
                    <a:pt x="15" y="422"/>
                    <a:pt x="13" y="428"/>
                  </a:cubicBezTo>
                  <a:cubicBezTo>
                    <a:pt x="11" y="434"/>
                    <a:pt x="4" y="449"/>
                    <a:pt x="4" y="449"/>
                  </a:cubicBezTo>
                  <a:cubicBezTo>
                    <a:pt x="4" y="449"/>
                    <a:pt x="4" y="449"/>
                    <a:pt x="4" y="449"/>
                  </a:cubicBezTo>
                  <a:cubicBezTo>
                    <a:pt x="0" y="458"/>
                    <a:pt x="0" y="458"/>
                    <a:pt x="0" y="458"/>
                  </a:cubicBezTo>
                  <a:cubicBezTo>
                    <a:pt x="18" y="455"/>
                    <a:pt x="18" y="455"/>
                    <a:pt x="18" y="455"/>
                  </a:cubicBezTo>
                  <a:cubicBezTo>
                    <a:pt x="18" y="455"/>
                    <a:pt x="17" y="477"/>
                    <a:pt x="27" y="486"/>
                  </a:cubicBezTo>
                  <a:cubicBezTo>
                    <a:pt x="37" y="495"/>
                    <a:pt x="44" y="497"/>
                    <a:pt x="44" y="497"/>
                  </a:cubicBezTo>
                  <a:cubicBezTo>
                    <a:pt x="58" y="484"/>
                    <a:pt x="58" y="484"/>
                    <a:pt x="58" y="484"/>
                  </a:cubicBezTo>
                  <a:cubicBezTo>
                    <a:pt x="45" y="504"/>
                    <a:pt x="45" y="504"/>
                    <a:pt x="45" y="504"/>
                  </a:cubicBezTo>
                  <a:cubicBezTo>
                    <a:pt x="57" y="522"/>
                    <a:pt x="57" y="522"/>
                    <a:pt x="57" y="522"/>
                  </a:cubicBezTo>
                  <a:cubicBezTo>
                    <a:pt x="70" y="527"/>
                    <a:pt x="70" y="527"/>
                    <a:pt x="70" y="527"/>
                  </a:cubicBezTo>
                  <a:cubicBezTo>
                    <a:pt x="68" y="557"/>
                    <a:pt x="68" y="557"/>
                    <a:pt x="68" y="557"/>
                  </a:cubicBezTo>
                  <a:cubicBezTo>
                    <a:pt x="61" y="559"/>
                    <a:pt x="61" y="559"/>
                    <a:pt x="61" y="559"/>
                  </a:cubicBezTo>
                  <a:cubicBezTo>
                    <a:pt x="62" y="580"/>
                    <a:pt x="62" y="580"/>
                    <a:pt x="62" y="580"/>
                  </a:cubicBezTo>
                  <a:cubicBezTo>
                    <a:pt x="68" y="586"/>
                    <a:pt x="68" y="586"/>
                    <a:pt x="68" y="586"/>
                  </a:cubicBezTo>
                  <a:cubicBezTo>
                    <a:pt x="132" y="586"/>
                    <a:pt x="132" y="586"/>
                    <a:pt x="132" y="586"/>
                  </a:cubicBezTo>
                  <a:cubicBezTo>
                    <a:pt x="144" y="576"/>
                    <a:pt x="144" y="576"/>
                    <a:pt x="144" y="576"/>
                  </a:cubicBezTo>
                  <a:cubicBezTo>
                    <a:pt x="154" y="585"/>
                    <a:pt x="154" y="585"/>
                    <a:pt x="154" y="585"/>
                  </a:cubicBezTo>
                  <a:cubicBezTo>
                    <a:pt x="175" y="585"/>
                    <a:pt x="175" y="585"/>
                    <a:pt x="175" y="585"/>
                  </a:cubicBezTo>
                  <a:cubicBezTo>
                    <a:pt x="175" y="585"/>
                    <a:pt x="180" y="577"/>
                    <a:pt x="184" y="577"/>
                  </a:cubicBezTo>
                  <a:cubicBezTo>
                    <a:pt x="188" y="577"/>
                    <a:pt x="195" y="581"/>
                    <a:pt x="195" y="581"/>
                  </a:cubicBezTo>
                  <a:cubicBezTo>
                    <a:pt x="227" y="580"/>
                    <a:pt x="227" y="580"/>
                    <a:pt x="227" y="580"/>
                  </a:cubicBezTo>
                  <a:cubicBezTo>
                    <a:pt x="227" y="590"/>
                    <a:pt x="227" y="590"/>
                    <a:pt x="227" y="590"/>
                  </a:cubicBezTo>
                  <a:cubicBezTo>
                    <a:pt x="227" y="590"/>
                    <a:pt x="282" y="587"/>
                    <a:pt x="287" y="587"/>
                  </a:cubicBezTo>
                  <a:cubicBezTo>
                    <a:pt x="292" y="587"/>
                    <a:pt x="320" y="600"/>
                    <a:pt x="320" y="600"/>
                  </a:cubicBezTo>
                  <a:cubicBezTo>
                    <a:pt x="340" y="599"/>
                    <a:pt x="340" y="599"/>
                    <a:pt x="340" y="599"/>
                  </a:cubicBezTo>
                  <a:cubicBezTo>
                    <a:pt x="358" y="614"/>
                    <a:pt x="358" y="614"/>
                    <a:pt x="358" y="614"/>
                  </a:cubicBezTo>
                  <a:cubicBezTo>
                    <a:pt x="359" y="587"/>
                    <a:pt x="359" y="587"/>
                    <a:pt x="359" y="587"/>
                  </a:cubicBezTo>
                  <a:cubicBezTo>
                    <a:pt x="363" y="581"/>
                    <a:pt x="363" y="581"/>
                    <a:pt x="363" y="581"/>
                  </a:cubicBezTo>
                  <a:cubicBezTo>
                    <a:pt x="358" y="575"/>
                    <a:pt x="358" y="575"/>
                    <a:pt x="358" y="575"/>
                  </a:cubicBezTo>
                  <a:cubicBezTo>
                    <a:pt x="358" y="556"/>
                    <a:pt x="358" y="556"/>
                    <a:pt x="358" y="556"/>
                  </a:cubicBezTo>
                  <a:cubicBezTo>
                    <a:pt x="354" y="542"/>
                    <a:pt x="354" y="542"/>
                    <a:pt x="354" y="542"/>
                  </a:cubicBezTo>
                  <a:cubicBezTo>
                    <a:pt x="354" y="542"/>
                    <a:pt x="342" y="534"/>
                    <a:pt x="332" y="526"/>
                  </a:cubicBezTo>
                  <a:cubicBezTo>
                    <a:pt x="322" y="518"/>
                    <a:pt x="311" y="495"/>
                    <a:pt x="311" y="495"/>
                  </a:cubicBezTo>
                  <a:cubicBezTo>
                    <a:pt x="311" y="495"/>
                    <a:pt x="315" y="475"/>
                    <a:pt x="313" y="472"/>
                  </a:cubicBezTo>
                  <a:cubicBezTo>
                    <a:pt x="311" y="469"/>
                    <a:pt x="294" y="458"/>
                    <a:pt x="294" y="458"/>
                  </a:cubicBezTo>
                  <a:cubicBezTo>
                    <a:pt x="294" y="427"/>
                    <a:pt x="294" y="427"/>
                    <a:pt x="294" y="427"/>
                  </a:cubicBezTo>
                  <a:cubicBezTo>
                    <a:pt x="282" y="420"/>
                    <a:pt x="282" y="420"/>
                    <a:pt x="282" y="420"/>
                  </a:cubicBezTo>
                  <a:cubicBezTo>
                    <a:pt x="289" y="412"/>
                    <a:pt x="289" y="412"/>
                    <a:pt x="289" y="412"/>
                  </a:cubicBezTo>
                  <a:cubicBezTo>
                    <a:pt x="290" y="387"/>
                    <a:pt x="290" y="387"/>
                    <a:pt x="290" y="387"/>
                  </a:cubicBezTo>
                  <a:cubicBezTo>
                    <a:pt x="290" y="387"/>
                    <a:pt x="275" y="386"/>
                    <a:pt x="276" y="378"/>
                  </a:cubicBezTo>
                  <a:cubicBezTo>
                    <a:pt x="277" y="370"/>
                    <a:pt x="299" y="363"/>
                    <a:pt x="299" y="363"/>
                  </a:cubicBezTo>
                  <a:cubicBezTo>
                    <a:pt x="304" y="338"/>
                    <a:pt x="304" y="338"/>
                    <a:pt x="304" y="338"/>
                  </a:cubicBezTo>
                  <a:cubicBezTo>
                    <a:pt x="310" y="338"/>
                    <a:pt x="310" y="338"/>
                    <a:pt x="310" y="338"/>
                  </a:cubicBezTo>
                  <a:cubicBezTo>
                    <a:pt x="310" y="338"/>
                    <a:pt x="311" y="326"/>
                    <a:pt x="312" y="318"/>
                  </a:cubicBezTo>
                  <a:cubicBezTo>
                    <a:pt x="313" y="310"/>
                    <a:pt x="331" y="300"/>
                    <a:pt x="331" y="300"/>
                  </a:cubicBezTo>
                  <a:cubicBezTo>
                    <a:pt x="331" y="300"/>
                    <a:pt x="326" y="253"/>
                    <a:pt x="317" y="243"/>
                  </a:cubicBezTo>
                  <a:cubicBezTo>
                    <a:pt x="308" y="233"/>
                    <a:pt x="287" y="224"/>
                    <a:pt x="279" y="216"/>
                  </a:cubicBezTo>
                  <a:cubicBezTo>
                    <a:pt x="271" y="208"/>
                    <a:pt x="256" y="187"/>
                    <a:pt x="261" y="174"/>
                  </a:cubicBezTo>
                  <a:cubicBezTo>
                    <a:pt x="266" y="161"/>
                    <a:pt x="306" y="168"/>
                    <a:pt x="314" y="167"/>
                  </a:cubicBezTo>
                  <a:cubicBezTo>
                    <a:pt x="322" y="166"/>
                    <a:pt x="336" y="165"/>
                    <a:pt x="336" y="165"/>
                  </a:cubicBezTo>
                  <a:cubicBezTo>
                    <a:pt x="336" y="165"/>
                    <a:pt x="315" y="147"/>
                    <a:pt x="310" y="133"/>
                  </a:cubicBezTo>
                  <a:cubicBezTo>
                    <a:pt x="305" y="119"/>
                    <a:pt x="304" y="91"/>
                    <a:pt x="304" y="91"/>
                  </a:cubicBezTo>
                  <a:cubicBezTo>
                    <a:pt x="304" y="91"/>
                    <a:pt x="310" y="81"/>
                    <a:pt x="310" y="70"/>
                  </a:cubicBezTo>
                  <a:cubicBezTo>
                    <a:pt x="310" y="59"/>
                    <a:pt x="296" y="52"/>
                    <a:pt x="296" y="52"/>
                  </a:cubicBezTo>
                  <a:cubicBezTo>
                    <a:pt x="300" y="25"/>
                    <a:pt x="300" y="25"/>
                    <a:pt x="300" y="25"/>
                  </a:cubicBezTo>
                  <a:cubicBezTo>
                    <a:pt x="300" y="25"/>
                    <a:pt x="284" y="22"/>
                    <a:pt x="280" y="17"/>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49" name="Freeform 110"/>
            <p:cNvSpPr>
              <a:spLocks/>
            </p:cNvSpPr>
            <p:nvPr/>
          </p:nvSpPr>
          <p:spPr bwMode="gray">
            <a:xfrm>
              <a:off x="3911600" y="2898775"/>
              <a:ext cx="315912" cy="244475"/>
            </a:xfrm>
            <a:custGeom>
              <a:avLst/>
              <a:gdLst>
                <a:gd name="T0" fmla="*/ 547 w 565"/>
                <a:gd name="T1" fmla="*/ 165 h 438"/>
                <a:gd name="T2" fmla="*/ 550 w 565"/>
                <a:gd name="T3" fmla="*/ 145 h 438"/>
                <a:gd name="T4" fmla="*/ 536 w 565"/>
                <a:gd name="T5" fmla="*/ 145 h 438"/>
                <a:gd name="T6" fmla="*/ 543 w 565"/>
                <a:gd name="T7" fmla="*/ 124 h 438"/>
                <a:gd name="T8" fmla="*/ 537 w 565"/>
                <a:gd name="T9" fmla="*/ 113 h 438"/>
                <a:gd name="T10" fmla="*/ 540 w 565"/>
                <a:gd name="T11" fmla="*/ 68 h 438"/>
                <a:gd name="T12" fmla="*/ 532 w 565"/>
                <a:gd name="T13" fmla="*/ 68 h 438"/>
                <a:gd name="T14" fmla="*/ 536 w 565"/>
                <a:gd name="T15" fmla="*/ 56 h 438"/>
                <a:gd name="T16" fmla="*/ 521 w 565"/>
                <a:gd name="T17" fmla="*/ 39 h 438"/>
                <a:gd name="T18" fmla="*/ 487 w 565"/>
                <a:gd name="T19" fmla="*/ 26 h 438"/>
                <a:gd name="T20" fmla="*/ 470 w 565"/>
                <a:gd name="T21" fmla="*/ 34 h 438"/>
                <a:gd name="T22" fmla="*/ 439 w 565"/>
                <a:gd name="T23" fmla="*/ 29 h 438"/>
                <a:gd name="T24" fmla="*/ 408 w 565"/>
                <a:gd name="T25" fmla="*/ 33 h 438"/>
                <a:gd name="T26" fmla="*/ 374 w 565"/>
                <a:gd name="T27" fmla="*/ 2 h 438"/>
                <a:gd name="T28" fmla="*/ 354 w 565"/>
                <a:gd name="T29" fmla="*/ 0 h 438"/>
                <a:gd name="T30" fmla="*/ 337 w 565"/>
                <a:gd name="T31" fmla="*/ 48 h 438"/>
                <a:gd name="T32" fmla="*/ 300 w 565"/>
                <a:gd name="T33" fmla="*/ 107 h 438"/>
                <a:gd name="T34" fmla="*/ 267 w 565"/>
                <a:gd name="T35" fmla="*/ 116 h 438"/>
                <a:gd name="T36" fmla="*/ 251 w 565"/>
                <a:gd name="T37" fmla="*/ 131 h 438"/>
                <a:gd name="T38" fmla="*/ 239 w 565"/>
                <a:gd name="T39" fmla="*/ 128 h 438"/>
                <a:gd name="T40" fmla="*/ 222 w 565"/>
                <a:gd name="T41" fmla="*/ 137 h 438"/>
                <a:gd name="T42" fmla="*/ 211 w 565"/>
                <a:gd name="T43" fmla="*/ 158 h 438"/>
                <a:gd name="T44" fmla="*/ 191 w 565"/>
                <a:gd name="T45" fmla="*/ 174 h 438"/>
                <a:gd name="T46" fmla="*/ 188 w 565"/>
                <a:gd name="T47" fmla="*/ 199 h 438"/>
                <a:gd name="T48" fmla="*/ 165 w 565"/>
                <a:gd name="T49" fmla="*/ 244 h 438"/>
                <a:gd name="T50" fmla="*/ 166 w 565"/>
                <a:gd name="T51" fmla="*/ 269 h 438"/>
                <a:gd name="T52" fmla="*/ 158 w 565"/>
                <a:gd name="T53" fmla="*/ 276 h 438"/>
                <a:gd name="T54" fmla="*/ 170 w 565"/>
                <a:gd name="T55" fmla="*/ 292 h 438"/>
                <a:gd name="T56" fmla="*/ 169 w 565"/>
                <a:gd name="T57" fmla="*/ 316 h 438"/>
                <a:gd name="T58" fmla="*/ 154 w 565"/>
                <a:gd name="T59" fmla="*/ 321 h 438"/>
                <a:gd name="T60" fmla="*/ 130 w 565"/>
                <a:gd name="T61" fmla="*/ 359 h 438"/>
                <a:gd name="T62" fmla="*/ 101 w 565"/>
                <a:gd name="T63" fmla="*/ 376 h 438"/>
                <a:gd name="T64" fmla="*/ 80 w 565"/>
                <a:gd name="T65" fmla="*/ 404 h 438"/>
                <a:gd name="T66" fmla="*/ 32 w 565"/>
                <a:gd name="T67" fmla="*/ 421 h 438"/>
                <a:gd name="T68" fmla="*/ 9 w 565"/>
                <a:gd name="T69" fmla="*/ 423 h 438"/>
                <a:gd name="T70" fmla="*/ 0 w 565"/>
                <a:gd name="T71" fmla="*/ 438 h 438"/>
                <a:gd name="T72" fmla="*/ 207 w 565"/>
                <a:gd name="T73" fmla="*/ 438 h 438"/>
                <a:gd name="T74" fmla="*/ 209 w 565"/>
                <a:gd name="T75" fmla="*/ 399 h 438"/>
                <a:gd name="T76" fmla="*/ 212 w 565"/>
                <a:gd name="T77" fmla="*/ 381 h 438"/>
                <a:gd name="T78" fmla="*/ 232 w 565"/>
                <a:gd name="T79" fmla="*/ 369 h 438"/>
                <a:gd name="T80" fmla="*/ 253 w 565"/>
                <a:gd name="T81" fmla="*/ 344 h 438"/>
                <a:gd name="T82" fmla="*/ 265 w 565"/>
                <a:gd name="T83" fmla="*/ 345 h 438"/>
                <a:gd name="T84" fmla="*/ 283 w 565"/>
                <a:gd name="T85" fmla="*/ 331 h 438"/>
                <a:gd name="T86" fmla="*/ 302 w 565"/>
                <a:gd name="T87" fmla="*/ 339 h 438"/>
                <a:gd name="T88" fmla="*/ 308 w 565"/>
                <a:gd name="T89" fmla="*/ 326 h 438"/>
                <a:gd name="T90" fmla="*/ 326 w 565"/>
                <a:gd name="T91" fmla="*/ 325 h 438"/>
                <a:gd name="T92" fmla="*/ 327 w 565"/>
                <a:gd name="T93" fmla="*/ 317 h 438"/>
                <a:gd name="T94" fmla="*/ 361 w 565"/>
                <a:gd name="T95" fmla="*/ 318 h 438"/>
                <a:gd name="T96" fmla="*/ 384 w 565"/>
                <a:gd name="T97" fmla="*/ 284 h 438"/>
                <a:gd name="T98" fmla="*/ 414 w 565"/>
                <a:gd name="T99" fmla="*/ 283 h 438"/>
                <a:gd name="T100" fmla="*/ 432 w 565"/>
                <a:gd name="T101" fmla="*/ 264 h 438"/>
                <a:gd name="T102" fmla="*/ 449 w 565"/>
                <a:gd name="T103" fmla="*/ 257 h 438"/>
                <a:gd name="T104" fmla="*/ 439 w 565"/>
                <a:gd name="T105" fmla="*/ 245 h 438"/>
                <a:gd name="T106" fmla="*/ 438 w 565"/>
                <a:gd name="T107" fmla="*/ 221 h 438"/>
                <a:gd name="T108" fmla="*/ 475 w 565"/>
                <a:gd name="T109" fmla="*/ 215 h 438"/>
                <a:gd name="T110" fmla="*/ 480 w 565"/>
                <a:gd name="T111" fmla="*/ 200 h 438"/>
                <a:gd name="T112" fmla="*/ 493 w 565"/>
                <a:gd name="T113" fmla="*/ 202 h 438"/>
                <a:gd name="T114" fmla="*/ 501 w 565"/>
                <a:gd name="T115" fmla="*/ 195 h 438"/>
                <a:gd name="T116" fmla="*/ 515 w 565"/>
                <a:gd name="T117" fmla="*/ 201 h 438"/>
                <a:gd name="T118" fmla="*/ 553 w 565"/>
                <a:gd name="T119" fmla="*/ 196 h 438"/>
                <a:gd name="T120" fmla="*/ 554 w 565"/>
                <a:gd name="T121" fmla="*/ 186 h 438"/>
                <a:gd name="T122" fmla="*/ 565 w 565"/>
                <a:gd name="T123" fmla="*/ 177 h 438"/>
                <a:gd name="T124" fmla="*/ 547 w 565"/>
                <a:gd name="T125" fmla="*/ 165 h 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5" h="438">
                  <a:moveTo>
                    <a:pt x="547" y="165"/>
                  </a:moveTo>
                  <a:cubicBezTo>
                    <a:pt x="550" y="145"/>
                    <a:pt x="550" y="145"/>
                    <a:pt x="550" y="145"/>
                  </a:cubicBezTo>
                  <a:cubicBezTo>
                    <a:pt x="536" y="145"/>
                    <a:pt x="536" y="145"/>
                    <a:pt x="536" y="145"/>
                  </a:cubicBezTo>
                  <a:cubicBezTo>
                    <a:pt x="543" y="124"/>
                    <a:pt x="543" y="124"/>
                    <a:pt x="543" y="124"/>
                  </a:cubicBezTo>
                  <a:cubicBezTo>
                    <a:pt x="537" y="113"/>
                    <a:pt x="537" y="113"/>
                    <a:pt x="537" y="113"/>
                  </a:cubicBezTo>
                  <a:cubicBezTo>
                    <a:pt x="540" y="68"/>
                    <a:pt x="540" y="68"/>
                    <a:pt x="540" y="68"/>
                  </a:cubicBezTo>
                  <a:cubicBezTo>
                    <a:pt x="532" y="68"/>
                    <a:pt x="532" y="68"/>
                    <a:pt x="532" y="68"/>
                  </a:cubicBezTo>
                  <a:cubicBezTo>
                    <a:pt x="532" y="68"/>
                    <a:pt x="536" y="57"/>
                    <a:pt x="536" y="56"/>
                  </a:cubicBezTo>
                  <a:cubicBezTo>
                    <a:pt x="526" y="52"/>
                    <a:pt x="522" y="43"/>
                    <a:pt x="521" y="39"/>
                  </a:cubicBezTo>
                  <a:cubicBezTo>
                    <a:pt x="508" y="36"/>
                    <a:pt x="496" y="26"/>
                    <a:pt x="487" y="26"/>
                  </a:cubicBezTo>
                  <a:cubicBezTo>
                    <a:pt x="477" y="26"/>
                    <a:pt x="470" y="34"/>
                    <a:pt x="470" y="34"/>
                  </a:cubicBezTo>
                  <a:cubicBezTo>
                    <a:pt x="470" y="34"/>
                    <a:pt x="447" y="29"/>
                    <a:pt x="439" y="29"/>
                  </a:cubicBezTo>
                  <a:cubicBezTo>
                    <a:pt x="431" y="29"/>
                    <a:pt x="423" y="38"/>
                    <a:pt x="408" y="33"/>
                  </a:cubicBezTo>
                  <a:cubicBezTo>
                    <a:pt x="393" y="28"/>
                    <a:pt x="378" y="4"/>
                    <a:pt x="374" y="2"/>
                  </a:cubicBezTo>
                  <a:cubicBezTo>
                    <a:pt x="370" y="0"/>
                    <a:pt x="354" y="0"/>
                    <a:pt x="354" y="0"/>
                  </a:cubicBezTo>
                  <a:cubicBezTo>
                    <a:pt x="354" y="0"/>
                    <a:pt x="343" y="35"/>
                    <a:pt x="337" y="48"/>
                  </a:cubicBezTo>
                  <a:cubicBezTo>
                    <a:pt x="331" y="61"/>
                    <a:pt x="312" y="98"/>
                    <a:pt x="300" y="107"/>
                  </a:cubicBezTo>
                  <a:cubicBezTo>
                    <a:pt x="288" y="116"/>
                    <a:pt x="272" y="112"/>
                    <a:pt x="267" y="116"/>
                  </a:cubicBezTo>
                  <a:cubicBezTo>
                    <a:pt x="262" y="120"/>
                    <a:pt x="251" y="131"/>
                    <a:pt x="251" y="131"/>
                  </a:cubicBezTo>
                  <a:cubicBezTo>
                    <a:pt x="239" y="128"/>
                    <a:pt x="239" y="128"/>
                    <a:pt x="239" y="128"/>
                  </a:cubicBezTo>
                  <a:cubicBezTo>
                    <a:pt x="222" y="137"/>
                    <a:pt x="222" y="137"/>
                    <a:pt x="222" y="137"/>
                  </a:cubicBezTo>
                  <a:cubicBezTo>
                    <a:pt x="222" y="137"/>
                    <a:pt x="217" y="150"/>
                    <a:pt x="211" y="158"/>
                  </a:cubicBezTo>
                  <a:cubicBezTo>
                    <a:pt x="211" y="158"/>
                    <a:pt x="191" y="170"/>
                    <a:pt x="191" y="174"/>
                  </a:cubicBezTo>
                  <a:cubicBezTo>
                    <a:pt x="191" y="178"/>
                    <a:pt x="195" y="192"/>
                    <a:pt x="188" y="199"/>
                  </a:cubicBezTo>
                  <a:cubicBezTo>
                    <a:pt x="181" y="206"/>
                    <a:pt x="164" y="230"/>
                    <a:pt x="165" y="244"/>
                  </a:cubicBezTo>
                  <a:cubicBezTo>
                    <a:pt x="166" y="258"/>
                    <a:pt x="166" y="269"/>
                    <a:pt x="166" y="269"/>
                  </a:cubicBezTo>
                  <a:cubicBezTo>
                    <a:pt x="166" y="269"/>
                    <a:pt x="158" y="273"/>
                    <a:pt x="158" y="276"/>
                  </a:cubicBezTo>
                  <a:cubicBezTo>
                    <a:pt x="158" y="279"/>
                    <a:pt x="173" y="277"/>
                    <a:pt x="170" y="292"/>
                  </a:cubicBezTo>
                  <a:cubicBezTo>
                    <a:pt x="167" y="307"/>
                    <a:pt x="169" y="316"/>
                    <a:pt x="169" y="316"/>
                  </a:cubicBezTo>
                  <a:cubicBezTo>
                    <a:pt x="169" y="316"/>
                    <a:pt x="163" y="310"/>
                    <a:pt x="154" y="321"/>
                  </a:cubicBezTo>
                  <a:cubicBezTo>
                    <a:pt x="145" y="332"/>
                    <a:pt x="138" y="348"/>
                    <a:pt x="130" y="359"/>
                  </a:cubicBezTo>
                  <a:cubicBezTo>
                    <a:pt x="122" y="370"/>
                    <a:pt x="108" y="366"/>
                    <a:pt x="101" y="376"/>
                  </a:cubicBezTo>
                  <a:cubicBezTo>
                    <a:pt x="94" y="386"/>
                    <a:pt x="86" y="398"/>
                    <a:pt x="80" y="404"/>
                  </a:cubicBezTo>
                  <a:cubicBezTo>
                    <a:pt x="74" y="410"/>
                    <a:pt x="36" y="420"/>
                    <a:pt x="32" y="421"/>
                  </a:cubicBezTo>
                  <a:cubicBezTo>
                    <a:pt x="28" y="422"/>
                    <a:pt x="9" y="423"/>
                    <a:pt x="9" y="423"/>
                  </a:cubicBezTo>
                  <a:cubicBezTo>
                    <a:pt x="9" y="423"/>
                    <a:pt x="4" y="429"/>
                    <a:pt x="0" y="438"/>
                  </a:cubicBezTo>
                  <a:cubicBezTo>
                    <a:pt x="207" y="438"/>
                    <a:pt x="207" y="438"/>
                    <a:pt x="207" y="438"/>
                  </a:cubicBezTo>
                  <a:cubicBezTo>
                    <a:pt x="209" y="399"/>
                    <a:pt x="209" y="399"/>
                    <a:pt x="209" y="399"/>
                  </a:cubicBezTo>
                  <a:cubicBezTo>
                    <a:pt x="212" y="381"/>
                    <a:pt x="212" y="381"/>
                    <a:pt x="212" y="381"/>
                  </a:cubicBezTo>
                  <a:cubicBezTo>
                    <a:pt x="212" y="381"/>
                    <a:pt x="225" y="374"/>
                    <a:pt x="232" y="369"/>
                  </a:cubicBezTo>
                  <a:cubicBezTo>
                    <a:pt x="239" y="364"/>
                    <a:pt x="253" y="344"/>
                    <a:pt x="253" y="344"/>
                  </a:cubicBezTo>
                  <a:cubicBezTo>
                    <a:pt x="265" y="345"/>
                    <a:pt x="265" y="345"/>
                    <a:pt x="265" y="345"/>
                  </a:cubicBezTo>
                  <a:cubicBezTo>
                    <a:pt x="283" y="331"/>
                    <a:pt x="283" y="331"/>
                    <a:pt x="283" y="331"/>
                  </a:cubicBezTo>
                  <a:cubicBezTo>
                    <a:pt x="283" y="331"/>
                    <a:pt x="296" y="340"/>
                    <a:pt x="302" y="339"/>
                  </a:cubicBezTo>
                  <a:cubicBezTo>
                    <a:pt x="308" y="338"/>
                    <a:pt x="308" y="326"/>
                    <a:pt x="308" y="326"/>
                  </a:cubicBezTo>
                  <a:cubicBezTo>
                    <a:pt x="326" y="325"/>
                    <a:pt x="326" y="325"/>
                    <a:pt x="326" y="325"/>
                  </a:cubicBezTo>
                  <a:cubicBezTo>
                    <a:pt x="327" y="317"/>
                    <a:pt x="327" y="317"/>
                    <a:pt x="327" y="317"/>
                  </a:cubicBezTo>
                  <a:cubicBezTo>
                    <a:pt x="327" y="317"/>
                    <a:pt x="353" y="321"/>
                    <a:pt x="361" y="318"/>
                  </a:cubicBezTo>
                  <a:cubicBezTo>
                    <a:pt x="369" y="315"/>
                    <a:pt x="384" y="284"/>
                    <a:pt x="384" y="284"/>
                  </a:cubicBezTo>
                  <a:cubicBezTo>
                    <a:pt x="384" y="284"/>
                    <a:pt x="408" y="283"/>
                    <a:pt x="414" y="283"/>
                  </a:cubicBezTo>
                  <a:cubicBezTo>
                    <a:pt x="420" y="283"/>
                    <a:pt x="432" y="264"/>
                    <a:pt x="432" y="264"/>
                  </a:cubicBezTo>
                  <a:cubicBezTo>
                    <a:pt x="449" y="257"/>
                    <a:pt x="449" y="257"/>
                    <a:pt x="449" y="257"/>
                  </a:cubicBezTo>
                  <a:cubicBezTo>
                    <a:pt x="439" y="245"/>
                    <a:pt x="439" y="245"/>
                    <a:pt x="439" y="245"/>
                  </a:cubicBezTo>
                  <a:cubicBezTo>
                    <a:pt x="439" y="245"/>
                    <a:pt x="430" y="228"/>
                    <a:pt x="438" y="221"/>
                  </a:cubicBezTo>
                  <a:cubicBezTo>
                    <a:pt x="446" y="214"/>
                    <a:pt x="468" y="220"/>
                    <a:pt x="475" y="215"/>
                  </a:cubicBezTo>
                  <a:cubicBezTo>
                    <a:pt x="482" y="210"/>
                    <a:pt x="475" y="203"/>
                    <a:pt x="480" y="200"/>
                  </a:cubicBezTo>
                  <a:cubicBezTo>
                    <a:pt x="485" y="197"/>
                    <a:pt x="493" y="202"/>
                    <a:pt x="493" y="202"/>
                  </a:cubicBezTo>
                  <a:cubicBezTo>
                    <a:pt x="493" y="202"/>
                    <a:pt x="497" y="195"/>
                    <a:pt x="501" y="195"/>
                  </a:cubicBezTo>
                  <a:cubicBezTo>
                    <a:pt x="505" y="195"/>
                    <a:pt x="515" y="201"/>
                    <a:pt x="515" y="201"/>
                  </a:cubicBezTo>
                  <a:cubicBezTo>
                    <a:pt x="553" y="196"/>
                    <a:pt x="553" y="196"/>
                    <a:pt x="553" y="196"/>
                  </a:cubicBezTo>
                  <a:cubicBezTo>
                    <a:pt x="553" y="196"/>
                    <a:pt x="552" y="189"/>
                    <a:pt x="554" y="186"/>
                  </a:cubicBezTo>
                  <a:cubicBezTo>
                    <a:pt x="556" y="183"/>
                    <a:pt x="565" y="177"/>
                    <a:pt x="565" y="177"/>
                  </a:cubicBezTo>
                  <a:lnTo>
                    <a:pt x="547" y="165"/>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50" name="Freeform 111"/>
            <p:cNvSpPr>
              <a:spLocks/>
            </p:cNvSpPr>
            <p:nvPr/>
          </p:nvSpPr>
          <p:spPr bwMode="gray">
            <a:xfrm>
              <a:off x="4445000" y="2849563"/>
              <a:ext cx="104775" cy="217488"/>
            </a:xfrm>
            <a:custGeom>
              <a:avLst/>
              <a:gdLst>
                <a:gd name="T0" fmla="*/ 25 w 187"/>
                <a:gd name="T1" fmla="*/ 48 h 387"/>
                <a:gd name="T2" fmla="*/ 38 w 187"/>
                <a:gd name="T3" fmla="*/ 52 h 387"/>
                <a:gd name="T4" fmla="*/ 33 w 187"/>
                <a:gd name="T5" fmla="*/ 90 h 387"/>
                <a:gd name="T6" fmla="*/ 38 w 187"/>
                <a:gd name="T7" fmla="*/ 119 h 387"/>
                <a:gd name="T8" fmla="*/ 30 w 187"/>
                <a:gd name="T9" fmla="*/ 151 h 387"/>
                <a:gd name="T10" fmla="*/ 16 w 187"/>
                <a:gd name="T11" fmla="*/ 162 h 387"/>
                <a:gd name="T12" fmla="*/ 0 w 187"/>
                <a:gd name="T13" fmla="*/ 185 h 387"/>
                <a:gd name="T14" fmla="*/ 0 w 187"/>
                <a:gd name="T15" fmla="*/ 208 h 387"/>
                <a:gd name="T16" fmla="*/ 7 w 187"/>
                <a:gd name="T17" fmla="*/ 208 h 387"/>
                <a:gd name="T18" fmla="*/ 7 w 187"/>
                <a:gd name="T19" fmla="*/ 227 h 387"/>
                <a:gd name="T20" fmla="*/ 34 w 187"/>
                <a:gd name="T21" fmla="*/ 240 h 387"/>
                <a:gd name="T22" fmla="*/ 35 w 187"/>
                <a:gd name="T23" fmla="*/ 266 h 387"/>
                <a:gd name="T24" fmla="*/ 67 w 187"/>
                <a:gd name="T25" fmla="*/ 291 h 387"/>
                <a:gd name="T26" fmla="*/ 88 w 187"/>
                <a:gd name="T27" fmla="*/ 387 h 387"/>
                <a:gd name="T28" fmla="*/ 104 w 187"/>
                <a:gd name="T29" fmla="*/ 381 h 387"/>
                <a:gd name="T30" fmla="*/ 123 w 187"/>
                <a:gd name="T31" fmla="*/ 355 h 387"/>
                <a:gd name="T32" fmla="*/ 114 w 187"/>
                <a:gd name="T33" fmla="*/ 317 h 387"/>
                <a:gd name="T34" fmla="*/ 129 w 187"/>
                <a:gd name="T35" fmla="*/ 306 h 387"/>
                <a:gd name="T36" fmla="*/ 148 w 187"/>
                <a:gd name="T37" fmla="*/ 283 h 387"/>
                <a:gd name="T38" fmla="*/ 183 w 187"/>
                <a:gd name="T39" fmla="*/ 265 h 387"/>
                <a:gd name="T40" fmla="*/ 172 w 187"/>
                <a:gd name="T41" fmla="*/ 255 h 387"/>
                <a:gd name="T42" fmla="*/ 175 w 187"/>
                <a:gd name="T43" fmla="*/ 228 h 387"/>
                <a:gd name="T44" fmla="*/ 167 w 187"/>
                <a:gd name="T45" fmla="*/ 226 h 387"/>
                <a:gd name="T46" fmla="*/ 160 w 187"/>
                <a:gd name="T47" fmla="*/ 207 h 387"/>
                <a:gd name="T48" fmla="*/ 150 w 187"/>
                <a:gd name="T49" fmla="*/ 201 h 387"/>
                <a:gd name="T50" fmla="*/ 148 w 187"/>
                <a:gd name="T51" fmla="*/ 212 h 387"/>
                <a:gd name="T52" fmla="*/ 142 w 187"/>
                <a:gd name="T53" fmla="*/ 203 h 387"/>
                <a:gd name="T54" fmla="*/ 111 w 187"/>
                <a:gd name="T55" fmla="*/ 183 h 387"/>
                <a:gd name="T56" fmla="*/ 132 w 187"/>
                <a:gd name="T57" fmla="*/ 154 h 387"/>
                <a:gd name="T58" fmla="*/ 156 w 187"/>
                <a:gd name="T59" fmla="*/ 102 h 387"/>
                <a:gd name="T60" fmla="*/ 132 w 187"/>
                <a:gd name="T61" fmla="*/ 73 h 387"/>
                <a:gd name="T62" fmla="*/ 145 w 187"/>
                <a:gd name="T63" fmla="*/ 50 h 387"/>
                <a:gd name="T64" fmla="*/ 156 w 187"/>
                <a:gd name="T65" fmla="*/ 18 h 387"/>
                <a:gd name="T66" fmla="*/ 125 w 187"/>
                <a:gd name="T67" fmla="*/ 45 h 387"/>
                <a:gd name="T68" fmla="*/ 108 w 187"/>
                <a:gd name="T69" fmla="*/ 33 h 387"/>
                <a:gd name="T70" fmla="*/ 110 w 187"/>
                <a:gd name="T71" fmla="*/ 8 h 387"/>
                <a:gd name="T72" fmla="*/ 60 w 187"/>
                <a:gd name="T73" fmla="*/ 23 h 387"/>
                <a:gd name="T74" fmla="*/ 53 w 187"/>
                <a:gd name="T75" fmla="*/ 25 h 387"/>
                <a:gd name="T76" fmla="*/ 53 w 187"/>
                <a:gd name="T77" fmla="*/ 35 h 387"/>
                <a:gd name="T78" fmla="*/ 25 w 187"/>
                <a:gd name="T79" fmla="*/ 48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7" h="387">
                  <a:moveTo>
                    <a:pt x="25" y="48"/>
                  </a:moveTo>
                  <a:cubicBezTo>
                    <a:pt x="38" y="52"/>
                    <a:pt x="38" y="52"/>
                    <a:pt x="38" y="52"/>
                  </a:cubicBezTo>
                  <a:cubicBezTo>
                    <a:pt x="38" y="52"/>
                    <a:pt x="29" y="83"/>
                    <a:pt x="33" y="90"/>
                  </a:cubicBezTo>
                  <a:cubicBezTo>
                    <a:pt x="37" y="97"/>
                    <a:pt x="39" y="109"/>
                    <a:pt x="38" y="119"/>
                  </a:cubicBezTo>
                  <a:cubicBezTo>
                    <a:pt x="37" y="129"/>
                    <a:pt x="30" y="151"/>
                    <a:pt x="30" y="151"/>
                  </a:cubicBezTo>
                  <a:cubicBezTo>
                    <a:pt x="16" y="162"/>
                    <a:pt x="16" y="162"/>
                    <a:pt x="16" y="162"/>
                  </a:cubicBezTo>
                  <a:cubicBezTo>
                    <a:pt x="16" y="162"/>
                    <a:pt x="0" y="175"/>
                    <a:pt x="0" y="185"/>
                  </a:cubicBezTo>
                  <a:cubicBezTo>
                    <a:pt x="0" y="195"/>
                    <a:pt x="0" y="208"/>
                    <a:pt x="0" y="208"/>
                  </a:cubicBezTo>
                  <a:cubicBezTo>
                    <a:pt x="7" y="208"/>
                    <a:pt x="7" y="208"/>
                    <a:pt x="7" y="208"/>
                  </a:cubicBezTo>
                  <a:cubicBezTo>
                    <a:pt x="7" y="227"/>
                    <a:pt x="7" y="227"/>
                    <a:pt x="7" y="227"/>
                  </a:cubicBezTo>
                  <a:cubicBezTo>
                    <a:pt x="7" y="227"/>
                    <a:pt x="33" y="232"/>
                    <a:pt x="34" y="240"/>
                  </a:cubicBezTo>
                  <a:cubicBezTo>
                    <a:pt x="35" y="248"/>
                    <a:pt x="35" y="266"/>
                    <a:pt x="35" y="266"/>
                  </a:cubicBezTo>
                  <a:cubicBezTo>
                    <a:pt x="35" y="266"/>
                    <a:pt x="67" y="278"/>
                    <a:pt x="67" y="291"/>
                  </a:cubicBezTo>
                  <a:cubicBezTo>
                    <a:pt x="67" y="302"/>
                    <a:pt x="82" y="364"/>
                    <a:pt x="88" y="387"/>
                  </a:cubicBezTo>
                  <a:cubicBezTo>
                    <a:pt x="95" y="384"/>
                    <a:pt x="104" y="381"/>
                    <a:pt x="104" y="381"/>
                  </a:cubicBezTo>
                  <a:cubicBezTo>
                    <a:pt x="104" y="381"/>
                    <a:pt x="124" y="367"/>
                    <a:pt x="123" y="355"/>
                  </a:cubicBezTo>
                  <a:cubicBezTo>
                    <a:pt x="122" y="343"/>
                    <a:pt x="112" y="323"/>
                    <a:pt x="114" y="317"/>
                  </a:cubicBezTo>
                  <a:cubicBezTo>
                    <a:pt x="116" y="311"/>
                    <a:pt x="129" y="306"/>
                    <a:pt x="129" y="306"/>
                  </a:cubicBezTo>
                  <a:cubicBezTo>
                    <a:pt x="129" y="306"/>
                    <a:pt x="142" y="289"/>
                    <a:pt x="148" y="283"/>
                  </a:cubicBezTo>
                  <a:cubicBezTo>
                    <a:pt x="154" y="277"/>
                    <a:pt x="179" y="273"/>
                    <a:pt x="183" y="265"/>
                  </a:cubicBezTo>
                  <a:cubicBezTo>
                    <a:pt x="187" y="257"/>
                    <a:pt x="172" y="255"/>
                    <a:pt x="172" y="255"/>
                  </a:cubicBezTo>
                  <a:cubicBezTo>
                    <a:pt x="175" y="228"/>
                    <a:pt x="175" y="228"/>
                    <a:pt x="175" y="228"/>
                  </a:cubicBezTo>
                  <a:cubicBezTo>
                    <a:pt x="170" y="227"/>
                    <a:pt x="167" y="226"/>
                    <a:pt x="167" y="226"/>
                  </a:cubicBezTo>
                  <a:cubicBezTo>
                    <a:pt x="160" y="207"/>
                    <a:pt x="160" y="207"/>
                    <a:pt x="160" y="207"/>
                  </a:cubicBezTo>
                  <a:cubicBezTo>
                    <a:pt x="150" y="201"/>
                    <a:pt x="150" y="201"/>
                    <a:pt x="150" y="201"/>
                  </a:cubicBezTo>
                  <a:cubicBezTo>
                    <a:pt x="148" y="212"/>
                    <a:pt x="148" y="212"/>
                    <a:pt x="148" y="212"/>
                  </a:cubicBezTo>
                  <a:cubicBezTo>
                    <a:pt x="142" y="203"/>
                    <a:pt x="142" y="203"/>
                    <a:pt x="142" y="203"/>
                  </a:cubicBezTo>
                  <a:cubicBezTo>
                    <a:pt x="142" y="203"/>
                    <a:pt x="111" y="202"/>
                    <a:pt x="111" y="183"/>
                  </a:cubicBezTo>
                  <a:cubicBezTo>
                    <a:pt x="111" y="164"/>
                    <a:pt x="109" y="174"/>
                    <a:pt x="132" y="154"/>
                  </a:cubicBezTo>
                  <a:cubicBezTo>
                    <a:pt x="155" y="134"/>
                    <a:pt x="169" y="118"/>
                    <a:pt x="156" y="102"/>
                  </a:cubicBezTo>
                  <a:cubicBezTo>
                    <a:pt x="143" y="86"/>
                    <a:pt x="128" y="89"/>
                    <a:pt x="132" y="73"/>
                  </a:cubicBezTo>
                  <a:cubicBezTo>
                    <a:pt x="136" y="57"/>
                    <a:pt x="135" y="59"/>
                    <a:pt x="145" y="50"/>
                  </a:cubicBezTo>
                  <a:cubicBezTo>
                    <a:pt x="155" y="41"/>
                    <a:pt x="163" y="19"/>
                    <a:pt x="156" y="18"/>
                  </a:cubicBezTo>
                  <a:cubicBezTo>
                    <a:pt x="149" y="17"/>
                    <a:pt x="130" y="43"/>
                    <a:pt x="125" y="45"/>
                  </a:cubicBezTo>
                  <a:cubicBezTo>
                    <a:pt x="120" y="47"/>
                    <a:pt x="108" y="33"/>
                    <a:pt x="108" y="33"/>
                  </a:cubicBezTo>
                  <a:cubicBezTo>
                    <a:pt x="108" y="33"/>
                    <a:pt x="127" y="16"/>
                    <a:pt x="110" y="8"/>
                  </a:cubicBezTo>
                  <a:cubicBezTo>
                    <a:pt x="93" y="0"/>
                    <a:pt x="66" y="19"/>
                    <a:pt x="60" y="23"/>
                  </a:cubicBezTo>
                  <a:cubicBezTo>
                    <a:pt x="58" y="24"/>
                    <a:pt x="56" y="25"/>
                    <a:pt x="53" y="25"/>
                  </a:cubicBezTo>
                  <a:cubicBezTo>
                    <a:pt x="53" y="35"/>
                    <a:pt x="53" y="35"/>
                    <a:pt x="53" y="35"/>
                  </a:cubicBezTo>
                  <a:lnTo>
                    <a:pt x="25" y="48"/>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51" name="Freeform 112"/>
            <p:cNvSpPr>
              <a:spLocks/>
            </p:cNvSpPr>
            <p:nvPr/>
          </p:nvSpPr>
          <p:spPr bwMode="gray">
            <a:xfrm>
              <a:off x="4154488" y="3641725"/>
              <a:ext cx="119062" cy="195263"/>
            </a:xfrm>
            <a:custGeom>
              <a:avLst/>
              <a:gdLst>
                <a:gd name="T0" fmla="*/ 185 w 213"/>
                <a:gd name="T1" fmla="*/ 228 h 349"/>
                <a:gd name="T2" fmla="*/ 190 w 213"/>
                <a:gd name="T3" fmla="*/ 205 h 349"/>
                <a:gd name="T4" fmla="*/ 182 w 213"/>
                <a:gd name="T5" fmla="*/ 198 h 349"/>
                <a:gd name="T6" fmla="*/ 185 w 213"/>
                <a:gd name="T7" fmla="*/ 186 h 349"/>
                <a:gd name="T8" fmla="*/ 187 w 213"/>
                <a:gd name="T9" fmla="*/ 157 h 349"/>
                <a:gd name="T10" fmla="*/ 191 w 213"/>
                <a:gd name="T11" fmla="*/ 148 h 349"/>
                <a:gd name="T12" fmla="*/ 173 w 213"/>
                <a:gd name="T13" fmla="*/ 134 h 349"/>
                <a:gd name="T14" fmla="*/ 185 w 213"/>
                <a:gd name="T15" fmla="*/ 123 h 349"/>
                <a:gd name="T16" fmla="*/ 178 w 213"/>
                <a:gd name="T17" fmla="*/ 113 h 349"/>
                <a:gd name="T18" fmla="*/ 182 w 213"/>
                <a:gd name="T19" fmla="*/ 88 h 349"/>
                <a:gd name="T20" fmla="*/ 166 w 213"/>
                <a:gd name="T21" fmla="*/ 91 h 349"/>
                <a:gd name="T22" fmla="*/ 174 w 213"/>
                <a:gd name="T23" fmla="*/ 42 h 349"/>
                <a:gd name="T24" fmla="*/ 152 w 213"/>
                <a:gd name="T25" fmla="*/ 24 h 349"/>
                <a:gd name="T26" fmla="*/ 159 w 213"/>
                <a:gd name="T27" fmla="*/ 15 h 349"/>
                <a:gd name="T28" fmla="*/ 159 w 213"/>
                <a:gd name="T29" fmla="*/ 4 h 349"/>
                <a:gd name="T30" fmla="*/ 145 w 213"/>
                <a:gd name="T31" fmla="*/ 0 h 349"/>
                <a:gd name="T32" fmla="*/ 129 w 213"/>
                <a:gd name="T33" fmla="*/ 10 h 349"/>
                <a:gd name="T34" fmla="*/ 109 w 213"/>
                <a:gd name="T35" fmla="*/ 7 h 349"/>
                <a:gd name="T36" fmla="*/ 98 w 213"/>
                <a:gd name="T37" fmla="*/ 10 h 349"/>
                <a:gd name="T38" fmla="*/ 86 w 213"/>
                <a:gd name="T39" fmla="*/ 7 h 349"/>
                <a:gd name="T40" fmla="*/ 81 w 213"/>
                <a:gd name="T41" fmla="*/ 10 h 349"/>
                <a:gd name="T42" fmla="*/ 26 w 213"/>
                <a:gd name="T43" fmla="*/ 7 h 349"/>
                <a:gd name="T44" fmla="*/ 18 w 213"/>
                <a:gd name="T45" fmla="*/ 24 h 349"/>
                <a:gd name="T46" fmla="*/ 24 w 213"/>
                <a:gd name="T47" fmla="*/ 33 h 349"/>
                <a:gd name="T48" fmla="*/ 25 w 213"/>
                <a:gd name="T49" fmla="*/ 51 h 349"/>
                <a:gd name="T50" fmla="*/ 26 w 213"/>
                <a:gd name="T51" fmla="*/ 87 h 349"/>
                <a:gd name="T52" fmla="*/ 30 w 213"/>
                <a:gd name="T53" fmla="*/ 86 h 349"/>
                <a:gd name="T54" fmla="*/ 34 w 213"/>
                <a:gd name="T55" fmla="*/ 105 h 349"/>
                <a:gd name="T56" fmla="*/ 26 w 213"/>
                <a:gd name="T57" fmla="*/ 106 h 349"/>
                <a:gd name="T58" fmla="*/ 38 w 213"/>
                <a:gd name="T59" fmla="*/ 152 h 349"/>
                <a:gd name="T60" fmla="*/ 21 w 213"/>
                <a:gd name="T61" fmla="*/ 179 h 349"/>
                <a:gd name="T62" fmla="*/ 20 w 213"/>
                <a:gd name="T63" fmla="*/ 209 h 349"/>
                <a:gd name="T64" fmla="*/ 0 w 213"/>
                <a:gd name="T65" fmla="*/ 241 h 349"/>
                <a:gd name="T66" fmla="*/ 13 w 213"/>
                <a:gd name="T67" fmla="*/ 291 h 349"/>
                <a:gd name="T68" fmla="*/ 31 w 213"/>
                <a:gd name="T69" fmla="*/ 297 h 349"/>
                <a:gd name="T70" fmla="*/ 32 w 213"/>
                <a:gd name="T71" fmla="*/ 332 h 349"/>
                <a:gd name="T72" fmla="*/ 47 w 213"/>
                <a:gd name="T73" fmla="*/ 334 h 349"/>
                <a:gd name="T74" fmla="*/ 61 w 213"/>
                <a:gd name="T75" fmla="*/ 345 h 349"/>
                <a:gd name="T76" fmla="*/ 99 w 213"/>
                <a:gd name="T77" fmla="*/ 321 h 349"/>
                <a:gd name="T78" fmla="*/ 117 w 213"/>
                <a:gd name="T79" fmla="*/ 321 h 349"/>
                <a:gd name="T80" fmla="*/ 141 w 213"/>
                <a:gd name="T81" fmla="*/ 302 h 349"/>
                <a:gd name="T82" fmla="*/ 159 w 213"/>
                <a:gd name="T83" fmla="*/ 298 h 349"/>
                <a:gd name="T84" fmla="*/ 173 w 213"/>
                <a:gd name="T85" fmla="*/ 283 h 349"/>
                <a:gd name="T86" fmla="*/ 196 w 213"/>
                <a:gd name="T87" fmla="*/ 287 h 349"/>
                <a:gd name="T88" fmla="*/ 213 w 213"/>
                <a:gd name="T89" fmla="*/ 273 h 349"/>
                <a:gd name="T90" fmla="*/ 193 w 213"/>
                <a:gd name="T91" fmla="*/ 256 h 349"/>
                <a:gd name="T92" fmla="*/ 185 w 213"/>
                <a:gd name="T93" fmla="*/ 228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13" h="349">
                  <a:moveTo>
                    <a:pt x="185" y="228"/>
                  </a:moveTo>
                  <a:cubicBezTo>
                    <a:pt x="185" y="228"/>
                    <a:pt x="191" y="211"/>
                    <a:pt x="190" y="205"/>
                  </a:cubicBezTo>
                  <a:cubicBezTo>
                    <a:pt x="189" y="199"/>
                    <a:pt x="182" y="203"/>
                    <a:pt x="182" y="198"/>
                  </a:cubicBezTo>
                  <a:cubicBezTo>
                    <a:pt x="182" y="193"/>
                    <a:pt x="185" y="186"/>
                    <a:pt x="185" y="186"/>
                  </a:cubicBezTo>
                  <a:cubicBezTo>
                    <a:pt x="187" y="157"/>
                    <a:pt x="187" y="157"/>
                    <a:pt x="187" y="157"/>
                  </a:cubicBezTo>
                  <a:cubicBezTo>
                    <a:pt x="187" y="157"/>
                    <a:pt x="192" y="154"/>
                    <a:pt x="191" y="148"/>
                  </a:cubicBezTo>
                  <a:cubicBezTo>
                    <a:pt x="190" y="142"/>
                    <a:pt x="173" y="134"/>
                    <a:pt x="173" y="134"/>
                  </a:cubicBezTo>
                  <a:cubicBezTo>
                    <a:pt x="173" y="134"/>
                    <a:pt x="184" y="126"/>
                    <a:pt x="185" y="123"/>
                  </a:cubicBezTo>
                  <a:cubicBezTo>
                    <a:pt x="186" y="120"/>
                    <a:pt x="178" y="113"/>
                    <a:pt x="178" y="113"/>
                  </a:cubicBezTo>
                  <a:cubicBezTo>
                    <a:pt x="178" y="113"/>
                    <a:pt x="186" y="95"/>
                    <a:pt x="182" y="88"/>
                  </a:cubicBezTo>
                  <a:cubicBezTo>
                    <a:pt x="178" y="81"/>
                    <a:pt x="166" y="91"/>
                    <a:pt x="166" y="91"/>
                  </a:cubicBezTo>
                  <a:cubicBezTo>
                    <a:pt x="174" y="42"/>
                    <a:pt x="174" y="42"/>
                    <a:pt x="174" y="42"/>
                  </a:cubicBezTo>
                  <a:cubicBezTo>
                    <a:pt x="152" y="24"/>
                    <a:pt x="152" y="24"/>
                    <a:pt x="152" y="24"/>
                  </a:cubicBezTo>
                  <a:cubicBezTo>
                    <a:pt x="159" y="15"/>
                    <a:pt x="159" y="15"/>
                    <a:pt x="159" y="15"/>
                  </a:cubicBezTo>
                  <a:cubicBezTo>
                    <a:pt x="159" y="4"/>
                    <a:pt x="159" y="4"/>
                    <a:pt x="159" y="4"/>
                  </a:cubicBezTo>
                  <a:cubicBezTo>
                    <a:pt x="145" y="0"/>
                    <a:pt x="145" y="0"/>
                    <a:pt x="145" y="0"/>
                  </a:cubicBezTo>
                  <a:cubicBezTo>
                    <a:pt x="129" y="10"/>
                    <a:pt x="129" y="10"/>
                    <a:pt x="129" y="10"/>
                  </a:cubicBezTo>
                  <a:cubicBezTo>
                    <a:pt x="109" y="7"/>
                    <a:pt x="109" y="7"/>
                    <a:pt x="109" y="7"/>
                  </a:cubicBezTo>
                  <a:cubicBezTo>
                    <a:pt x="98" y="10"/>
                    <a:pt x="98" y="10"/>
                    <a:pt x="98" y="10"/>
                  </a:cubicBezTo>
                  <a:cubicBezTo>
                    <a:pt x="86" y="7"/>
                    <a:pt x="86" y="7"/>
                    <a:pt x="86" y="7"/>
                  </a:cubicBezTo>
                  <a:cubicBezTo>
                    <a:pt x="81" y="10"/>
                    <a:pt x="81" y="10"/>
                    <a:pt x="81" y="10"/>
                  </a:cubicBezTo>
                  <a:cubicBezTo>
                    <a:pt x="26" y="7"/>
                    <a:pt x="26" y="7"/>
                    <a:pt x="26" y="7"/>
                  </a:cubicBezTo>
                  <a:cubicBezTo>
                    <a:pt x="26" y="7"/>
                    <a:pt x="18" y="16"/>
                    <a:pt x="18" y="24"/>
                  </a:cubicBezTo>
                  <a:cubicBezTo>
                    <a:pt x="18" y="32"/>
                    <a:pt x="24" y="33"/>
                    <a:pt x="24" y="33"/>
                  </a:cubicBezTo>
                  <a:cubicBezTo>
                    <a:pt x="25" y="51"/>
                    <a:pt x="25" y="51"/>
                    <a:pt x="25" y="51"/>
                  </a:cubicBezTo>
                  <a:cubicBezTo>
                    <a:pt x="26" y="87"/>
                    <a:pt x="26" y="87"/>
                    <a:pt x="26" y="87"/>
                  </a:cubicBezTo>
                  <a:cubicBezTo>
                    <a:pt x="30" y="86"/>
                    <a:pt x="30" y="86"/>
                    <a:pt x="30" y="86"/>
                  </a:cubicBezTo>
                  <a:cubicBezTo>
                    <a:pt x="34" y="105"/>
                    <a:pt x="34" y="105"/>
                    <a:pt x="34" y="105"/>
                  </a:cubicBezTo>
                  <a:cubicBezTo>
                    <a:pt x="26" y="106"/>
                    <a:pt x="26" y="106"/>
                    <a:pt x="26" y="106"/>
                  </a:cubicBezTo>
                  <a:cubicBezTo>
                    <a:pt x="26" y="106"/>
                    <a:pt x="38" y="140"/>
                    <a:pt x="38" y="152"/>
                  </a:cubicBezTo>
                  <a:cubicBezTo>
                    <a:pt x="38" y="164"/>
                    <a:pt x="21" y="171"/>
                    <a:pt x="21" y="179"/>
                  </a:cubicBezTo>
                  <a:cubicBezTo>
                    <a:pt x="21" y="187"/>
                    <a:pt x="20" y="209"/>
                    <a:pt x="20" y="209"/>
                  </a:cubicBezTo>
                  <a:cubicBezTo>
                    <a:pt x="20" y="209"/>
                    <a:pt x="0" y="227"/>
                    <a:pt x="0" y="241"/>
                  </a:cubicBezTo>
                  <a:cubicBezTo>
                    <a:pt x="0" y="255"/>
                    <a:pt x="13" y="291"/>
                    <a:pt x="13" y="291"/>
                  </a:cubicBezTo>
                  <a:cubicBezTo>
                    <a:pt x="31" y="297"/>
                    <a:pt x="31" y="297"/>
                    <a:pt x="31" y="297"/>
                  </a:cubicBezTo>
                  <a:cubicBezTo>
                    <a:pt x="32" y="332"/>
                    <a:pt x="32" y="332"/>
                    <a:pt x="32" y="332"/>
                  </a:cubicBezTo>
                  <a:cubicBezTo>
                    <a:pt x="41" y="334"/>
                    <a:pt x="47" y="334"/>
                    <a:pt x="47" y="334"/>
                  </a:cubicBezTo>
                  <a:cubicBezTo>
                    <a:pt x="47" y="334"/>
                    <a:pt x="51" y="349"/>
                    <a:pt x="61" y="345"/>
                  </a:cubicBezTo>
                  <a:cubicBezTo>
                    <a:pt x="71" y="341"/>
                    <a:pt x="92" y="323"/>
                    <a:pt x="99" y="321"/>
                  </a:cubicBezTo>
                  <a:cubicBezTo>
                    <a:pt x="106" y="319"/>
                    <a:pt x="117" y="321"/>
                    <a:pt x="117" y="321"/>
                  </a:cubicBezTo>
                  <a:cubicBezTo>
                    <a:pt x="117" y="321"/>
                    <a:pt x="138" y="303"/>
                    <a:pt x="141" y="302"/>
                  </a:cubicBezTo>
                  <a:cubicBezTo>
                    <a:pt x="144" y="301"/>
                    <a:pt x="159" y="298"/>
                    <a:pt x="159" y="298"/>
                  </a:cubicBezTo>
                  <a:cubicBezTo>
                    <a:pt x="159" y="298"/>
                    <a:pt x="165" y="282"/>
                    <a:pt x="173" y="283"/>
                  </a:cubicBezTo>
                  <a:cubicBezTo>
                    <a:pt x="181" y="284"/>
                    <a:pt x="187" y="292"/>
                    <a:pt x="196" y="287"/>
                  </a:cubicBezTo>
                  <a:cubicBezTo>
                    <a:pt x="201" y="284"/>
                    <a:pt x="207" y="278"/>
                    <a:pt x="213" y="273"/>
                  </a:cubicBezTo>
                  <a:cubicBezTo>
                    <a:pt x="193" y="256"/>
                    <a:pt x="193" y="256"/>
                    <a:pt x="193" y="256"/>
                  </a:cubicBezTo>
                  <a:lnTo>
                    <a:pt x="185" y="228"/>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52" name="Freeform 113"/>
            <p:cNvSpPr>
              <a:spLocks/>
            </p:cNvSpPr>
            <p:nvPr/>
          </p:nvSpPr>
          <p:spPr bwMode="gray">
            <a:xfrm>
              <a:off x="4238625" y="3643313"/>
              <a:ext cx="50800" cy="150813"/>
            </a:xfrm>
            <a:custGeom>
              <a:avLst/>
              <a:gdLst>
                <a:gd name="T0" fmla="*/ 82 w 91"/>
                <a:gd name="T1" fmla="*/ 239 h 270"/>
                <a:gd name="T2" fmla="*/ 80 w 91"/>
                <a:gd name="T3" fmla="*/ 195 h 270"/>
                <a:gd name="T4" fmla="*/ 85 w 91"/>
                <a:gd name="T5" fmla="*/ 188 h 270"/>
                <a:gd name="T6" fmla="*/ 79 w 91"/>
                <a:gd name="T7" fmla="*/ 182 h 270"/>
                <a:gd name="T8" fmla="*/ 80 w 91"/>
                <a:gd name="T9" fmla="*/ 143 h 270"/>
                <a:gd name="T10" fmla="*/ 85 w 91"/>
                <a:gd name="T11" fmla="*/ 135 h 270"/>
                <a:gd name="T12" fmla="*/ 81 w 91"/>
                <a:gd name="T13" fmla="*/ 108 h 270"/>
                <a:gd name="T14" fmla="*/ 69 w 91"/>
                <a:gd name="T15" fmla="*/ 91 h 270"/>
                <a:gd name="T16" fmla="*/ 69 w 91"/>
                <a:gd name="T17" fmla="*/ 60 h 270"/>
                <a:gd name="T18" fmla="*/ 42 w 91"/>
                <a:gd name="T19" fmla="*/ 37 h 270"/>
                <a:gd name="T20" fmla="*/ 41 w 91"/>
                <a:gd name="T21" fmla="*/ 18 h 270"/>
                <a:gd name="T22" fmla="*/ 47 w 91"/>
                <a:gd name="T23" fmla="*/ 6 h 270"/>
                <a:gd name="T24" fmla="*/ 33 w 91"/>
                <a:gd name="T25" fmla="*/ 7 h 270"/>
                <a:gd name="T26" fmla="*/ 18 w 91"/>
                <a:gd name="T27" fmla="*/ 0 h 270"/>
                <a:gd name="T28" fmla="*/ 7 w 91"/>
                <a:gd name="T29" fmla="*/ 1 h 270"/>
                <a:gd name="T30" fmla="*/ 7 w 91"/>
                <a:gd name="T31" fmla="*/ 12 h 270"/>
                <a:gd name="T32" fmla="*/ 0 w 91"/>
                <a:gd name="T33" fmla="*/ 21 h 270"/>
                <a:gd name="T34" fmla="*/ 22 w 91"/>
                <a:gd name="T35" fmla="*/ 39 h 270"/>
                <a:gd name="T36" fmla="*/ 14 w 91"/>
                <a:gd name="T37" fmla="*/ 88 h 270"/>
                <a:gd name="T38" fmla="*/ 30 w 91"/>
                <a:gd name="T39" fmla="*/ 85 h 270"/>
                <a:gd name="T40" fmla="*/ 26 w 91"/>
                <a:gd name="T41" fmla="*/ 110 h 270"/>
                <a:gd name="T42" fmla="*/ 33 w 91"/>
                <a:gd name="T43" fmla="*/ 120 h 270"/>
                <a:gd name="T44" fmla="*/ 21 w 91"/>
                <a:gd name="T45" fmla="*/ 131 h 270"/>
                <a:gd name="T46" fmla="*/ 39 w 91"/>
                <a:gd name="T47" fmla="*/ 145 h 270"/>
                <a:gd name="T48" fmla="*/ 35 w 91"/>
                <a:gd name="T49" fmla="*/ 154 h 270"/>
                <a:gd name="T50" fmla="*/ 33 w 91"/>
                <a:gd name="T51" fmla="*/ 183 h 270"/>
                <a:gd name="T52" fmla="*/ 30 w 91"/>
                <a:gd name="T53" fmla="*/ 195 h 270"/>
                <a:gd name="T54" fmla="*/ 38 w 91"/>
                <a:gd name="T55" fmla="*/ 202 h 270"/>
                <a:gd name="T56" fmla="*/ 33 w 91"/>
                <a:gd name="T57" fmla="*/ 225 h 270"/>
                <a:gd name="T58" fmla="*/ 41 w 91"/>
                <a:gd name="T59" fmla="*/ 253 h 270"/>
                <a:gd name="T60" fmla="*/ 61 w 91"/>
                <a:gd name="T61" fmla="*/ 270 h 270"/>
                <a:gd name="T62" fmla="*/ 78 w 91"/>
                <a:gd name="T63" fmla="*/ 259 h 270"/>
                <a:gd name="T64" fmla="*/ 91 w 91"/>
                <a:gd name="T65" fmla="*/ 258 h 270"/>
                <a:gd name="T66" fmla="*/ 82 w 91"/>
                <a:gd name="T67" fmla="*/ 239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1" h="270">
                  <a:moveTo>
                    <a:pt x="82" y="239"/>
                  </a:moveTo>
                  <a:cubicBezTo>
                    <a:pt x="80" y="195"/>
                    <a:pt x="80" y="195"/>
                    <a:pt x="80" y="195"/>
                  </a:cubicBezTo>
                  <a:cubicBezTo>
                    <a:pt x="85" y="188"/>
                    <a:pt x="85" y="188"/>
                    <a:pt x="85" y="188"/>
                  </a:cubicBezTo>
                  <a:cubicBezTo>
                    <a:pt x="79" y="182"/>
                    <a:pt x="79" y="182"/>
                    <a:pt x="79" y="182"/>
                  </a:cubicBezTo>
                  <a:cubicBezTo>
                    <a:pt x="80" y="143"/>
                    <a:pt x="80" y="143"/>
                    <a:pt x="80" y="143"/>
                  </a:cubicBezTo>
                  <a:cubicBezTo>
                    <a:pt x="85" y="135"/>
                    <a:pt x="85" y="135"/>
                    <a:pt x="85" y="135"/>
                  </a:cubicBezTo>
                  <a:cubicBezTo>
                    <a:pt x="85" y="135"/>
                    <a:pt x="80" y="116"/>
                    <a:pt x="81" y="108"/>
                  </a:cubicBezTo>
                  <a:cubicBezTo>
                    <a:pt x="82" y="100"/>
                    <a:pt x="69" y="91"/>
                    <a:pt x="69" y="91"/>
                  </a:cubicBezTo>
                  <a:cubicBezTo>
                    <a:pt x="69" y="91"/>
                    <a:pt x="71" y="68"/>
                    <a:pt x="69" y="60"/>
                  </a:cubicBezTo>
                  <a:cubicBezTo>
                    <a:pt x="67" y="52"/>
                    <a:pt x="42" y="37"/>
                    <a:pt x="42" y="37"/>
                  </a:cubicBezTo>
                  <a:cubicBezTo>
                    <a:pt x="41" y="18"/>
                    <a:pt x="41" y="18"/>
                    <a:pt x="41" y="18"/>
                  </a:cubicBezTo>
                  <a:cubicBezTo>
                    <a:pt x="47" y="6"/>
                    <a:pt x="47" y="6"/>
                    <a:pt x="47" y="6"/>
                  </a:cubicBezTo>
                  <a:cubicBezTo>
                    <a:pt x="33" y="7"/>
                    <a:pt x="33" y="7"/>
                    <a:pt x="33" y="7"/>
                  </a:cubicBezTo>
                  <a:cubicBezTo>
                    <a:pt x="18" y="0"/>
                    <a:pt x="18" y="0"/>
                    <a:pt x="18" y="0"/>
                  </a:cubicBezTo>
                  <a:cubicBezTo>
                    <a:pt x="7" y="1"/>
                    <a:pt x="7" y="1"/>
                    <a:pt x="7" y="1"/>
                  </a:cubicBezTo>
                  <a:cubicBezTo>
                    <a:pt x="7" y="12"/>
                    <a:pt x="7" y="12"/>
                    <a:pt x="7" y="12"/>
                  </a:cubicBezTo>
                  <a:cubicBezTo>
                    <a:pt x="0" y="21"/>
                    <a:pt x="0" y="21"/>
                    <a:pt x="0" y="21"/>
                  </a:cubicBezTo>
                  <a:cubicBezTo>
                    <a:pt x="22" y="39"/>
                    <a:pt x="22" y="39"/>
                    <a:pt x="22" y="39"/>
                  </a:cubicBezTo>
                  <a:cubicBezTo>
                    <a:pt x="14" y="88"/>
                    <a:pt x="14" y="88"/>
                    <a:pt x="14" y="88"/>
                  </a:cubicBezTo>
                  <a:cubicBezTo>
                    <a:pt x="14" y="88"/>
                    <a:pt x="26" y="78"/>
                    <a:pt x="30" y="85"/>
                  </a:cubicBezTo>
                  <a:cubicBezTo>
                    <a:pt x="34" y="92"/>
                    <a:pt x="26" y="110"/>
                    <a:pt x="26" y="110"/>
                  </a:cubicBezTo>
                  <a:cubicBezTo>
                    <a:pt x="26" y="110"/>
                    <a:pt x="34" y="117"/>
                    <a:pt x="33" y="120"/>
                  </a:cubicBezTo>
                  <a:cubicBezTo>
                    <a:pt x="32" y="123"/>
                    <a:pt x="21" y="131"/>
                    <a:pt x="21" y="131"/>
                  </a:cubicBezTo>
                  <a:cubicBezTo>
                    <a:pt x="21" y="131"/>
                    <a:pt x="38" y="139"/>
                    <a:pt x="39" y="145"/>
                  </a:cubicBezTo>
                  <a:cubicBezTo>
                    <a:pt x="40" y="151"/>
                    <a:pt x="35" y="154"/>
                    <a:pt x="35" y="154"/>
                  </a:cubicBezTo>
                  <a:cubicBezTo>
                    <a:pt x="33" y="183"/>
                    <a:pt x="33" y="183"/>
                    <a:pt x="33" y="183"/>
                  </a:cubicBezTo>
                  <a:cubicBezTo>
                    <a:pt x="33" y="183"/>
                    <a:pt x="30" y="190"/>
                    <a:pt x="30" y="195"/>
                  </a:cubicBezTo>
                  <a:cubicBezTo>
                    <a:pt x="30" y="200"/>
                    <a:pt x="37" y="196"/>
                    <a:pt x="38" y="202"/>
                  </a:cubicBezTo>
                  <a:cubicBezTo>
                    <a:pt x="39" y="208"/>
                    <a:pt x="33" y="225"/>
                    <a:pt x="33" y="225"/>
                  </a:cubicBezTo>
                  <a:cubicBezTo>
                    <a:pt x="41" y="253"/>
                    <a:pt x="41" y="253"/>
                    <a:pt x="41" y="253"/>
                  </a:cubicBezTo>
                  <a:cubicBezTo>
                    <a:pt x="61" y="270"/>
                    <a:pt x="61" y="270"/>
                    <a:pt x="61" y="270"/>
                  </a:cubicBezTo>
                  <a:cubicBezTo>
                    <a:pt x="66" y="264"/>
                    <a:pt x="72" y="260"/>
                    <a:pt x="78" y="259"/>
                  </a:cubicBezTo>
                  <a:cubicBezTo>
                    <a:pt x="82" y="258"/>
                    <a:pt x="86" y="258"/>
                    <a:pt x="91" y="258"/>
                  </a:cubicBezTo>
                  <a:cubicBezTo>
                    <a:pt x="91" y="248"/>
                    <a:pt x="82" y="239"/>
                    <a:pt x="82" y="239"/>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53" name="Freeform 114"/>
            <p:cNvSpPr>
              <a:spLocks/>
            </p:cNvSpPr>
            <p:nvPr/>
          </p:nvSpPr>
          <p:spPr bwMode="gray">
            <a:xfrm>
              <a:off x="4262438" y="3603625"/>
              <a:ext cx="84137" cy="185738"/>
            </a:xfrm>
            <a:custGeom>
              <a:avLst/>
              <a:gdLst>
                <a:gd name="T0" fmla="*/ 94 w 150"/>
                <a:gd name="T1" fmla="*/ 247 h 332"/>
                <a:gd name="T2" fmla="*/ 97 w 150"/>
                <a:gd name="T3" fmla="*/ 228 h 332"/>
                <a:gd name="T4" fmla="*/ 94 w 150"/>
                <a:gd name="T5" fmla="*/ 206 h 332"/>
                <a:gd name="T6" fmla="*/ 96 w 150"/>
                <a:gd name="T7" fmla="*/ 183 h 332"/>
                <a:gd name="T8" fmla="*/ 112 w 150"/>
                <a:gd name="T9" fmla="*/ 177 h 332"/>
                <a:gd name="T10" fmla="*/ 118 w 150"/>
                <a:gd name="T11" fmla="*/ 148 h 332"/>
                <a:gd name="T12" fmla="*/ 133 w 150"/>
                <a:gd name="T13" fmla="*/ 132 h 332"/>
                <a:gd name="T14" fmla="*/ 135 w 150"/>
                <a:gd name="T15" fmla="*/ 105 h 332"/>
                <a:gd name="T16" fmla="*/ 148 w 150"/>
                <a:gd name="T17" fmla="*/ 95 h 332"/>
                <a:gd name="T18" fmla="*/ 144 w 150"/>
                <a:gd name="T19" fmla="*/ 85 h 332"/>
                <a:gd name="T20" fmla="*/ 145 w 150"/>
                <a:gd name="T21" fmla="*/ 76 h 332"/>
                <a:gd name="T22" fmla="*/ 131 w 150"/>
                <a:gd name="T23" fmla="*/ 51 h 332"/>
                <a:gd name="T24" fmla="*/ 139 w 150"/>
                <a:gd name="T25" fmla="*/ 31 h 332"/>
                <a:gd name="T26" fmla="*/ 118 w 150"/>
                <a:gd name="T27" fmla="*/ 22 h 332"/>
                <a:gd name="T28" fmla="*/ 96 w 150"/>
                <a:gd name="T29" fmla="*/ 0 h 332"/>
                <a:gd name="T30" fmla="*/ 79 w 150"/>
                <a:gd name="T31" fmla="*/ 7 h 332"/>
                <a:gd name="T32" fmla="*/ 76 w 150"/>
                <a:gd name="T33" fmla="*/ 23 h 332"/>
                <a:gd name="T34" fmla="*/ 83 w 150"/>
                <a:gd name="T35" fmla="*/ 26 h 332"/>
                <a:gd name="T36" fmla="*/ 77 w 150"/>
                <a:gd name="T37" fmla="*/ 28 h 332"/>
                <a:gd name="T38" fmla="*/ 74 w 150"/>
                <a:gd name="T39" fmla="*/ 39 h 332"/>
                <a:gd name="T40" fmla="*/ 63 w 150"/>
                <a:gd name="T41" fmla="*/ 43 h 332"/>
                <a:gd name="T42" fmla="*/ 58 w 150"/>
                <a:gd name="T43" fmla="*/ 53 h 332"/>
                <a:gd name="T44" fmla="*/ 32 w 150"/>
                <a:gd name="T45" fmla="*/ 51 h 332"/>
                <a:gd name="T46" fmla="*/ 19 w 150"/>
                <a:gd name="T47" fmla="*/ 70 h 332"/>
                <a:gd name="T48" fmla="*/ 11 w 150"/>
                <a:gd name="T49" fmla="*/ 70 h 332"/>
                <a:gd name="T50" fmla="*/ 6 w 150"/>
                <a:gd name="T51" fmla="*/ 77 h 332"/>
                <a:gd name="T52" fmla="*/ 0 w 150"/>
                <a:gd name="T53" fmla="*/ 89 h 332"/>
                <a:gd name="T54" fmla="*/ 1 w 150"/>
                <a:gd name="T55" fmla="*/ 108 h 332"/>
                <a:gd name="T56" fmla="*/ 28 w 150"/>
                <a:gd name="T57" fmla="*/ 131 h 332"/>
                <a:gd name="T58" fmla="*/ 28 w 150"/>
                <a:gd name="T59" fmla="*/ 162 h 332"/>
                <a:gd name="T60" fmla="*/ 40 w 150"/>
                <a:gd name="T61" fmla="*/ 179 h 332"/>
                <a:gd name="T62" fmla="*/ 44 w 150"/>
                <a:gd name="T63" fmla="*/ 206 h 332"/>
                <a:gd name="T64" fmla="*/ 39 w 150"/>
                <a:gd name="T65" fmla="*/ 214 h 332"/>
                <a:gd name="T66" fmla="*/ 38 w 150"/>
                <a:gd name="T67" fmla="*/ 253 h 332"/>
                <a:gd name="T68" fmla="*/ 44 w 150"/>
                <a:gd name="T69" fmla="*/ 259 h 332"/>
                <a:gd name="T70" fmla="*/ 39 w 150"/>
                <a:gd name="T71" fmla="*/ 266 h 332"/>
                <a:gd name="T72" fmla="*/ 41 w 150"/>
                <a:gd name="T73" fmla="*/ 310 h 332"/>
                <a:gd name="T74" fmla="*/ 50 w 150"/>
                <a:gd name="T75" fmla="*/ 329 h 332"/>
                <a:gd name="T76" fmla="*/ 50 w 150"/>
                <a:gd name="T77" fmla="*/ 329 h 332"/>
                <a:gd name="T78" fmla="*/ 73 w 150"/>
                <a:gd name="T79" fmla="*/ 332 h 332"/>
                <a:gd name="T80" fmla="*/ 81 w 150"/>
                <a:gd name="T81" fmla="*/ 318 h 332"/>
                <a:gd name="T82" fmla="*/ 91 w 150"/>
                <a:gd name="T83" fmla="*/ 323 h 332"/>
                <a:gd name="T84" fmla="*/ 95 w 150"/>
                <a:gd name="T85" fmla="*/ 306 h 332"/>
                <a:gd name="T86" fmla="*/ 94 w 150"/>
                <a:gd name="T87" fmla="*/ 247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0" h="332">
                  <a:moveTo>
                    <a:pt x="94" y="247"/>
                  </a:moveTo>
                  <a:cubicBezTo>
                    <a:pt x="97" y="228"/>
                    <a:pt x="97" y="228"/>
                    <a:pt x="97" y="228"/>
                  </a:cubicBezTo>
                  <a:cubicBezTo>
                    <a:pt x="94" y="206"/>
                    <a:pt x="94" y="206"/>
                    <a:pt x="94" y="206"/>
                  </a:cubicBezTo>
                  <a:cubicBezTo>
                    <a:pt x="96" y="183"/>
                    <a:pt x="96" y="183"/>
                    <a:pt x="96" y="183"/>
                  </a:cubicBezTo>
                  <a:cubicBezTo>
                    <a:pt x="96" y="183"/>
                    <a:pt x="104" y="187"/>
                    <a:pt x="112" y="177"/>
                  </a:cubicBezTo>
                  <a:cubicBezTo>
                    <a:pt x="120" y="167"/>
                    <a:pt x="115" y="155"/>
                    <a:pt x="118" y="148"/>
                  </a:cubicBezTo>
                  <a:cubicBezTo>
                    <a:pt x="121" y="141"/>
                    <a:pt x="133" y="132"/>
                    <a:pt x="133" y="132"/>
                  </a:cubicBezTo>
                  <a:cubicBezTo>
                    <a:pt x="135" y="105"/>
                    <a:pt x="135" y="105"/>
                    <a:pt x="135" y="105"/>
                  </a:cubicBezTo>
                  <a:cubicBezTo>
                    <a:pt x="135" y="105"/>
                    <a:pt x="146" y="102"/>
                    <a:pt x="148" y="95"/>
                  </a:cubicBezTo>
                  <a:cubicBezTo>
                    <a:pt x="150" y="88"/>
                    <a:pt x="144" y="85"/>
                    <a:pt x="144" y="85"/>
                  </a:cubicBezTo>
                  <a:cubicBezTo>
                    <a:pt x="144" y="85"/>
                    <a:pt x="145" y="82"/>
                    <a:pt x="145" y="76"/>
                  </a:cubicBezTo>
                  <a:cubicBezTo>
                    <a:pt x="145" y="70"/>
                    <a:pt x="130" y="58"/>
                    <a:pt x="131" y="51"/>
                  </a:cubicBezTo>
                  <a:cubicBezTo>
                    <a:pt x="132" y="44"/>
                    <a:pt x="139" y="31"/>
                    <a:pt x="139" y="31"/>
                  </a:cubicBezTo>
                  <a:cubicBezTo>
                    <a:pt x="139" y="31"/>
                    <a:pt x="123" y="25"/>
                    <a:pt x="118" y="22"/>
                  </a:cubicBezTo>
                  <a:cubicBezTo>
                    <a:pt x="113" y="19"/>
                    <a:pt x="96" y="0"/>
                    <a:pt x="96" y="0"/>
                  </a:cubicBezTo>
                  <a:cubicBezTo>
                    <a:pt x="79" y="7"/>
                    <a:pt x="79" y="7"/>
                    <a:pt x="79" y="7"/>
                  </a:cubicBezTo>
                  <a:cubicBezTo>
                    <a:pt x="76" y="23"/>
                    <a:pt x="76" y="23"/>
                    <a:pt x="76" y="23"/>
                  </a:cubicBezTo>
                  <a:cubicBezTo>
                    <a:pt x="83" y="26"/>
                    <a:pt x="83" y="26"/>
                    <a:pt x="83" y="26"/>
                  </a:cubicBezTo>
                  <a:cubicBezTo>
                    <a:pt x="77" y="28"/>
                    <a:pt x="77" y="28"/>
                    <a:pt x="77" y="28"/>
                  </a:cubicBezTo>
                  <a:cubicBezTo>
                    <a:pt x="74" y="39"/>
                    <a:pt x="74" y="39"/>
                    <a:pt x="74" y="39"/>
                  </a:cubicBezTo>
                  <a:cubicBezTo>
                    <a:pt x="74" y="39"/>
                    <a:pt x="67" y="40"/>
                    <a:pt x="63" y="43"/>
                  </a:cubicBezTo>
                  <a:cubicBezTo>
                    <a:pt x="59" y="46"/>
                    <a:pt x="58" y="53"/>
                    <a:pt x="58" y="53"/>
                  </a:cubicBezTo>
                  <a:cubicBezTo>
                    <a:pt x="58" y="53"/>
                    <a:pt x="32" y="52"/>
                    <a:pt x="32" y="51"/>
                  </a:cubicBezTo>
                  <a:cubicBezTo>
                    <a:pt x="21" y="56"/>
                    <a:pt x="19" y="70"/>
                    <a:pt x="19" y="70"/>
                  </a:cubicBezTo>
                  <a:cubicBezTo>
                    <a:pt x="11" y="70"/>
                    <a:pt x="11" y="70"/>
                    <a:pt x="11" y="70"/>
                  </a:cubicBezTo>
                  <a:cubicBezTo>
                    <a:pt x="6" y="77"/>
                    <a:pt x="6" y="77"/>
                    <a:pt x="6" y="77"/>
                  </a:cubicBezTo>
                  <a:cubicBezTo>
                    <a:pt x="0" y="89"/>
                    <a:pt x="0" y="89"/>
                    <a:pt x="0" y="89"/>
                  </a:cubicBezTo>
                  <a:cubicBezTo>
                    <a:pt x="1" y="108"/>
                    <a:pt x="1" y="108"/>
                    <a:pt x="1" y="108"/>
                  </a:cubicBezTo>
                  <a:cubicBezTo>
                    <a:pt x="1" y="108"/>
                    <a:pt x="26" y="123"/>
                    <a:pt x="28" y="131"/>
                  </a:cubicBezTo>
                  <a:cubicBezTo>
                    <a:pt x="30" y="139"/>
                    <a:pt x="28" y="162"/>
                    <a:pt x="28" y="162"/>
                  </a:cubicBezTo>
                  <a:cubicBezTo>
                    <a:pt x="28" y="162"/>
                    <a:pt x="41" y="171"/>
                    <a:pt x="40" y="179"/>
                  </a:cubicBezTo>
                  <a:cubicBezTo>
                    <a:pt x="39" y="187"/>
                    <a:pt x="44" y="206"/>
                    <a:pt x="44" y="206"/>
                  </a:cubicBezTo>
                  <a:cubicBezTo>
                    <a:pt x="39" y="214"/>
                    <a:pt x="39" y="214"/>
                    <a:pt x="39" y="214"/>
                  </a:cubicBezTo>
                  <a:cubicBezTo>
                    <a:pt x="38" y="253"/>
                    <a:pt x="38" y="253"/>
                    <a:pt x="38" y="253"/>
                  </a:cubicBezTo>
                  <a:cubicBezTo>
                    <a:pt x="44" y="259"/>
                    <a:pt x="44" y="259"/>
                    <a:pt x="44" y="259"/>
                  </a:cubicBezTo>
                  <a:cubicBezTo>
                    <a:pt x="39" y="266"/>
                    <a:pt x="39" y="266"/>
                    <a:pt x="39" y="266"/>
                  </a:cubicBezTo>
                  <a:cubicBezTo>
                    <a:pt x="41" y="310"/>
                    <a:pt x="41" y="310"/>
                    <a:pt x="41" y="310"/>
                  </a:cubicBezTo>
                  <a:cubicBezTo>
                    <a:pt x="41" y="310"/>
                    <a:pt x="50" y="319"/>
                    <a:pt x="50" y="329"/>
                  </a:cubicBezTo>
                  <a:cubicBezTo>
                    <a:pt x="50" y="329"/>
                    <a:pt x="50" y="329"/>
                    <a:pt x="50" y="329"/>
                  </a:cubicBezTo>
                  <a:cubicBezTo>
                    <a:pt x="61" y="330"/>
                    <a:pt x="73" y="332"/>
                    <a:pt x="73" y="332"/>
                  </a:cubicBezTo>
                  <a:cubicBezTo>
                    <a:pt x="81" y="318"/>
                    <a:pt x="81" y="318"/>
                    <a:pt x="81" y="318"/>
                  </a:cubicBezTo>
                  <a:cubicBezTo>
                    <a:pt x="81" y="318"/>
                    <a:pt x="85" y="320"/>
                    <a:pt x="91" y="323"/>
                  </a:cubicBezTo>
                  <a:cubicBezTo>
                    <a:pt x="95" y="306"/>
                    <a:pt x="95" y="306"/>
                    <a:pt x="95" y="306"/>
                  </a:cubicBezTo>
                  <a:lnTo>
                    <a:pt x="94" y="247"/>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54" name="Freeform 115"/>
            <p:cNvSpPr>
              <a:spLocks/>
            </p:cNvSpPr>
            <p:nvPr/>
          </p:nvSpPr>
          <p:spPr bwMode="gray">
            <a:xfrm>
              <a:off x="4313238" y="3559175"/>
              <a:ext cx="317500" cy="285750"/>
            </a:xfrm>
            <a:custGeom>
              <a:avLst/>
              <a:gdLst>
                <a:gd name="T0" fmla="*/ 290 w 567"/>
                <a:gd name="T1" fmla="*/ 469 h 511"/>
                <a:gd name="T2" fmla="*/ 333 w 567"/>
                <a:gd name="T3" fmla="*/ 394 h 511"/>
                <a:gd name="T4" fmla="*/ 372 w 567"/>
                <a:gd name="T5" fmla="*/ 375 h 511"/>
                <a:gd name="T6" fmla="*/ 396 w 567"/>
                <a:gd name="T7" fmla="*/ 383 h 511"/>
                <a:gd name="T8" fmla="*/ 417 w 567"/>
                <a:gd name="T9" fmla="*/ 378 h 511"/>
                <a:gd name="T10" fmla="*/ 434 w 567"/>
                <a:gd name="T11" fmla="*/ 343 h 511"/>
                <a:gd name="T12" fmla="*/ 458 w 567"/>
                <a:gd name="T13" fmla="*/ 291 h 511"/>
                <a:gd name="T14" fmla="*/ 484 w 567"/>
                <a:gd name="T15" fmla="*/ 239 h 511"/>
                <a:gd name="T16" fmla="*/ 504 w 567"/>
                <a:gd name="T17" fmla="*/ 200 h 511"/>
                <a:gd name="T18" fmla="*/ 513 w 567"/>
                <a:gd name="T19" fmla="*/ 177 h 511"/>
                <a:gd name="T20" fmla="*/ 533 w 567"/>
                <a:gd name="T21" fmla="*/ 141 h 511"/>
                <a:gd name="T22" fmla="*/ 559 w 567"/>
                <a:gd name="T23" fmla="*/ 111 h 511"/>
                <a:gd name="T24" fmla="*/ 540 w 567"/>
                <a:gd name="T25" fmla="*/ 84 h 511"/>
                <a:gd name="T26" fmla="*/ 517 w 567"/>
                <a:gd name="T27" fmla="*/ 8 h 511"/>
                <a:gd name="T28" fmla="*/ 499 w 567"/>
                <a:gd name="T29" fmla="*/ 22 h 511"/>
                <a:gd name="T30" fmla="*/ 458 w 567"/>
                <a:gd name="T31" fmla="*/ 40 h 511"/>
                <a:gd name="T32" fmla="*/ 382 w 567"/>
                <a:gd name="T33" fmla="*/ 25 h 511"/>
                <a:gd name="T34" fmla="*/ 293 w 567"/>
                <a:gd name="T35" fmla="*/ 55 h 511"/>
                <a:gd name="T36" fmla="*/ 205 w 567"/>
                <a:gd name="T37" fmla="*/ 47 h 511"/>
                <a:gd name="T38" fmla="*/ 174 w 567"/>
                <a:gd name="T39" fmla="*/ 12 h 511"/>
                <a:gd name="T40" fmla="*/ 135 w 567"/>
                <a:gd name="T41" fmla="*/ 1 h 511"/>
                <a:gd name="T42" fmla="*/ 88 w 567"/>
                <a:gd name="T43" fmla="*/ 7 h 511"/>
                <a:gd name="T44" fmla="*/ 68 w 567"/>
                <a:gd name="T45" fmla="*/ 50 h 511"/>
                <a:gd name="T46" fmla="*/ 48 w 567"/>
                <a:gd name="T47" fmla="*/ 110 h 511"/>
                <a:gd name="T48" fmla="*/ 54 w 567"/>
                <a:gd name="T49" fmla="*/ 155 h 511"/>
                <a:gd name="T50" fmla="*/ 57 w 567"/>
                <a:gd name="T51" fmla="*/ 174 h 511"/>
                <a:gd name="T52" fmla="*/ 42 w 567"/>
                <a:gd name="T53" fmla="*/ 211 h 511"/>
                <a:gd name="T54" fmla="*/ 21 w 567"/>
                <a:gd name="T55" fmla="*/ 256 h 511"/>
                <a:gd name="T56" fmla="*/ 3 w 567"/>
                <a:gd name="T57" fmla="*/ 285 h 511"/>
                <a:gd name="T58" fmla="*/ 3 w 567"/>
                <a:gd name="T59" fmla="*/ 326 h 511"/>
                <a:gd name="T60" fmla="*/ 0 w 567"/>
                <a:gd name="T61" fmla="*/ 402 h 511"/>
                <a:gd name="T62" fmla="*/ 44 w 567"/>
                <a:gd name="T63" fmla="*/ 394 h 511"/>
                <a:gd name="T64" fmla="*/ 96 w 567"/>
                <a:gd name="T65" fmla="*/ 413 h 511"/>
                <a:gd name="T66" fmla="*/ 127 w 567"/>
                <a:gd name="T67" fmla="*/ 440 h 511"/>
                <a:gd name="T68" fmla="*/ 133 w 567"/>
                <a:gd name="T69" fmla="*/ 453 h 511"/>
                <a:gd name="T70" fmla="*/ 157 w 567"/>
                <a:gd name="T71" fmla="*/ 510 h 511"/>
                <a:gd name="T72" fmla="*/ 194 w 567"/>
                <a:gd name="T73" fmla="*/ 491 h 511"/>
                <a:gd name="T74" fmla="*/ 228 w 567"/>
                <a:gd name="T75" fmla="*/ 496 h 511"/>
                <a:gd name="T76" fmla="*/ 265 w 567"/>
                <a:gd name="T77" fmla="*/ 504 h 511"/>
                <a:gd name="T78" fmla="*/ 282 w 567"/>
                <a:gd name="T79" fmla="*/ 487 h 5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567" h="511">
                  <a:moveTo>
                    <a:pt x="281" y="490"/>
                  </a:moveTo>
                  <a:cubicBezTo>
                    <a:pt x="281" y="490"/>
                    <a:pt x="288" y="475"/>
                    <a:pt x="290" y="469"/>
                  </a:cubicBezTo>
                  <a:cubicBezTo>
                    <a:pt x="292" y="463"/>
                    <a:pt x="290" y="431"/>
                    <a:pt x="290" y="431"/>
                  </a:cubicBezTo>
                  <a:cubicBezTo>
                    <a:pt x="333" y="394"/>
                    <a:pt x="333" y="394"/>
                    <a:pt x="333" y="394"/>
                  </a:cubicBezTo>
                  <a:cubicBezTo>
                    <a:pt x="333" y="394"/>
                    <a:pt x="343" y="374"/>
                    <a:pt x="349" y="369"/>
                  </a:cubicBezTo>
                  <a:cubicBezTo>
                    <a:pt x="355" y="364"/>
                    <a:pt x="363" y="377"/>
                    <a:pt x="372" y="375"/>
                  </a:cubicBezTo>
                  <a:cubicBezTo>
                    <a:pt x="381" y="373"/>
                    <a:pt x="368" y="359"/>
                    <a:pt x="375" y="359"/>
                  </a:cubicBezTo>
                  <a:cubicBezTo>
                    <a:pt x="382" y="359"/>
                    <a:pt x="396" y="383"/>
                    <a:pt x="396" y="383"/>
                  </a:cubicBezTo>
                  <a:cubicBezTo>
                    <a:pt x="396" y="383"/>
                    <a:pt x="393" y="399"/>
                    <a:pt x="405" y="399"/>
                  </a:cubicBezTo>
                  <a:cubicBezTo>
                    <a:pt x="417" y="399"/>
                    <a:pt x="417" y="378"/>
                    <a:pt x="417" y="378"/>
                  </a:cubicBezTo>
                  <a:cubicBezTo>
                    <a:pt x="417" y="378"/>
                    <a:pt x="428" y="369"/>
                    <a:pt x="433" y="363"/>
                  </a:cubicBezTo>
                  <a:cubicBezTo>
                    <a:pt x="438" y="357"/>
                    <a:pt x="434" y="343"/>
                    <a:pt x="434" y="343"/>
                  </a:cubicBezTo>
                  <a:cubicBezTo>
                    <a:pt x="450" y="323"/>
                    <a:pt x="450" y="323"/>
                    <a:pt x="450" y="323"/>
                  </a:cubicBezTo>
                  <a:cubicBezTo>
                    <a:pt x="458" y="291"/>
                    <a:pt x="458" y="291"/>
                    <a:pt x="458" y="291"/>
                  </a:cubicBezTo>
                  <a:cubicBezTo>
                    <a:pt x="458" y="291"/>
                    <a:pt x="477" y="284"/>
                    <a:pt x="482" y="274"/>
                  </a:cubicBezTo>
                  <a:cubicBezTo>
                    <a:pt x="487" y="264"/>
                    <a:pt x="482" y="246"/>
                    <a:pt x="484" y="239"/>
                  </a:cubicBezTo>
                  <a:cubicBezTo>
                    <a:pt x="486" y="232"/>
                    <a:pt x="496" y="239"/>
                    <a:pt x="501" y="230"/>
                  </a:cubicBezTo>
                  <a:cubicBezTo>
                    <a:pt x="506" y="221"/>
                    <a:pt x="504" y="200"/>
                    <a:pt x="504" y="200"/>
                  </a:cubicBezTo>
                  <a:cubicBezTo>
                    <a:pt x="511" y="196"/>
                    <a:pt x="511" y="196"/>
                    <a:pt x="511" y="196"/>
                  </a:cubicBezTo>
                  <a:cubicBezTo>
                    <a:pt x="513" y="177"/>
                    <a:pt x="513" y="177"/>
                    <a:pt x="513" y="177"/>
                  </a:cubicBezTo>
                  <a:cubicBezTo>
                    <a:pt x="513" y="177"/>
                    <a:pt x="523" y="164"/>
                    <a:pt x="524" y="161"/>
                  </a:cubicBezTo>
                  <a:cubicBezTo>
                    <a:pt x="525" y="158"/>
                    <a:pt x="533" y="141"/>
                    <a:pt x="533" y="141"/>
                  </a:cubicBezTo>
                  <a:cubicBezTo>
                    <a:pt x="533" y="141"/>
                    <a:pt x="547" y="138"/>
                    <a:pt x="557" y="129"/>
                  </a:cubicBezTo>
                  <a:cubicBezTo>
                    <a:pt x="567" y="120"/>
                    <a:pt x="559" y="111"/>
                    <a:pt x="559" y="111"/>
                  </a:cubicBezTo>
                  <a:cubicBezTo>
                    <a:pt x="559" y="111"/>
                    <a:pt x="563" y="98"/>
                    <a:pt x="562" y="87"/>
                  </a:cubicBezTo>
                  <a:cubicBezTo>
                    <a:pt x="561" y="76"/>
                    <a:pt x="542" y="87"/>
                    <a:pt x="540" y="84"/>
                  </a:cubicBezTo>
                  <a:cubicBezTo>
                    <a:pt x="538" y="81"/>
                    <a:pt x="536" y="40"/>
                    <a:pt x="536" y="40"/>
                  </a:cubicBezTo>
                  <a:cubicBezTo>
                    <a:pt x="517" y="8"/>
                    <a:pt x="517" y="8"/>
                    <a:pt x="517" y="8"/>
                  </a:cubicBezTo>
                  <a:cubicBezTo>
                    <a:pt x="517" y="8"/>
                    <a:pt x="511" y="8"/>
                    <a:pt x="507" y="8"/>
                  </a:cubicBezTo>
                  <a:cubicBezTo>
                    <a:pt x="503" y="8"/>
                    <a:pt x="499" y="22"/>
                    <a:pt x="499" y="22"/>
                  </a:cubicBezTo>
                  <a:cubicBezTo>
                    <a:pt x="499" y="22"/>
                    <a:pt x="490" y="19"/>
                    <a:pt x="483" y="23"/>
                  </a:cubicBezTo>
                  <a:cubicBezTo>
                    <a:pt x="476" y="27"/>
                    <a:pt x="458" y="40"/>
                    <a:pt x="458" y="40"/>
                  </a:cubicBezTo>
                  <a:cubicBezTo>
                    <a:pt x="440" y="39"/>
                    <a:pt x="440" y="39"/>
                    <a:pt x="440" y="39"/>
                  </a:cubicBezTo>
                  <a:cubicBezTo>
                    <a:pt x="440" y="39"/>
                    <a:pt x="424" y="25"/>
                    <a:pt x="382" y="25"/>
                  </a:cubicBezTo>
                  <a:cubicBezTo>
                    <a:pt x="340" y="25"/>
                    <a:pt x="328" y="60"/>
                    <a:pt x="328" y="60"/>
                  </a:cubicBezTo>
                  <a:cubicBezTo>
                    <a:pt x="328" y="60"/>
                    <a:pt x="312" y="56"/>
                    <a:pt x="293" y="55"/>
                  </a:cubicBezTo>
                  <a:cubicBezTo>
                    <a:pt x="274" y="54"/>
                    <a:pt x="262" y="26"/>
                    <a:pt x="250" y="26"/>
                  </a:cubicBezTo>
                  <a:cubicBezTo>
                    <a:pt x="238" y="26"/>
                    <a:pt x="214" y="46"/>
                    <a:pt x="205" y="47"/>
                  </a:cubicBezTo>
                  <a:cubicBezTo>
                    <a:pt x="196" y="48"/>
                    <a:pt x="191" y="26"/>
                    <a:pt x="191" y="26"/>
                  </a:cubicBezTo>
                  <a:cubicBezTo>
                    <a:pt x="174" y="12"/>
                    <a:pt x="174" y="12"/>
                    <a:pt x="174" y="12"/>
                  </a:cubicBezTo>
                  <a:cubicBezTo>
                    <a:pt x="174" y="12"/>
                    <a:pt x="162" y="12"/>
                    <a:pt x="155" y="11"/>
                  </a:cubicBezTo>
                  <a:cubicBezTo>
                    <a:pt x="148" y="10"/>
                    <a:pt x="149" y="0"/>
                    <a:pt x="135" y="1"/>
                  </a:cubicBezTo>
                  <a:cubicBezTo>
                    <a:pt x="121" y="2"/>
                    <a:pt x="122" y="8"/>
                    <a:pt x="122" y="8"/>
                  </a:cubicBezTo>
                  <a:cubicBezTo>
                    <a:pt x="88" y="7"/>
                    <a:pt x="88" y="7"/>
                    <a:pt x="88" y="7"/>
                  </a:cubicBezTo>
                  <a:cubicBezTo>
                    <a:pt x="69" y="24"/>
                    <a:pt x="69" y="24"/>
                    <a:pt x="69" y="24"/>
                  </a:cubicBezTo>
                  <a:cubicBezTo>
                    <a:pt x="69" y="24"/>
                    <a:pt x="69" y="35"/>
                    <a:pt x="68" y="50"/>
                  </a:cubicBezTo>
                  <a:cubicBezTo>
                    <a:pt x="67" y="65"/>
                    <a:pt x="45" y="76"/>
                    <a:pt x="45" y="76"/>
                  </a:cubicBezTo>
                  <a:cubicBezTo>
                    <a:pt x="48" y="110"/>
                    <a:pt x="48" y="110"/>
                    <a:pt x="48" y="110"/>
                  </a:cubicBezTo>
                  <a:cubicBezTo>
                    <a:pt x="48" y="110"/>
                    <a:pt x="41" y="123"/>
                    <a:pt x="40" y="130"/>
                  </a:cubicBezTo>
                  <a:cubicBezTo>
                    <a:pt x="39" y="137"/>
                    <a:pt x="54" y="149"/>
                    <a:pt x="54" y="155"/>
                  </a:cubicBezTo>
                  <a:cubicBezTo>
                    <a:pt x="54" y="161"/>
                    <a:pt x="53" y="164"/>
                    <a:pt x="53" y="164"/>
                  </a:cubicBezTo>
                  <a:cubicBezTo>
                    <a:pt x="53" y="164"/>
                    <a:pt x="59" y="167"/>
                    <a:pt x="57" y="174"/>
                  </a:cubicBezTo>
                  <a:cubicBezTo>
                    <a:pt x="55" y="181"/>
                    <a:pt x="44" y="184"/>
                    <a:pt x="44" y="184"/>
                  </a:cubicBezTo>
                  <a:cubicBezTo>
                    <a:pt x="42" y="211"/>
                    <a:pt x="42" y="211"/>
                    <a:pt x="42" y="211"/>
                  </a:cubicBezTo>
                  <a:cubicBezTo>
                    <a:pt x="42" y="211"/>
                    <a:pt x="30" y="220"/>
                    <a:pt x="27" y="227"/>
                  </a:cubicBezTo>
                  <a:cubicBezTo>
                    <a:pt x="24" y="234"/>
                    <a:pt x="29" y="246"/>
                    <a:pt x="21" y="256"/>
                  </a:cubicBezTo>
                  <a:cubicBezTo>
                    <a:pt x="13" y="266"/>
                    <a:pt x="5" y="262"/>
                    <a:pt x="5" y="262"/>
                  </a:cubicBezTo>
                  <a:cubicBezTo>
                    <a:pt x="3" y="285"/>
                    <a:pt x="3" y="285"/>
                    <a:pt x="3" y="285"/>
                  </a:cubicBezTo>
                  <a:cubicBezTo>
                    <a:pt x="6" y="307"/>
                    <a:pt x="6" y="307"/>
                    <a:pt x="6" y="307"/>
                  </a:cubicBezTo>
                  <a:cubicBezTo>
                    <a:pt x="3" y="326"/>
                    <a:pt x="3" y="326"/>
                    <a:pt x="3" y="326"/>
                  </a:cubicBezTo>
                  <a:cubicBezTo>
                    <a:pt x="4" y="385"/>
                    <a:pt x="4" y="385"/>
                    <a:pt x="4" y="385"/>
                  </a:cubicBezTo>
                  <a:cubicBezTo>
                    <a:pt x="0" y="402"/>
                    <a:pt x="0" y="402"/>
                    <a:pt x="0" y="402"/>
                  </a:cubicBezTo>
                  <a:cubicBezTo>
                    <a:pt x="7" y="405"/>
                    <a:pt x="17" y="408"/>
                    <a:pt x="23" y="406"/>
                  </a:cubicBezTo>
                  <a:cubicBezTo>
                    <a:pt x="34" y="402"/>
                    <a:pt x="44" y="394"/>
                    <a:pt x="44" y="394"/>
                  </a:cubicBezTo>
                  <a:cubicBezTo>
                    <a:pt x="47" y="401"/>
                    <a:pt x="47" y="401"/>
                    <a:pt x="47" y="401"/>
                  </a:cubicBezTo>
                  <a:cubicBezTo>
                    <a:pt x="47" y="401"/>
                    <a:pt x="80" y="394"/>
                    <a:pt x="96" y="413"/>
                  </a:cubicBezTo>
                  <a:cubicBezTo>
                    <a:pt x="112" y="432"/>
                    <a:pt x="113" y="441"/>
                    <a:pt x="113" y="441"/>
                  </a:cubicBezTo>
                  <a:cubicBezTo>
                    <a:pt x="127" y="440"/>
                    <a:pt x="127" y="440"/>
                    <a:pt x="127" y="440"/>
                  </a:cubicBezTo>
                  <a:cubicBezTo>
                    <a:pt x="127" y="440"/>
                    <a:pt x="117" y="455"/>
                    <a:pt x="120" y="456"/>
                  </a:cubicBezTo>
                  <a:cubicBezTo>
                    <a:pt x="123" y="457"/>
                    <a:pt x="133" y="450"/>
                    <a:pt x="133" y="453"/>
                  </a:cubicBezTo>
                  <a:cubicBezTo>
                    <a:pt x="133" y="456"/>
                    <a:pt x="128" y="464"/>
                    <a:pt x="128" y="472"/>
                  </a:cubicBezTo>
                  <a:cubicBezTo>
                    <a:pt x="128" y="480"/>
                    <a:pt x="136" y="509"/>
                    <a:pt x="157" y="510"/>
                  </a:cubicBezTo>
                  <a:cubicBezTo>
                    <a:pt x="178" y="511"/>
                    <a:pt x="191" y="509"/>
                    <a:pt x="191" y="509"/>
                  </a:cubicBezTo>
                  <a:cubicBezTo>
                    <a:pt x="194" y="491"/>
                    <a:pt x="194" y="491"/>
                    <a:pt x="194" y="491"/>
                  </a:cubicBezTo>
                  <a:cubicBezTo>
                    <a:pt x="212" y="501"/>
                    <a:pt x="212" y="501"/>
                    <a:pt x="212" y="501"/>
                  </a:cubicBezTo>
                  <a:cubicBezTo>
                    <a:pt x="228" y="496"/>
                    <a:pt x="228" y="496"/>
                    <a:pt x="228" y="496"/>
                  </a:cubicBezTo>
                  <a:cubicBezTo>
                    <a:pt x="237" y="505"/>
                    <a:pt x="237" y="505"/>
                    <a:pt x="237" y="505"/>
                  </a:cubicBezTo>
                  <a:cubicBezTo>
                    <a:pt x="265" y="504"/>
                    <a:pt x="265" y="504"/>
                    <a:pt x="265" y="504"/>
                  </a:cubicBezTo>
                  <a:cubicBezTo>
                    <a:pt x="265" y="488"/>
                    <a:pt x="265" y="488"/>
                    <a:pt x="265" y="488"/>
                  </a:cubicBezTo>
                  <a:cubicBezTo>
                    <a:pt x="282" y="487"/>
                    <a:pt x="282" y="487"/>
                    <a:pt x="282" y="487"/>
                  </a:cubicBezTo>
                  <a:cubicBezTo>
                    <a:pt x="281" y="490"/>
                    <a:pt x="281" y="490"/>
                    <a:pt x="281" y="490"/>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55" name="Freeform 116"/>
            <p:cNvSpPr>
              <a:spLocks/>
            </p:cNvSpPr>
            <p:nvPr/>
          </p:nvSpPr>
          <p:spPr bwMode="gray">
            <a:xfrm>
              <a:off x="4597400" y="3268663"/>
              <a:ext cx="276225" cy="485775"/>
            </a:xfrm>
            <a:custGeom>
              <a:avLst/>
              <a:gdLst>
                <a:gd name="T0" fmla="*/ 496 w 496"/>
                <a:gd name="T1" fmla="*/ 420 h 866"/>
                <a:gd name="T2" fmla="*/ 119 w 496"/>
                <a:gd name="T3" fmla="*/ 0 h 866"/>
                <a:gd name="T4" fmla="*/ 83 w 496"/>
                <a:gd name="T5" fmla="*/ 72 h 866"/>
                <a:gd name="T6" fmla="*/ 95 w 496"/>
                <a:gd name="T7" fmla="*/ 129 h 866"/>
                <a:gd name="T8" fmla="*/ 120 w 496"/>
                <a:gd name="T9" fmla="*/ 169 h 866"/>
                <a:gd name="T10" fmla="*/ 96 w 496"/>
                <a:gd name="T11" fmla="*/ 356 h 866"/>
                <a:gd name="T12" fmla="*/ 13 w 496"/>
                <a:gd name="T13" fmla="*/ 479 h 866"/>
                <a:gd name="T14" fmla="*/ 3 w 496"/>
                <a:gd name="T15" fmla="*/ 526 h 866"/>
                <a:gd name="T16" fmla="*/ 29 w 496"/>
                <a:gd name="T17" fmla="*/ 558 h 866"/>
                <a:gd name="T18" fmla="*/ 29 w 496"/>
                <a:gd name="T19" fmla="*/ 561 h 866"/>
                <a:gd name="T20" fmla="*/ 50 w 496"/>
                <a:gd name="T21" fmla="*/ 576 h 866"/>
                <a:gd name="T22" fmla="*/ 66 w 496"/>
                <a:gd name="T23" fmla="*/ 611 h 866"/>
                <a:gd name="T24" fmla="*/ 74 w 496"/>
                <a:gd name="T25" fmla="*/ 650 h 866"/>
                <a:gd name="T26" fmla="*/ 106 w 496"/>
                <a:gd name="T27" fmla="*/ 724 h 866"/>
                <a:gd name="T28" fmla="*/ 31 w 496"/>
                <a:gd name="T29" fmla="*/ 733 h 866"/>
                <a:gd name="T30" fmla="*/ 87 w 496"/>
                <a:gd name="T31" fmla="*/ 802 h 866"/>
                <a:gd name="T32" fmla="*/ 123 w 496"/>
                <a:gd name="T33" fmla="*/ 860 h 866"/>
                <a:gd name="T34" fmla="*/ 165 w 496"/>
                <a:gd name="T35" fmla="*/ 858 h 866"/>
                <a:gd name="T36" fmla="*/ 248 w 496"/>
                <a:gd name="T37" fmla="*/ 833 h 866"/>
                <a:gd name="T38" fmla="*/ 253 w 496"/>
                <a:gd name="T39" fmla="*/ 788 h 866"/>
                <a:gd name="T40" fmla="*/ 338 w 496"/>
                <a:gd name="T41" fmla="*/ 765 h 866"/>
                <a:gd name="T42" fmla="*/ 378 w 496"/>
                <a:gd name="T43" fmla="*/ 723 h 866"/>
                <a:gd name="T44" fmla="*/ 393 w 496"/>
                <a:gd name="T45" fmla="*/ 691 h 866"/>
                <a:gd name="T46" fmla="*/ 446 w 496"/>
                <a:gd name="T47" fmla="*/ 674 h 866"/>
                <a:gd name="T48" fmla="*/ 451 w 496"/>
                <a:gd name="T49" fmla="*/ 656 h 866"/>
                <a:gd name="T50" fmla="*/ 426 w 496"/>
                <a:gd name="T51" fmla="*/ 625 h 866"/>
                <a:gd name="T52" fmla="*/ 428 w 496"/>
                <a:gd name="T53" fmla="*/ 612 h 866"/>
                <a:gd name="T54" fmla="*/ 406 w 496"/>
                <a:gd name="T55" fmla="*/ 587 h 866"/>
                <a:gd name="T56" fmla="*/ 417 w 496"/>
                <a:gd name="T57" fmla="*/ 549 h 866"/>
                <a:gd name="T58" fmla="*/ 419 w 496"/>
                <a:gd name="T59" fmla="*/ 508 h 866"/>
                <a:gd name="T60" fmla="*/ 425 w 496"/>
                <a:gd name="T61" fmla="*/ 490 h 866"/>
                <a:gd name="T62" fmla="*/ 432 w 496"/>
                <a:gd name="T63" fmla="*/ 474 h 866"/>
                <a:gd name="T64" fmla="*/ 449 w 496"/>
                <a:gd name="T65" fmla="*/ 442 h 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6" h="866">
                  <a:moveTo>
                    <a:pt x="451" y="419"/>
                  </a:moveTo>
                  <a:cubicBezTo>
                    <a:pt x="464" y="415"/>
                    <a:pt x="496" y="420"/>
                    <a:pt x="496" y="420"/>
                  </a:cubicBezTo>
                  <a:cubicBezTo>
                    <a:pt x="492" y="216"/>
                    <a:pt x="492" y="216"/>
                    <a:pt x="492" y="216"/>
                  </a:cubicBezTo>
                  <a:cubicBezTo>
                    <a:pt x="119" y="0"/>
                    <a:pt x="119" y="0"/>
                    <a:pt x="119" y="0"/>
                  </a:cubicBezTo>
                  <a:cubicBezTo>
                    <a:pt x="119" y="0"/>
                    <a:pt x="94" y="15"/>
                    <a:pt x="71" y="28"/>
                  </a:cubicBezTo>
                  <a:cubicBezTo>
                    <a:pt x="83" y="72"/>
                    <a:pt x="83" y="72"/>
                    <a:pt x="83" y="72"/>
                  </a:cubicBezTo>
                  <a:cubicBezTo>
                    <a:pt x="76" y="105"/>
                    <a:pt x="76" y="105"/>
                    <a:pt x="76" y="105"/>
                  </a:cubicBezTo>
                  <a:cubicBezTo>
                    <a:pt x="95" y="129"/>
                    <a:pt x="95" y="129"/>
                    <a:pt x="95" y="129"/>
                  </a:cubicBezTo>
                  <a:cubicBezTo>
                    <a:pt x="100" y="145"/>
                    <a:pt x="100" y="145"/>
                    <a:pt x="100" y="145"/>
                  </a:cubicBezTo>
                  <a:cubicBezTo>
                    <a:pt x="120" y="169"/>
                    <a:pt x="120" y="169"/>
                    <a:pt x="120" y="169"/>
                  </a:cubicBezTo>
                  <a:cubicBezTo>
                    <a:pt x="106" y="194"/>
                    <a:pt x="106" y="194"/>
                    <a:pt x="106" y="194"/>
                  </a:cubicBezTo>
                  <a:cubicBezTo>
                    <a:pt x="96" y="356"/>
                    <a:pt x="96" y="356"/>
                    <a:pt x="96" y="356"/>
                  </a:cubicBezTo>
                  <a:cubicBezTo>
                    <a:pt x="96" y="356"/>
                    <a:pt x="46" y="409"/>
                    <a:pt x="35" y="426"/>
                  </a:cubicBezTo>
                  <a:cubicBezTo>
                    <a:pt x="23" y="442"/>
                    <a:pt x="13" y="479"/>
                    <a:pt x="13" y="479"/>
                  </a:cubicBezTo>
                  <a:cubicBezTo>
                    <a:pt x="0" y="484"/>
                    <a:pt x="0" y="484"/>
                    <a:pt x="0" y="484"/>
                  </a:cubicBezTo>
                  <a:cubicBezTo>
                    <a:pt x="3" y="526"/>
                    <a:pt x="3" y="526"/>
                    <a:pt x="3" y="526"/>
                  </a:cubicBezTo>
                  <a:cubicBezTo>
                    <a:pt x="7" y="526"/>
                    <a:pt x="10" y="526"/>
                    <a:pt x="10" y="526"/>
                  </a:cubicBezTo>
                  <a:cubicBezTo>
                    <a:pt x="29" y="558"/>
                    <a:pt x="29" y="558"/>
                    <a:pt x="29" y="558"/>
                  </a:cubicBezTo>
                  <a:cubicBezTo>
                    <a:pt x="29" y="558"/>
                    <a:pt x="29" y="560"/>
                    <a:pt x="29" y="563"/>
                  </a:cubicBezTo>
                  <a:cubicBezTo>
                    <a:pt x="29" y="562"/>
                    <a:pt x="29" y="561"/>
                    <a:pt x="29" y="561"/>
                  </a:cubicBezTo>
                  <a:cubicBezTo>
                    <a:pt x="45" y="559"/>
                    <a:pt x="45" y="559"/>
                    <a:pt x="45" y="559"/>
                  </a:cubicBezTo>
                  <a:cubicBezTo>
                    <a:pt x="45" y="559"/>
                    <a:pt x="46" y="571"/>
                    <a:pt x="50" y="576"/>
                  </a:cubicBezTo>
                  <a:cubicBezTo>
                    <a:pt x="54" y="581"/>
                    <a:pt x="70" y="584"/>
                    <a:pt x="70" y="584"/>
                  </a:cubicBezTo>
                  <a:cubicBezTo>
                    <a:pt x="66" y="611"/>
                    <a:pt x="66" y="611"/>
                    <a:pt x="66" y="611"/>
                  </a:cubicBezTo>
                  <a:cubicBezTo>
                    <a:pt x="66" y="611"/>
                    <a:pt x="80" y="618"/>
                    <a:pt x="80" y="629"/>
                  </a:cubicBezTo>
                  <a:cubicBezTo>
                    <a:pt x="80" y="640"/>
                    <a:pt x="74" y="650"/>
                    <a:pt x="74" y="650"/>
                  </a:cubicBezTo>
                  <a:cubicBezTo>
                    <a:pt x="74" y="650"/>
                    <a:pt x="75" y="678"/>
                    <a:pt x="80" y="692"/>
                  </a:cubicBezTo>
                  <a:cubicBezTo>
                    <a:pt x="85" y="706"/>
                    <a:pt x="106" y="724"/>
                    <a:pt x="106" y="724"/>
                  </a:cubicBezTo>
                  <a:cubicBezTo>
                    <a:pt x="106" y="724"/>
                    <a:pt x="92" y="725"/>
                    <a:pt x="84" y="726"/>
                  </a:cubicBezTo>
                  <a:cubicBezTo>
                    <a:pt x="76" y="727"/>
                    <a:pt x="36" y="720"/>
                    <a:pt x="31" y="733"/>
                  </a:cubicBezTo>
                  <a:cubicBezTo>
                    <a:pt x="26" y="746"/>
                    <a:pt x="41" y="767"/>
                    <a:pt x="49" y="775"/>
                  </a:cubicBezTo>
                  <a:cubicBezTo>
                    <a:pt x="57" y="783"/>
                    <a:pt x="78" y="792"/>
                    <a:pt x="87" y="802"/>
                  </a:cubicBezTo>
                  <a:cubicBezTo>
                    <a:pt x="96" y="812"/>
                    <a:pt x="101" y="859"/>
                    <a:pt x="101" y="859"/>
                  </a:cubicBezTo>
                  <a:cubicBezTo>
                    <a:pt x="101" y="859"/>
                    <a:pt x="113" y="866"/>
                    <a:pt x="123" y="860"/>
                  </a:cubicBezTo>
                  <a:cubicBezTo>
                    <a:pt x="133" y="853"/>
                    <a:pt x="153" y="838"/>
                    <a:pt x="153" y="838"/>
                  </a:cubicBezTo>
                  <a:cubicBezTo>
                    <a:pt x="153" y="838"/>
                    <a:pt x="146" y="863"/>
                    <a:pt x="165" y="858"/>
                  </a:cubicBezTo>
                  <a:cubicBezTo>
                    <a:pt x="183" y="853"/>
                    <a:pt x="178" y="833"/>
                    <a:pt x="196" y="833"/>
                  </a:cubicBezTo>
                  <a:cubicBezTo>
                    <a:pt x="215" y="833"/>
                    <a:pt x="248" y="833"/>
                    <a:pt x="248" y="833"/>
                  </a:cubicBezTo>
                  <a:cubicBezTo>
                    <a:pt x="248" y="833"/>
                    <a:pt x="263" y="811"/>
                    <a:pt x="268" y="805"/>
                  </a:cubicBezTo>
                  <a:cubicBezTo>
                    <a:pt x="273" y="798"/>
                    <a:pt x="253" y="788"/>
                    <a:pt x="253" y="788"/>
                  </a:cubicBezTo>
                  <a:cubicBezTo>
                    <a:pt x="267" y="780"/>
                    <a:pt x="267" y="780"/>
                    <a:pt x="267" y="780"/>
                  </a:cubicBezTo>
                  <a:cubicBezTo>
                    <a:pt x="267" y="780"/>
                    <a:pt x="307" y="780"/>
                    <a:pt x="338" y="765"/>
                  </a:cubicBezTo>
                  <a:cubicBezTo>
                    <a:pt x="370" y="750"/>
                    <a:pt x="365" y="728"/>
                    <a:pt x="365" y="728"/>
                  </a:cubicBezTo>
                  <a:cubicBezTo>
                    <a:pt x="378" y="723"/>
                    <a:pt x="378" y="723"/>
                    <a:pt x="378" y="723"/>
                  </a:cubicBezTo>
                  <a:cubicBezTo>
                    <a:pt x="390" y="711"/>
                    <a:pt x="390" y="711"/>
                    <a:pt x="390" y="711"/>
                  </a:cubicBezTo>
                  <a:cubicBezTo>
                    <a:pt x="393" y="691"/>
                    <a:pt x="393" y="691"/>
                    <a:pt x="393" y="691"/>
                  </a:cubicBezTo>
                  <a:cubicBezTo>
                    <a:pt x="430" y="673"/>
                    <a:pt x="430" y="673"/>
                    <a:pt x="430" y="673"/>
                  </a:cubicBezTo>
                  <a:cubicBezTo>
                    <a:pt x="446" y="674"/>
                    <a:pt x="446" y="674"/>
                    <a:pt x="446" y="674"/>
                  </a:cubicBezTo>
                  <a:cubicBezTo>
                    <a:pt x="445" y="665"/>
                    <a:pt x="445" y="665"/>
                    <a:pt x="445" y="665"/>
                  </a:cubicBezTo>
                  <a:cubicBezTo>
                    <a:pt x="445" y="665"/>
                    <a:pt x="463" y="669"/>
                    <a:pt x="451" y="656"/>
                  </a:cubicBezTo>
                  <a:cubicBezTo>
                    <a:pt x="439" y="643"/>
                    <a:pt x="430" y="642"/>
                    <a:pt x="430" y="642"/>
                  </a:cubicBezTo>
                  <a:cubicBezTo>
                    <a:pt x="426" y="625"/>
                    <a:pt x="426" y="625"/>
                    <a:pt x="426" y="625"/>
                  </a:cubicBezTo>
                  <a:cubicBezTo>
                    <a:pt x="437" y="620"/>
                    <a:pt x="437" y="620"/>
                    <a:pt x="437" y="620"/>
                  </a:cubicBezTo>
                  <a:cubicBezTo>
                    <a:pt x="428" y="612"/>
                    <a:pt x="428" y="612"/>
                    <a:pt x="428" y="612"/>
                  </a:cubicBezTo>
                  <a:cubicBezTo>
                    <a:pt x="428" y="612"/>
                    <a:pt x="430" y="585"/>
                    <a:pt x="423" y="582"/>
                  </a:cubicBezTo>
                  <a:cubicBezTo>
                    <a:pt x="416" y="579"/>
                    <a:pt x="411" y="589"/>
                    <a:pt x="406" y="587"/>
                  </a:cubicBezTo>
                  <a:cubicBezTo>
                    <a:pt x="401" y="585"/>
                    <a:pt x="395" y="580"/>
                    <a:pt x="398" y="569"/>
                  </a:cubicBezTo>
                  <a:cubicBezTo>
                    <a:pt x="401" y="558"/>
                    <a:pt x="415" y="558"/>
                    <a:pt x="417" y="549"/>
                  </a:cubicBezTo>
                  <a:cubicBezTo>
                    <a:pt x="419" y="540"/>
                    <a:pt x="416" y="536"/>
                    <a:pt x="410" y="526"/>
                  </a:cubicBezTo>
                  <a:cubicBezTo>
                    <a:pt x="404" y="516"/>
                    <a:pt x="419" y="508"/>
                    <a:pt x="419" y="508"/>
                  </a:cubicBezTo>
                  <a:cubicBezTo>
                    <a:pt x="430" y="501"/>
                    <a:pt x="430" y="501"/>
                    <a:pt x="430" y="501"/>
                  </a:cubicBezTo>
                  <a:cubicBezTo>
                    <a:pt x="425" y="490"/>
                    <a:pt x="425" y="490"/>
                    <a:pt x="425" y="490"/>
                  </a:cubicBezTo>
                  <a:cubicBezTo>
                    <a:pt x="422" y="474"/>
                    <a:pt x="422" y="474"/>
                    <a:pt x="422" y="474"/>
                  </a:cubicBezTo>
                  <a:cubicBezTo>
                    <a:pt x="432" y="474"/>
                    <a:pt x="432" y="474"/>
                    <a:pt x="432" y="474"/>
                  </a:cubicBezTo>
                  <a:cubicBezTo>
                    <a:pt x="432" y="474"/>
                    <a:pt x="430" y="462"/>
                    <a:pt x="436" y="456"/>
                  </a:cubicBezTo>
                  <a:cubicBezTo>
                    <a:pt x="442" y="450"/>
                    <a:pt x="451" y="450"/>
                    <a:pt x="449" y="442"/>
                  </a:cubicBezTo>
                  <a:cubicBezTo>
                    <a:pt x="447" y="434"/>
                    <a:pt x="438" y="423"/>
                    <a:pt x="451" y="419"/>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56" name="Freeform 117"/>
            <p:cNvSpPr>
              <a:spLocks/>
            </p:cNvSpPr>
            <p:nvPr/>
          </p:nvSpPr>
          <p:spPr bwMode="gray">
            <a:xfrm>
              <a:off x="3919538" y="3222625"/>
              <a:ext cx="436562" cy="447675"/>
            </a:xfrm>
            <a:custGeom>
              <a:avLst/>
              <a:gdLst>
                <a:gd name="T0" fmla="*/ 424 w 778"/>
                <a:gd name="T1" fmla="*/ 631 h 800"/>
                <a:gd name="T2" fmla="*/ 437 w 778"/>
                <a:gd name="T3" fmla="*/ 607 h 800"/>
                <a:gd name="T4" fmla="*/ 481 w 778"/>
                <a:gd name="T5" fmla="*/ 585 h 800"/>
                <a:gd name="T6" fmla="*/ 502 w 778"/>
                <a:gd name="T7" fmla="*/ 563 h 800"/>
                <a:gd name="T8" fmla="*/ 527 w 778"/>
                <a:gd name="T9" fmla="*/ 547 h 800"/>
                <a:gd name="T10" fmla="*/ 572 w 778"/>
                <a:gd name="T11" fmla="*/ 537 h 800"/>
                <a:gd name="T12" fmla="*/ 620 w 778"/>
                <a:gd name="T13" fmla="*/ 537 h 800"/>
                <a:gd name="T14" fmla="*/ 680 w 778"/>
                <a:gd name="T15" fmla="*/ 526 h 800"/>
                <a:gd name="T16" fmla="*/ 712 w 778"/>
                <a:gd name="T17" fmla="*/ 519 h 800"/>
                <a:gd name="T18" fmla="*/ 748 w 778"/>
                <a:gd name="T19" fmla="*/ 509 h 800"/>
                <a:gd name="T20" fmla="*/ 778 w 778"/>
                <a:gd name="T21" fmla="*/ 454 h 800"/>
                <a:gd name="T22" fmla="*/ 766 w 778"/>
                <a:gd name="T23" fmla="*/ 320 h 800"/>
                <a:gd name="T24" fmla="*/ 738 w 778"/>
                <a:gd name="T25" fmla="*/ 300 h 800"/>
                <a:gd name="T26" fmla="*/ 694 w 778"/>
                <a:gd name="T27" fmla="*/ 270 h 800"/>
                <a:gd name="T28" fmla="*/ 666 w 778"/>
                <a:gd name="T29" fmla="*/ 251 h 800"/>
                <a:gd name="T30" fmla="*/ 637 w 778"/>
                <a:gd name="T31" fmla="*/ 229 h 800"/>
                <a:gd name="T32" fmla="*/ 364 w 778"/>
                <a:gd name="T33" fmla="*/ 3 h 800"/>
                <a:gd name="T34" fmla="*/ 314 w 778"/>
                <a:gd name="T35" fmla="*/ 459 h 800"/>
                <a:gd name="T36" fmla="*/ 323 w 778"/>
                <a:gd name="T37" fmla="*/ 483 h 800"/>
                <a:gd name="T38" fmla="*/ 141 w 778"/>
                <a:gd name="T39" fmla="*/ 513 h 800"/>
                <a:gd name="T40" fmla="*/ 127 w 778"/>
                <a:gd name="T41" fmla="*/ 517 h 800"/>
                <a:gd name="T42" fmla="*/ 96 w 778"/>
                <a:gd name="T43" fmla="*/ 515 h 800"/>
                <a:gd name="T44" fmla="*/ 64 w 778"/>
                <a:gd name="T45" fmla="*/ 532 h 800"/>
                <a:gd name="T46" fmla="*/ 24 w 778"/>
                <a:gd name="T47" fmla="*/ 535 h 800"/>
                <a:gd name="T48" fmla="*/ 0 w 778"/>
                <a:gd name="T49" fmla="*/ 550 h 800"/>
                <a:gd name="T50" fmla="*/ 9 w 778"/>
                <a:gd name="T51" fmla="*/ 578 h 800"/>
                <a:gd name="T52" fmla="*/ 14 w 778"/>
                <a:gd name="T53" fmla="*/ 623 h 800"/>
                <a:gd name="T54" fmla="*/ 37 w 778"/>
                <a:gd name="T55" fmla="*/ 644 h 800"/>
                <a:gd name="T56" fmla="*/ 44 w 778"/>
                <a:gd name="T57" fmla="*/ 703 h 800"/>
                <a:gd name="T58" fmla="*/ 73 w 778"/>
                <a:gd name="T59" fmla="*/ 706 h 800"/>
                <a:gd name="T60" fmla="*/ 119 w 778"/>
                <a:gd name="T61" fmla="*/ 698 h 800"/>
                <a:gd name="T62" fmla="*/ 145 w 778"/>
                <a:gd name="T63" fmla="*/ 673 h 800"/>
                <a:gd name="T64" fmla="*/ 163 w 778"/>
                <a:gd name="T65" fmla="*/ 697 h 800"/>
                <a:gd name="T66" fmla="*/ 180 w 778"/>
                <a:gd name="T67" fmla="*/ 730 h 800"/>
                <a:gd name="T68" fmla="*/ 182 w 778"/>
                <a:gd name="T69" fmla="*/ 752 h 800"/>
                <a:gd name="T70" fmla="*/ 201 w 778"/>
                <a:gd name="T71" fmla="*/ 796 h 800"/>
                <a:gd name="T72" fmla="*/ 220 w 778"/>
                <a:gd name="T73" fmla="*/ 784 h 800"/>
                <a:gd name="T74" fmla="*/ 250 w 778"/>
                <a:gd name="T75" fmla="*/ 788 h 800"/>
                <a:gd name="T76" fmla="*/ 264 w 778"/>
                <a:gd name="T77" fmla="*/ 770 h 800"/>
                <a:gd name="T78" fmla="*/ 281 w 778"/>
                <a:gd name="T79" fmla="*/ 769 h 800"/>
                <a:gd name="T80" fmla="*/ 296 w 778"/>
                <a:gd name="T81" fmla="*/ 795 h 800"/>
                <a:gd name="T82" fmla="*/ 312 w 778"/>
                <a:gd name="T83" fmla="*/ 744 h 800"/>
                <a:gd name="T84" fmla="*/ 335 w 778"/>
                <a:gd name="T85" fmla="*/ 729 h 800"/>
                <a:gd name="T86" fmla="*/ 333 w 778"/>
                <a:gd name="T87" fmla="*/ 700 h 800"/>
                <a:gd name="T88" fmla="*/ 359 w 778"/>
                <a:gd name="T89" fmla="*/ 685 h 800"/>
                <a:gd name="T90" fmla="*/ 367 w 778"/>
                <a:gd name="T91" fmla="*/ 659 h 800"/>
                <a:gd name="T92" fmla="*/ 375 w 778"/>
                <a:gd name="T93" fmla="*/ 637 h 800"/>
                <a:gd name="T94" fmla="*/ 409 w 778"/>
                <a:gd name="T95" fmla="*/ 636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78" h="800">
                  <a:moveTo>
                    <a:pt x="409" y="636"/>
                  </a:moveTo>
                  <a:cubicBezTo>
                    <a:pt x="424" y="631"/>
                    <a:pt x="424" y="631"/>
                    <a:pt x="424" y="631"/>
                  </a:cubicBezTo>
                  <a:cubicBezTo>
                    <a:pt x="424" y="607"/>
                    <a:pt x="424" y="607"/>
                    <a:pt x="424" y="607"/>
                  </a:cubicBezTo>
                  <a:cubicBezTo>
                    <a:pt x="437" y="607"/>
                    <a:pt x="437" y="607"/>
                    <a:pt x="437" y="607"/>
                  </a:cubicBezTo>
                  <a:cubicBezTo>
                    <a:pt x="437" y="607"/>
                    <a:pt x="454" y="578"/>
                    <a:pt x="460" y="576"/>
                  </a:cubicBezTo>
                  <a:cubicBezTo>
                    <a:pt x="466" y="574"/>
                    <a:pt x="478" y="586"/>
                    <a:pt x="481" y="585"/>
                  </a:cubicBezTo>
                  <a:cubicBezTo>
                    <a:pt x="484" y="584"/>
                    <a:pt x="485" y="563"/>
                    <a:pt x="485" y="563"/>
                  </a:cubicBezTo>
                  <a:cubicBezTo>
                    <a:pt x="502" y="563"/>
                    <a:pt x="502" y="563"/>
                    <a:pt x="502" y="563"/>
                  </a:cubicBezTo>
                  <a:cubicBezTo>
                    <a:pt x="513" y="549"/>
                    <a:pt x="513" y="549"/>
                    <a:pt x="513" y="549"/>
                  </a:cubicBezTo>
                  <a:cubicBezTo>
                    <a:pt x="513" y="549"/>
                    <a:pt x="517" y="551"/>
                    <a:pt x="527" y="547"/>
                  </a:cubicBezTo>
                  <a:cubicBezTo>
                    <a:pt x="537" y="543"/>
                    <a:pt x="539" y="535"/>
                    <a:pt x="539" y="535"/>
                  </a:cubicBezTo>
                  <a:cubicBezTo>
                    <a:pt x="572" y="537"/>
                    <a:pt x="572" y="537"/>
                    <a:pt x="572" y="537"/>
                  </a:cubicBezTo>
                  <a:cubicBezTo>
                    <a:pt x="588" y="544"/>
                    <a:pt x="588" y="544"/>
                    <a:pt x="588" y="544"/>
                  </a:cubicBezTo>
                  <a:cubicBezTo>
                    <a:pt x="620" y="537"/>
                    <a:pt x="620" y="537"/>
                    <a:pt x="620" y="537"/>
                  </a:cubicBezTo>
                  <a:cubicBezTo>
                    <a:pt x="638" y="525"/>
                    <a:pt x="638" y="525"/>
                    <a:pt x="638" y="525"/>
                  </a:cubicBezTo>
                  <a:cubicBezTo>
                    <a:pt x="680" y="526"/>
                    <a:pt x="680" y="526"/>
                    <a:pt x="680" y="526"/>
                  </a:cubicBezTo>
                  <a:cubicBezTo>
                    <a:pt x="681" y="517"/>
                    <a:pt x="681" y="517"/>
                    <a:pt x="681" y="517"/>
                  </a:cubicBezTo>
                  <a:cubicBezTo>
                    <a:pt x="712" y="519"/>
                    <a:pt x="712" y="519"/>
                    <a:pt x="712" y="519"/>
                  </a:cubicBezTo>
                  <a:cubicBezTo>
                    <a:pt x="719" y="514"/>
                    <a:pt x="719" y="514"/>
                    <a:pt x="719" y="514"/>
                  </a:cubicBezTo>
                  <a:cubicBezTo>
                    <a:pt x="719" y="514"/>
                    <a:pt x="726" y="520"/>
                    <a:pt x="748" y="509"/>
                  </a:cubicBezTo>
                  <a:cubicBezTo>
                    <a:pt x="763" y="502"/>
                    <a:pt x="763" y="469"/>
                    <a:pt x="763" y="469"/>
                  </a:cubicBezTo>
                  <a:cubicBezTo>
                    <a:pt x="778" y="454"/>
                    <a:pt x="778" y="454"/>
                    <a:pt x="778" y="454"/>
                  </a:cubicBezTo>
                  <a:cubicBezTo>
                    <a:pt x="778" y="317"/>
                    <a:pt x="778" y="317"/>
                    <a:pt x="778" y="317"/>
                  </a:cubicBezTo>
                  <a:cubicBezTo>
                    <a:pt x="771" y="319"/>
                    <a:pt x="766" y="320"/>
                    <a:pt x="766" y="320"/>
                  </a:cubicBezTo>
                  <a:cubicBezTo>
                    <a:pt x="766" y="320"/>
                    <a:pt x="744" y="328"/>
                    <a:pt x="729" y="321"/>
                  </a:cubicBezTo>
                  <a:cubicBezTo>
                    <a:pt x="714" y="314"/>
                    <a:pt x="738" y="300"/>
                    <a:pt x="738" y="300"/>
                  </a:cubicBezTo>
                  <a:cubicBezTo>
                    <a:pt x="738" y="300"/>
                    <a:pt x="737" y="280"/>
                    <a:pt x="727" y="272"/>
                  </a:cubicBezTo>
                  <a:cubicBezTo>
                    <a:pt x="717" y="264"/>
                    <a:pt x="694" y="270"/>
                    <a:pt x="694" y="270"/>
                  </a:cubicBezTo>
                  <a:cubicBezTo>
                    <a:pt x="689" y="252"/>
                    <a:pt x="689" y="252"/>
                    <a:pt x="689" y="252"/>
                  </a:cubicBezTo>
                  <a:cubicBezTo>
                    <a:pt x="689" y="252"/>
                    <a:pt x="676" y="254"/>
                    <a:pt x="666" y="251"/>
                  </a:cubicBezTo>
                  <a:cubicBezTo>
                    <a:pt x="656" y="248"/>
                    <a:pt x="658" y="241"/>
                    <a:pt x="656" y="233"/>
                  </a:cubicBezTo>
                  <a:cubicBezTo>
                    <a:pt x="654" y="225"/>
                    <a:pt x="637" y="229"/>
                    <a:pt x="637" y="229"/>
                  </a:cubicBezTo>
                  <a:cubicBezTo>
                    <a:pt x="638" y="212"/>
                    <a:pt x="638" y="212"/>
                    <a:pt x="638" y="212"/>
                  </a:cubicBezTo>
                  <a:cubicBezTo>
                    <a:pt x="364" y="3"/>
                    <a:pt x="364" y="3"/>
                    <a:pt x="364" y="3"/>
                  </a:cubicBezTo>
                  <a:cubicBezTo>
                    <a:pt x="283" y="0"/>
                    <a:pt x="283" y="0"/>
                    <a:pt x="283" y="0"/>
                  </a:cubicBezTo>
                  <a:cubicBezTo>
                    <a:pt x="314" y="459"/>
                    <a:pt x="314" y="459"/>
                    <a:pt x="314" y="459"/>
                  </a:cubicBezTo>
                  <a:cubicBezTo>
                    <a:pt x="314" y="459"/>
                    <a:pt x="327" y="465"/>
                    <a:pt x="328" y="472"/>
                  </a:cubicBezTo>
                  <a:cubicBezTo>
                    <a:pt x="329" y="479"/>
                    <a:pt x="323" y="483"/>
                    <a:pt x="323" y="483"/>
                  </a:cubicBezTo>
                  <a:cubicBezTo>
                    <a:pt x="318" y="510"/>
                    <a:pt x="318" y="510"/>
                    <a:pt x="318" y="510"/>
                  </a:cubicBezTo>
                  <a:cubicBezTo>
                    <a:pt x="141" y="513"/>
                    <a:pt x="141" y="513"/>
                    <a:pt x="141" y="513"/>
                  </a:cubicBezTo>
                  <a:cubicBezTo>
                    <a:pt x="141" y="513"/>
                    <a:pt x="141" y="502"/>
                    <a:pt x="137" y="503"/>
                  </a:cubicBezTo>
                  <a:cubicBezTo>
                    <a:pt x="133" y="504"/>
                    <a:pt x="135" y="516"/>
                    <a:pt x="127" y="517"/>
                  </a:cubicBezTo>
                  <a:cubicBezTo>
                    <a:pt x="119" y="518"/>
                    <a:pt x="102" y="521"/>
                    <a:pt x="102" y="521"/>
                  </a:cubicBezTo>
                  <a:cubicBezTo>
                    <a:pt x="96" y="515"/>
                    <a:pt x="96" y="515"/>
                    <a:pt x="96" y="515"/>
                  </a:cubicBezTo>
                  <a:cubicBezTo>
                    <a:pt x="74" y="515"/>
                    <a:pt x="74" y="515"/>
                    <a:pt x="74" y="515"/>
                  </a:cubicBezTo>
                  <a:cubicBezTo>
                    <a:pt x="64" y="532"/>
                    <a:pt x="64" y="532"/>
                    <a:pt x="64" y="532"/>
                  </a:cubicBezTo>
                  <a:cubicBezTo>
                    <a:pt x="64" y="532"/>
                    <a:pt x="52" y="507"/>
                    <a:pt x="39" y="507"/>
                  </a:cubicBezTo>
                  <a:cubicBezTo>
                    <a:pt x="26" y="507"/>
                    <a:pt x="24" y="516"/>
                    <a:pt x="24" y="535"/>
                  </a:cubicBezTo>
                  <a:cubicBezTo>
                    <a:pt x="25" y="536"/>
                    <a:pt x="28" y="546"/>
                    <a:pt x="20" y="549"/>
                  </a:cubicBezTo>
                  <a:cubicBezTo>
                    <a:pt x="12" y="552"/>
                    <a:pt x="0" y="550"/>
                    <a:pt x="0" y="550"/>
                  </a:cubicBezTo>
                  <a:cubicBezTo>
                    <a:pt x="1" y="568"/>
                    <a:pt x="1" y="568"/>
                    <a:pt x="1" y="568"/>
                  </a:cubicBezTo>
                  <a:cubicBezTo>
                    <a:pt x="9" y="578"/>
                    <a:pt x="9" y="578"/>
                    <a:pt x="9" y="578"/>
                  </a:cubicBezTo>
                  <a:cubicBezTo>
                    <a:pt x="9" y="578"/>
                    <a:pt x="21" y="600"/>
                    <a:pt x="16" y="604"/>
                  </a:cubicBezTo>
                  <a:cubicBezTo>
                    <a:pt x="11" y="608"/>
                    <a:pt x="7" y="612"/>
                    <a:pt x="14" y="623"/>
                  </a:cubicBezTo>
                  <a:cubicBezTo>
                    <a:pt x="21" y="634"/>
                    <a:pt x="25" y="622"/>
                    <a:pt x="30" y="625"/>
                  </a:cubicBezTo>
                  <a:cubicBezTo>
                    <a:pt x="35" y="628"/>
                    <a:pt x="37" y="644"/>
                    <a:pt x="37" y="644"/>
                  </a:cubicBezTo>
                  <a:cubicBezTo>
                    <a:pt x="36" y="678"/>
                    <a:pt x="36" y="678"/>
                    <a:pt x="36" y="678"/>
                  </a:cubicBezTo>
                  <a:cubicBezTo>
                    <a:pt x="36" y="678"/>
                    <a:pt x="40" y="705"/>
                    <a:pt x="44" y="703"/>
                  </a:cubicBezTo>
                  <a:cubicBezTo>
                    <a:pt x="48" y="701"/>
                    <a:pt x="52" y="685"/>
                    <a:pt x="61" y="685"/>
                  </a:cubicBezTo>
                  <a:cubicBezTo>
                    <a:pt x="70" y="685"/>
                    <a:pt x="73" y="706"/>
                    <a:pt x="73" y="706"/>
                  </a:cubicBezTo>
                  <a:cubicBezTo>
                    <a:pt x="73" y="706"/>
                    <a:pt x="87" y="683"/>
                    <a:pt x="92" y="685"/>
                  </a:cubicBezTo>
                  <a:cubicBezTo>
                    <a:pt x="97" y="687"/>
                    <a:pt x="119" y="698"/>
                    <a:pt x="119" y="698"/>
                  </a:cubicBezTo>
                  <a:cubicBezTo>
                    <a:pt x="131" y="689"/>
                    <a:pt x="131" y="689"/>
                    <a:pt x="131" y="689"/>
                  </a:cubicBezTo>
                  <a:cubicBezTo>
                    <a:pt x="131" y="689"/>
                    <a:pt x="129" y="665"/>
                    <a:pt x="145" y="673"/>
                  </a:cubicBezTo>
                  <a:cubicBezTo>
                    <a:pt x="161" y="681"/>
                    <a:pt x="154" y="688"/>
                    <a:pt x="154" y="688"/>
                  </a:cubicBezTo>
                  <a:cubicBezTo>
                    <a:pt x="163" y="697"/>
                    <a:pt x="163" y="697"/>
                    <a:pt x="163" y="697"/>
                  </a:cubicBezTo>
                  <a:cubicBezTo>
                    <a:pt x="157" y="714"/>
                    <a:pt x="157" y="714"/>
                    <a:pt x="157" y="714"/>
                  </a:cubicBezTo>
                  <a:cubicBezTo>
                    <a:pt x="180" y="730"/>
                    <a:pt x="180" y="730"/>
                    <a:pt x="180" y="730"/>
                  </a:cubicBezTo>
                  <a:cubicBezTo>
                    <a:pt x="163" y="753"/>
                    <a:pt x="163" y="753"/>
                    <a:pt x="163" y="753"/>
                  </a:cubicBezTo>
                  <a:cubicBezTo>
                    <a:pt x="182" y="752"/>
                    <a:pt x="182" y="752"/>
                    <a:pt x="182" y="752"/>
                  </a:cubicBezTo>
                  <a:cubicBezTo>
                    <a:pt x="182" y="777"/>
                    <a:pt x="182" y="777"/>
                    <a:pt x="182" y="777"/>
                  </a:cubicBezTo>
                  <a:cubicBezTo>
                    <a:pt x="201" y="796"/>
                    <a:pt x="201" y="796"/>
                    <a:pt x="201" y="796"/>
                  </a:cubicBezTo>
                  <a:cubicBezTo>
                    <a:pt x="207" y="799"/>
                    <a:pt x="207" y="799"/>
                    <a:pt x="207" y="799"/>
                  </a:cubicBezTo>
                  <a:cubicBezTo>
                    <a:pt x="207" y="799"/>
                    <a:pt x="204" y="782"/>
                    <a:pt x="220" y="784"/>
                  </a:cubicBezTo>
                  <a:cubicBezTo>
                    <a:pt x="236" y="786"/>
                    <a:pt x="246" y="800"/>
                    <a:pt x="246" y="800"/>
                  </a:cubicBezTo>
                  <a:cubicBezTo>
                    <a:pt x="250" y="788"/>
                    <a:pt x="250" y="788"/>
                    <a:pt x="250" y="788"/>
                  </a:cubicBezTo>
                  <a:cubicBezTo>
                    <a:pt x="260" y="788"/>
                    <a:pt x="260" y="788"/>
                    <a:pt x="260" y="788"/>
                  </a:cubicBezTo>
                  <a:cubicBezTo>
                    <a:pt x="264" y="770"/>
                    <a:pt x="264" y="770"/>
                    <a:pt x="264" y="770"/>
                  </a:cubicBezTo>
                  <a:cubicBezTo>
                    <a:pt x="273" y="782"/>
                    <a:pt x="273" y="782"/>
                    <a:pt x="273" y="782"/>
                  </a:cubicBezTo>
                  <a:cubicBezTo>
                    <a:pt x="281" y="769"/>
                    <a:pt x="281" y="769"/>
                    <a:pt x="281" y="769"/>
                  </a:cubicBezTo>
                  <a:cubicBezTo>
                    <a:pt x="281" y="793"/>
                    <a:pt x="281" y="793"/>
                    <a:pt x="281" y="793"/>
                  </a:cubicBezTo>
                  <a:cubicBezTo>
                    <a:pt x="296" y="795"/>
                    <a:pt x="296" y="795"/>
                    <a:pt x="296" y="795"/>
                  </a:cubicBezTo>
                  <a:cubicBezTo>
                    <a:pt x="296" y="795"/>
                    <a:pt x="300" y="781"/>
                    <a:pt x="315" y="781"/>
                  </a:cubicBezTo>
                  <a:cubicBezTo>
                    <a:pt x="312" y="744"/>
                    <a:pt x="312" y="744"/>
                    <a:pt x="312" y="744"/>
                  </a:cubicBezTo>
                  <a:cubicBezTo>
                    <a:pt x="327" y="744"/>
                    <a:pt x="327" y="744"/>
                    <a:pt x="327" y="744"/>
                  </a:cubicBezTo>
                  <a:cubicBezTo>
                    <a:pt x="335" y="729"/>
                    <a:pt x="335" y="729"/>
                    <a:pt x="335" y="729"/>
                  </a:cubicBezTo>
                  <a:cubicBezTo>
                    <a:pt x="320" y="708"/>
                    <a:pt x="320" y="708"/>
                    <a:pt x="320" y="708"/>
                  </a:cubicBezTo>
                  <a:cubicBezTo>
                    <a:pt x="333" y="700"/>
                    <a:pt x="333" y="700"/>
                    <a:pt x="333" y="700"/>
                  </a:cubicBezTo>
                  <a:cubicBezTo>
                    <a:pt x="333" y="700"/>
                    <a:pt x="348" y="697"/>
                    <a:pt x="360" y="696"/>
                  </a:cubicBezTo>
                  <a:cubicBezTo>
                    <a:pt x="372" y="695"/>
                    <a:pt x="359" y="685"/>
                    <a:pt x="359" y="685"/>
                  </a:cubicBezTo>
                  <a:cubicBezTo>
                    <a:pt x="359" y="685"/>
                    <a:pt x="366" y="684"/>
                    <a:pt x="369" y="680"/>
                  </a:cubicBezTo>
                  <a:cubicBezTo>
                    <a:pt x="372" y="676"/>
                    <a:pt x="367" y="659"/>
                    <a:pt x="367" y="659"/>
                  </a:cubicBezTo>
                  <a:cubicBezTo>
                    <a:pt x="367" y="659"/>
                    <a:pt x="379" y="661"/>
                    <a:pt x="381" y="656"/>
                  </a:cubicBezTo>
                  <a:cubicBezTo>
                    <a:pt x="383" y="651"/>
                    <a:pt x="375" y="637"/>
                    <a:pt x="375" y="637"/>
                  </a:cubicBezTo>
                  <a:cubicBezTo>
                    <a:pt x="388" y="617"/>
                    <a:pt x="388" y="617"/>
                    <a:pt x="388" y="617"/>
                  </a:cubicBezTo>
                  <a:lnTo>
                    <a:pt x="409" y="636"/>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57" name="Freeform 118"/>
            <p:cNvSpPr>
              <a:spLocks/>
            </p:cNvSpPr>
            <p:nvPr/>
          </p:nvSpPr>
          <p:spPr bwMode="gray">
            <a:xfrm>
              <a:off x="3786188" y="3471863"/>
              <a:ext cx="153987" cy="138113"/>
            </a:xfrm>
            <a:custGeom>
              <a:avLst/>
              <a:gdLst>
                <a:gd name="T0" fmla="*/ 269 w 276"/>
                <a:gd name="T1" fmla="*/ 181 h 246"/>
                <a:gd name="T2" fmla="*/ 253 w 276"/>
                <a:gd name="T3" fmla="*/ 179 h 246"/>
                <a:gd name="T4" fmla="*/ 255 w 276"/>
                <a:gd name="T5" fmla="*/ 160 h 246"/>
                <a:gd name="T6" fmla="*/ 248 w 276"/>
                <a:gd name="T7" fmla="*/ 134 h 246"/>
                <a:gd name="T8" fmla="*/ 240 w 276"/>
                <a:gd name="T9" fmla="*/ 124 h 246"/>
                <a:gd name="T10" fmla="*/ 239 w 276"/>
                <a:gd name="T11" fmla="*/ 106 h 246"/>
                <a:gd name="T12" fmla="*/ 230 w 276"/>
                <a:gd name="T13" fmla="*/ 92 h 246"/>
                <a:gd name="T14" fmla="*/ 213 w 276"/>
                <a:gd name="T15" fmla="*/ 86 h 246"/>
                <a:gd name="T16" fmla="*/ 210 w 276"/>
                <a:gd name="T17" fmla="*/ 70 h 246"/>
                <a:gd name="T18" fmla="*/ 196 w 276"/>
                <a:gd name="T19" fmla="*/ 68 h 246"/>
                <a:gd name="T20" fmla="*/ 188 w 276"/>
                <a:gd name="T21" fmla="*/ 31 h 246"/>
                <a:gd name="T22" fmla="*/ 167 w 276"/>
                <a:gd name="T23" fmla="*/ 34 h 246"/>
                <a:gd name="T24" fmla="*/ 146 w 276"/>
                <a:gd name="T25" fmla="*/ 10 h 246"/>
                <a:gd name="T26" fmla="*/ 122 w 276"/>
                <a:gd name="T27" fmla="*/ 7 h 246"/>
                <a:gd name="T28" fmla="*/ 109 w 276"/>
                <a:gd name="T29" fmla="*/ 0 h 246"/>
                <a:gd name="T30" fmla="*/ 109 w 276"/>
                <a:gd name="T31" fmla="*/ 10 h 246"/>
                <a:gd name="T32" fmla="*/ 86 w 276"/>
                <a:gd name="T33" fmla="*/ 9 h 246"/>
                <a:gd name="T34" fmla="*/ 78 w 276"/>
                <a:gd name="T35" fmla="*/ 13 h 246"/>
                <a:gd name="T36" fmla="*/ 59 w 276"/>
                <a:gd name="T37" fmla="*/ 11 h 246"/>
                <a:gd name="T38" fmla="*/ 41 w 276"/>
                <a:gd name="T39" fmla="*/ 43 h 246"/>
                <a:gd name="T40" fmla="*/ 40 w 276"/>
                <a:gd name="T41" fmla="*/ 57 h 246"/>
                <a:gd name="T42" fmla="*/ 22 w 276"/>
                <a:gd name="T43" fmla="*/ 80 h 246"/>
                <a:gd name="T44" fmla="*/ 0 w 276"/>
                <a:gd name="T45" fmla="*/ 106 h 246"/>
                <a:gd name="T46" fmla="*/ 2 w 276"/>
                <a:gd name="T47" fmla="*/ 113 h 246"/>
                <a:gd name="T48" fmla="*/ 8 w 276"/>
                <a:gd name="T49" fmla="*/ 112 h 246"/>
                <a:gd name="T50" fmla="*/ 17 w 276"/>
                <a:gd name="T51" fmla="*/ 128 h 246"/>
                <a:gd name="T52" fmla="*/ 20 w 276"/>
                <a:gd name="T53" fmla="*/ 141 h 246"/>
                <a:gd name="T54" fmla="*/ 29 w 276"/>
                <a:gd name="T55" fmla="*/ 149 h 246"/>
                <a:gd name="T56" fmla="*/ 28 w 276"/>
                <a:gd name="T57" fmla="*/ 157 h 246"/>
                <a:gd name="T58" fmla="*/ 34 w 276"/>
                <a:gd name="T59" fmla="*/ 169 h 246"/>
                <a:gd name="T60" fmla="*/ 84 w 276"/>
                <a:gd name="T61" fmla="*/ 169 h 246"/>
                <a:gd name="T62" fmla="*/ 84 w 276"/>
                <a:gd name="T63" fmla="*/ 159 h 246"/>
                <a:gd name="T64" fmla="*/ 109 w 276"/>
                <a:gd name="T65" fmla="*/ 158 h 246"/>
                <a:gd name="T66" fmla="*/ 120 w 276"/>
                <a:gd name="T67" fmla="*/ 166 h 246"/>
                <a:gd name="T68" fmla="*/ 128 w 276"/>
                <a:gd name="T69" fmla="*/ 164 h 246"/>
                <a:gd name="T70" fmla="*/ 141 w 276"/>
                <a:gd name="T71" fmla="*/ 176 h 246"/>
                <a:gd name="T72" fmla="*/ 162 w 276"/>
                <a:gd name="T73" fmla="*/ 171 h 246"/>
                <a:gd name="T74" fmla="*/ 143 w 276"/>
                <a:gd name="T75" fmla="*/ 190 h 246"/>
                <a:gd name="T76" fmla="*/ 109 w 276"/>
                <a:gd name="T77" fmla="*/ 171 h 246"/>
                <a:gd name="T78" fmla="*/ 97 w 276"/>
                <a:gd name="T79" fmla="*/ 183 h 246"/>
                <a:gd name="T80" fmla="*/ 72 w 276"/>
                <a:gd name="T81" fmla="*/ 186 h 246"/>
                <a:gd name="T82" fmla="*/ 68 w 276"/>
                <a:gd name="T83" fmla="*/ 195 h 246"/>
                <a:gd name="T84" fmla="*/ 25 w 276"/>
                <a:gd name="T85" fmla="*/ 195 h 246"/>
                <a:gd name="T86" fmla="*/ 24 w 276"/>
                <a:gd name="T87" fmla="*/ 212 h 246"/>
                <a:gd name="T88" fmla="*/ 18 w 276"/>
                <a:gd name="T89" fmla="*/ 215 h 246"/>
                <a:gd name="T90" fmla="*/ 31 w 276"/>
                <a:gd name="T91" fmla="*/ 241 h 246"/>
                <a:gd name="T92" fmla="*/ 50 w 276"/>
                <a:gd name="T93" fmla="*/ 241 h 246"/>
                <a:gd name="T94" fmla="*/ 58 w 276"/>
                <a:gd name="T95" fmla="*/ 231 h 246"/>
                <a:gd name="T96" fmla="*/ 85 w 276"/>
                <a:gd name="T97" fmla="*/ 231 h 246"/>
                <a:gd name="T98" fmla="*/ 102 w 276"/>
                <a:gd name="T99" fmla="*/ 216 h 246"/>
                <a:gd name="T100" fmla="*/ 196 w 276"/>
                <a:gd name="T101" fmla="*/ 219 h 246"/>
                <a:gd name="T102" fmla="*/ 204 w 276"/>
                <a:gd name="T103" fmla="*/ 232 h 246"/>
                <a:gd name="T104" fmla="*/ 215 w 276"/>
                <a:gd name="T105" fmla="*/ 226 h 246"/>
                <a:gd name="T106" fmla="*/ 231 w 276"/>
                <a:gd name="T107" fmla="*/ 242 h 246"/>
                <a:gd name="T108" fmla="*/ 247 w 276"/>
                <a:gd name="T109" fmla="*/ 235 h 246"/>
                <a:gd name="T110" fmla="*/ 275 w 276"/>
                <a:gd name="T111" fmla="*/ 234 h 246"/>
                <a:gd name="T112" fmla="*/ 276 w 276"/>
                <a:gd name="T113" fmla="*/ 200 h 246"/>
                <a:gd name="T114" fmla="*/ 269 w 276"/>
                <a:gd name="T115" fmla="*/ 181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6" h="246">
                  <a:moveTo>
                    <a:pt x="269" y="181"/>
                  </a:moveTo>
                  <a:cubicBezTo>
                    <a:pt x="264" y="178"/>
                    <a:pt x="260" y="190"/>
                    <a:pt x="253" y="179"/>
                  </a:cubicBezTo>
                  <a:cubicBezTo>
                    <a:pt x="246" y="168"/>
                    <a:pt x="250" y="164"/>
                    <a:pt x="255" y="160"/>
                  </a:cubicBezTo>
                  <a:cubicBezTo>
                    <a:pt x="260" y="156"/>
                    <a:pt x="248" y="134"/>
                    <a:pt x="248" y="134"/>
                  </a:cubicBezTo>
                  <a:cubicBezTo>
                    <a:pt x="240" y="124"/>
                    <a:pt x="240" y="124"/>
                    <a:pt x="240" y="124"/>
                  </a:cubicBezTo>
                  <a:cubicBezTo>
                    <a:pt x="239" y="106"/>
                    <a:pt x="239" y="106"/>
                    <a:pt x="239" y="106"/>
                  </a:cubicBezTo>
                  <a:cubicBezTo>
                    <a:pt x="230" y="92"/>
                    <a:pt x="230" y="92"/>
                    <a:pt x="230" y="92"/>
                  </a:cubicBezTo>
                  <a:cubicBezTo>
                    <a:pt x="213" y="86"/>
                    <a:pt x="213" y="86"/>
                    <a:pt x="213" y="86"/>
                  </a:cubicBezTo>
                  <a:cubicBezTo>
                    <a:pt x="213" y="86"/>
                    <a:pt x="213" y="71"/>
                    <a:pt x="210" y="70"/>
                  </a:cubicBezTo>
                  <a:cubicBezTo>
                    <a:pt x="207" y="69"/>
                    <a:pt x="196" y="68"/>
                    <a:pt x="196" y="68"/>
                  </a:cubicBezTo>
                  <a:cubicBezTo>
                    <a:pt x="196" y="68"/>
                    <a:pt x="195" y="32"/>
                    <a:pt x="188" y="31"/>
                  </a:cubicBezTo>
                  <a:cubicBezTo>
                    <a:pt x="181" y="30"/>
                    <a:pt x="167" y="34"/>
                    <a:pt x="167" y="34"/>
                  </a:cubicBezTo>
                  <a:cubicBezTo>
                    <a:pt x="167" y="34"/>
                    <a:pt x="156" y="12"/>
                    <a:pt x="146" y="10"/>
                  </a:cubicBezTo>
                  <a:cubicBezTo>
                    <a:pt x="136" y="8"/>
                    <a:pt x="122" y="7"/>
                    <a:pt x="122" y="7"/>
                  </a:cubicBezTo>
                  <a:cubicBezTo>
                    <a:pt x="109" y="0"/>
                    <a:pt x="109" y="0"/>
                    <a:pt x="109" y="0"/>
                  </a:cubicBezTo>
                  <a:cubicBezTo>
                    <a:pt x="109" y="10"/>
                    <a:pt x="109" y="10"/>
                    <a:pt x="109" y="10"/>
                  </a:cubicBezTo>
                  <a:cubicBezTo>
                    <a:pt x="86" y="9"/>
                    <a:pt x="86" y="9"/>
                    <a:pt x="86" y="9"/>
                  </a:cubicBezTo>
                  <a:cubicBezTo>
                    <a:pt x="78" y="13"/>
                    <a:pt x="78" y="13"/>
                    <a:pt x="78" y="13"/>
                  </a:cubicBezTo>
                  <a:cubicBezTo>
                    <a:pt x="78" y="13"/>
                    <a:pt x="68" y="5"/>
                    <a:pt x="59" y="11"/>
                  </a:cubicBezTo>
                  <a:cubicBezTo>
                    <a:pt x="50" y="17"/>
                    <a:pt x="53" y="41"/>
                    <a:pt x="41" y="43"/>
                  </a:cubicBezTo>
                  <a:cubicBezTo>
                    <a:pt x="40" y="50"/>
                    <a:pt x="40" y="56"/>
                    <a:pt x="40" y="57"/>
                  </a:cubicBezTo>
                  <a:cubicBezTo>
                    <a:pt x="39" y="60"/>
                    <a:pt x="29" y="67"/>
                    <a:pt x="22" y="80"/>
                  </a:cubicBezTo>
                  <a:cubicBezTo>
                    <a:pt x="15" y="93"/>
                    <a:pt x="0" y="106"/>
                    <a:pt x="0" y="106"/>
                  </a:cubicBezTo>
                  <a:cubicBezTo>
                    <a:pt x="2" y="113"/>
                    <a:pt x="2" y="113"/>
                    <a:pt x="2" y="113"/>
                  </a:cubicBezTo>
                  <a:cubicBezTo>
                    <a:pt x="8" y="112"/>
                    <a:pt x="8" y="112"/>
                    <a:pt x="8" y="112"/>
                  </a:cubicBezTo>
                  <a:cubicBezTo>
                    <a:pt x="8" y="112"/>
                    <a:pt x="17" y="121"/>
                    <a:pt x="17" y="128"/>
                  </a:cubicBezTo>
                  <a:cubicBezTo>
                    <a:pt x="17" y="135"/>
                    <a:pt x="20" y="141"/>
                    <a:pt x="20" y="141"/>
                  </a:cubicBezTo>
                  <a:cubicBezTo>
                    <a:pt x="29" y="149"/>
                    <a:pt x="29" y="149"/>
                    <a:pt x="29" y="149"/>
                  </a:cubicBezTo>
                  <a:cubicBezTo>
                    <a:pt x="29" y="149"/>
                    <a:pt x="28" y="150"/>
                    <a:pt x="28" y="157"/>
                  </a:cubicBezTo>
                  <a:cubicBezTo>
                    <a:pt x="28" y="162"/>
                    <a:pt x="32" y="166"/>
                    <a:pt x="34" y="169"/>
                  </a:cubicBezTo>
                  <a:cubicBezTo>
                    <a:pt x="84" y="169"/>
                    <a:pt x="84" y="169"/>
                    <a:pt x="84" y="169"/>
                  </a:cubicBezTo>
                  <a:cubicBezTo>
                    <a:pt x="84" y="159"/>
                    <a:pt x="84" y="159"/>
                    <a:pt x="84" y="159"/>
                  </a:cubicBezTo>
                  <a:cubicBezTo>
                    <a:pt x="84" y="159"/>
                    <a:pt x="96" y="160"/>
                    <a:pt x="109" y="158"/>
                  </a:cubicBezTo>
                  <a:cubicBezTo>
                    <a:pt x="122" y="156"/>
                    <a:pt x="120" y="166"/>
                    <a:pt x="120" y="166"/>
                  </a:cubicBezTo>
                  <a:cubicBezTo>
                    <a:pt x="128" y="164"/>
                    <a:pt x="128" y="164"/>
                    <a:pt x="128" y="164"/>
                  </a:cubicBezTo>
                  <a:cubicBezTo>
                    <a:pt x="128" y="164"/>
                    <a:pt x="136" y="175"/>
                    <a:pt x="141" y="176"/>
                  </a:cubicBezTo>
                  <a:cubicBezTo>
                    <a:pt x="146" y="177"/>
                    <a:pt x="145" y="167"/>
                    <a:pt x="162" y="171"/>
                  </a:cubicBezTo>
                  <a:cubicBezTo>
                    <a:pt x="179" y="175"/>
                    <a:pt x="161" y="190"/>
                    <a:pt x="143" y="190"/>
                  </a:cubicBezTo>
                  <a:cubicBezTo>
                    <a:pt x="125" y="190"/>
                    <a:pt x="109" y="171"/>
                    <a:pt x="109" y="171"/>
                  </a:cubicBezTo>
                  <a:cubicBezTo>
                    <a:pt x="109" y="171"/>
                    <a:pt x="103" y="182"/>
                    <a:pt x="97" y="183"/>
                  </a:cubicBezTo>
                  <a:cubicBezTo>
                    <a:pt x="91" y="184"/>
                    <a:pt x="72" y="186"/>
                    <a:pt x="72" y="186"/>
                  </a:cubicBezTo>
                  <a:cubicBezTo>
                    <a:pt x="72" y="186"/>
                    <a:pt x="71" y="195"/>
                    <a:pt x="68" y="195"/>
                  </a:cubicBezTo>
                  <a:cubicBezTo>
                    <a:pt x="66" y="195"/>
                    <a:pt x="36" y="195"/>
                    <a:pt x="25" y="195"/>
                  </a:cubicBezTo>
                  <a:cubicBezTo>
                    <a:pt x="24" y="202"/>
                    <a:pt x="24" y="212"/>
                    <a:pt x="24" y="212"/>
                  </a:cubicBezTo>
                  <a:cubicBezTo>
                    <a:pt x="18" y="215"/>
                    <a:pt x="18" y="215"/>
                    <a:pt x="18" y="215"/>
                  </a:cubicBezTo>
                  <a:cubicBezTo>
                    <a:pt x="18" y="215"/>
                    <a:pt x="22" y="236"/>
                    <a:pt x="31" y="241"/>
                  </a:cubicBezTo>
                  <a:cubicBezTo>
                    <a:pt x="40" y="246"/>
                    <a:pt x="50" y="241"/>
                    <a:pt x="50" y="241"/>
                  </a:cubicBezTo>
                  <a:cubicBezTo>
                    <a:pt x="58" y="231"/>
                    <a:pt x="58" y="231"/>
                    <a:pt x="58" y="231"/>
                  </a:cubicBezTo>
                  <a:cubicBezTo>
                    <a:pt x="85" y="231"/>
                    <a:pt x="85" y="231"/>
                    <a:pt x="85" y="231"/>
                  </a:cubicBezTo>
                  <a:cubicBezTo>
                    <a:pt x="102" y="216"/>
                    <a:pt x="102" y="216"/>
                    <a:pt x="102" y="216"/>
                  </a:cubicBezTo>
                  <a:cubicBezTo>
                    <a:pt x="196" y="219"/>
                    <a:pt x="196" y="219"/>
                    <a:pt x="196" y="219"/>
                  </a:cubicBezTo>
                  <a:cubicBezTo>
                    <a:pt x="196" y="219"/>
                    <a:pt x="196" y="230"/>
                    <a:pt x="204" y="232"/>
                  </a:cubicBezTo>
                  <a:cubicBezTo>
                    <a:pt x="212" y="234"/>
                    <a:pt x="215" y="226"/>
                    <a:pt x="215" y="226"/>
                  </a:cubicBezTo>
                  <a:cubicBezTo>
                    <a:pt x="215" y="226"/>
                    <a:pt x="224" y="242"/>
                    <a:pt x="231" y="242"/>
                  </a:cubicBezTo>
                  <a:cubicBezTo>
                    <a:pt x="238" y="242"/>
                    <a:pt x="247" y="235"/>
                    <a:pt x="247" y="235"/>
                  </a:cubicBezTo>
                  <a:cubicBezTo>
                    <a:pt x="275" y="234"/>
                    <a:pt x="275" y="234"/>
                    <a:pt x="275" y="234"/>
                  </a:cubicBezTo>
                  <a:cubicBezTo>
                    <a:pt x="276" y="200"/>
                    <a:pt x="276" y="200"/>
                    <a:pt x="276" y="200"/>
                  </a:cubicBezTo>
                  <a:cubicBezTo>
                    <a:pt x="276" y="200"/>
                    <a:pt x="274" y="184"/>
                    <a:pt x="269" y="181"/>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58" name="Freeform 119"/>
            <p:cNvSpPr>
              <a:spLocks/>
            </p:cNvSpPr>
            <p:nvPr/>
          </p:nvSpPr>
          <p:spPr bwMode="gray">
            <a:xfrm>
              <a:off x="3846513" y="3594100"/>
              <a:ext cx="193675" cy="165100"/>
            </a:xfrm>
            <a:custGeom>
              <a:avLst/>
              <a:gdLst>
                <a:gd name="T0" fmla="*/ 61 w 345"/>
                <a:gd name="T1" fmla="*/ 17 h 296"/>
                <a:gd name="T2" fmla="*/ 61 w 345"/>
                <a:gd name="T3" fmla="*/ 47 h 296"/>
                <a:gd name="T4" fmla="*/ 22 w 345"/>
                <a:gd name="T5" fmla="*/ 65 h 296"/>
                <a:gd name="T6" fmla="*/ 0 w 345"/>
                <a:gd name="T7" fmla="*/ 86 h 296"/>
                <a:gd name="T8" fmla="*/ 19 w 345"/>
                <a:gd name="T9" fmla="*/ 103 h 296"/>
                <a:gd name="T10" fmla="*/ 45 w 345"/>
                <a:gd name="T11" fmla="*/ 138 h 296"/>
                <a:gd name="T12" fmla="*/ 59 w 345"/>
                <a:gd name="T13" fmla="*/ 149 h 296"/>
                <a:gd name="T14" fmla="*/ 86 w 345"/>
                <a:gd name="T15" fmla="*/ 194 h 296"/>
                <a:gd name="T16" fmla="*/ 142 w 345"/>
                <a:gd name="T17" fmla="*/ 152 h 296"/>
                <a:gd name="T18" fmla="*/ 172 w 345"/>
                <a:gd name="T19" fmla="*/ 140 h 296"/>
                <a:gd name="T20" fmla="*/ 197 w 345"/>
                <a:gd name="T21" fmla="*/ 190 h 296"/>
                <a:gd name="T22" fmla="*/ 197 w 345"/>
                <a:gd name="T23" fmla="*/ 226 h 296"/>
                <a:gd name="T24" fmla="*/ 215 w 345"/>
                <a:gd name="T25" fmla="*/ 228 h 296"/>
                <a:gd name="T26" fmla="*/ 247 w 345"/>
                <a:gd name="T27" fmla="*/ 227 h 296"/>
                <a:gd name="T28" fmla="*/ 265 w 345"/>
                <a:gd name="T29" fmla="*/ 286 h 296"/>
                <a:gd name="T30" fmla="*/ 293 w 345"/>
                <a:gd name="T31" fmla="*/ 270 h 296"/>
                <a:gd name="T32" fmla="*/ 320 w 345"/>
                <a:gd name="T33" fmla="*/ 255 h 296"/>
                <a:gd name="T34" fmla="*/ 314 w 345"/>
                <a:gd name="T35" fmla="*/ 229 h 296"/>
                <a:gd name="T36" fmla="*/ 345 w 345"/>
                <a:gd name="T37" fmla="*/ 220 h 296"/>
                <a:gd name="T38" fmla="*/ 338 w 345"/>
                <a:gd name="T39" fmla="*/ 193 h 296"/>
                <a:gd name="T40" fmla="*/ 335 w 345"/>
                <a:gd name="T41" fmla="*/ 176 h 296"/>
                <a:gd name="T42" fmla="*/ 318 w 345"/>
                <a:gd name="T43" fmla="*/ 148 h 296"/>
                <a:gd name="T44" fmla="*/ 312 w 345"/>
                <a:gd name="T45" fmla="*/ 115 h 296"/>
                <a:gd name="T46" fmla="*/ 293 w 345"/>
                <a:gd name="T47" fmla="*/ 91 h 296"/>
                <a:gd name="T48" fmla="*/ 287 w 345"/>
                <a:gd name="T49" fmla="*/ 52 h 296"/>
                <a:gd name="T50" fmla="*/ 284 w 345"/>
                <a:gd name="T51" fmla="*/ 26 h 296"/>
                <a:gd name="T52" fmla="*/ 261 w 345"/>
                <a:gd name="T53" fmla="*/ 27 h 296"/>
                <a:gd name="T54" fmla="*/ 222 w 345"/>
                <a:gd name="T55" fmla="*/ 23 h 296"/>
                <a:gd name="T56" fmla="*/ 191 w 345"/>
                <a:gd name="T57" fmla="*/ 23 h 296"/>
                <a:gd name="T58" fmla="*/ 166 w 345"/>
                <a:gd name="T59" fmla="*/ 16 h 296"/>
                <a:gd name="T60" fmla="*/ 122 w 345"/>
                <a:gd name="T61" fmla="*/ 24 h 296"/>
                <a:gd name="T62" fmla="*/ 95 w 345"/>
                <a:gd name="T63" fmla="*/ 14 h 296"/>
                <a:gd name="T64" fmla="*/ 60 w 345"/>
                <a:gd name="T65"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5" h="296">
                  <a:moveTo>
                    <a:pt x="60" y="0"/>
                  </a:moveTo>
                  <a:cubicBezTo>
                    <a:pt x="61" y="17"/>
                    <a:pt x="61" y="17"/>
                    <a:pt x="61" y="17"/>
                  </a:cubicBezTo>
                  <a:cubicBezTo>
                    <a:pt x="61" y="17"/>
                    <a:pt x="45" y="15"/>
                    <a:pt x="45" y="26"/>
                  </a:cubicBezTo>
                  <a:cubicBezTo>
                    <a:pt x="45" y="37"/>
                    <a:pt x="62" y="32"/>
                    <a:pt x="61" y="47"/>
                  </a:cubicBezTo>
                  <a:cubicBezTo>
                    <a:pt x="60" y="62"/>
                    <a:pt x="49" y="58"/>
                    <a:pt x="39" y="58"/>
                  </a:cubicBezTo>
                  <a:cubicBezTo>
                    <a:pt x="29" y="58"/>
                    <a:pt x="22" y="65"/>
                    <a:pt x="22" y="65"/>
                  </a:cubicBezTo>
                  <a:cubicBezTo>
                    <a:pt x="9" y="66"/>
                    <a:pt x="9" y="66"/>
                    <a:pt x="9" y="66"/>
                  </a:cubicBezTo>
                  <a:cubicBezTo>
                    <a:pt x="0" y="86"/>
                    <a:pt x="0" y="86"/>
                    <a:pt x="0" y="86"/>
                  </a:cubicBezTo>
                  <a:cubicBezTo>
                    <a:pt x="0" y="86"/>
                    <a:pt x="4" y="100"/>
                    <a:pt x="9" y="102"/>
                  </a:cubicBezTo>
                  <a:cubicBezTo>
                    <a:pt x="14" y="104"/>
                    <a:pt x="19" y="103"/>
                    <a:pt x="19" y="103"/>
                  </a:cubicBezTo>
                  <a:cubicBezTo>
                    <a:pt x="19" y="103"/>
                    <a:pt x="10" y="127"/>
                    <a:pt x="25" y="134"/>
                  </a:cubicBezTo>
                  <a:cubicBezTo>
                    <a:pt x="40" y="141"/>
                    <a:pt x="45" y="138"/>
                    <a:pt x="45" y="138"/>
                  </a:cubicBezTo>
                  <a:cubicBezTo>
                    <a:pt x="45" y="138"/>
                    <a:pt x="42" y="150"/>
                    <a:pt x="46" y="154"/>
                  </a:cubicBezTo>
                  <a:cubicBezTo>
                    <a:pt x="50" y="158"/>
                    <a:pt x="59" y="149"/>
                    <a:pt x="59" y="149"/>
                  </a:cubicBezTo>
                  <a:cubicBezTo>
                    <a:pt x="59" y="149"/>
                    <a:pt x="63" y="169"/>
                    <a:pt x="67" y="176"/>
                  </a:cubicBezTo>
                  <a:cubicBezTo>
                    <a:pt x="71" y="183"/>
                    <a:pt x="86" y="194"/>
                    <a:pt x="86" y="194"/>
                  </a:cubicBezTo>
                  <a:cubicBezTo>
                    <a:pt x="98" y="194"/>
                    <a:pt x="117" y="152"/>
                    <a:pt x="117" y="152"/>
                  </a:cubicBezTo>
                  <a:cubicBezTo>
                    <a:pt x="142" y="152"/>
                    <a:pt x="142" y="152"/>
                    <a:pt x="142" y="152"/>
                  </a:cubicBezTo>
                  <a:cubicBezTo>
                    <a:pt x="146" y="140"/>
                    <a:pt x="146" y="140"/>
                    <a:pt x="146" y="140"/>
                  </a:cubicBezTo>
                  <a:cubicBezTo>
                    <a:pt x="172" y="140"/>
                    <a:pt x="172" y="140"/>
                    <a:pt x="172" y="140"/>
                  </a:cubicBezTo>
                  <a:cubicBezTo>
                    <a:pt x="200" y="181"/>
                    <a:pt x="200" y="181"/>
                    <a:pt x="200" y="181"/>
                  </a:cubicBezTo>
                  <a:cubicBezTo>
                    <a:pt x="197" y="190"/>
                    <a:pt x="197" y="190"/>
                    <a:pt x="197" y="190"/>
                  </a:cubicBezTo>
                  <a:cubicBezTo>
                    <a:pt x="197" y="190"/>
                    <a:pt x="208" y="202"/>
                    <a:pt x="208" y="210"/>
                  </a:cubicBezTo>
                  <a:cubicBezTo>
                    <a:pt x="208" y="218"/>
                    <a:pt x="197" y="226"/>
                    <a:pt x="197" y="226"/>
                  </a:cubicBezTo>
                  <a:cubicBezTo>
                    <a:pt x="196" y="239"/>
                    <a:pt x="196" y="239"/>
                    <a:pt x="196" y="239"/>
                  </a:cubicBezTo>
                  <a:cubicBezTo>
                    <a:pt x="215" y="228"/>
                    <a:pt x="215" y="228"/>
                    <a:pt x="215" y="228"/>
                  </a:cubicBezTo>
                  <a:cubicBezTo>
                    <a:pt x="231" y="232"/>
                    <a:pt x="231" y="232"/>
                    <a:pt x="231" y="232"/>
                  </a:cubicBezTo>
                  <a:cubicBezTo>
                    <a:pt x="231" y="232"/>
                    <a:pt x="228" y="214"/>
                    <a:pt x="247" y="227"/>
                  </a:cubicBezTo>
                  <a:cubicBezTo>
                    <a:pt x="266" y="240"/>
                    <a:pt x="257" y="286"/>
                    <a:pt x="257" y="286"/>
                  </a:cubicBezTo>
                  <a:cubicBezTo>
                    <a:pt x="265" y="286"/>
                    <a:pt x="265" y="286"/>
                    <a:pt x="265" y="286"/>
                  </a:cubicBezTo>
                  <a:cubicBezTo>
                    <a:pt x="265" y="286"/>
                    <a:pt x="266" y="296"/>
                    <a:pt x="277" y="296"/>
                  </a:cubicBezTo>
                  <a:cubicBezTo>
                    <a:pt x="288" y="296"/>
                    <a:pt x="288" y="274"/>
                    <a:pt x="293" y="270"/>
                  </a:cubicBezTo>
                  <a:cubicBezTo>
                    <a:pt x="298" y="266"/>
                    <a:pt x="313" y="279"/>
                    <a:pt x="320" y="276"/>
                  </a:cubicBezTo>
                  <a:cubicBezTo>
                    <a:pt x="327" y="273"/>
                    <a:pt x="320" y="255"/>
                    <a:pt x="320" y="255"/>
                  </a:cubicBezTo>
                  <a:cubicBezTo>
                    <a:pt x="332" y="252"/>
                    <a:pt x="332" y="252"/>
                    <a:pt x="332" y="252"/>
                  </a:cubicBezTo>
                  <a:cubicBezTo>
                    <a:pt x="332" y="252"/>
                    <a:pt x="314" y="239"/>
                    <a:pt x="314" y="229"/>
                  </a:cubicBezTo>
                  <a:cubicBezTo>
                    <a:pt x="314" y="219"/>
                    <a:pt x="344" y="233"/>
                    <a:pt x="344" y="233"/>
                  </a:cubicBezTo>
                  <a:cubicBezTo>
                    <a:pt x="344" y="233"/>
                    <a:pt x="345" y="227"/>
                    <a:pt x="345" y="220"/>
                  </a:cubicBezTo>
                  <a:cubicBezTo>
                    <a:pt x="345" y="213"/>
                    <a:pt x="330" y="218"/>
                    <a:pt x="329" y="210"/>
                  </a:cubicBezTo>
                  <a:cubicBezTo>
                    <a:pt x="328" y="202"/>
                    <a:pt x="338" y="193"/>
                    <a:pt x="338" y="193"/>
                  </a:cubicBezTo>
                  <a:cubicBezTo>
                    <a:pt x="328" y="189"/>
                    <a:pt x="328" y="189"/>
                    <a:pt x="328" y="189"/>
                  </a:cubicBezTo>
                  <a:cubicBezTo>
                    <a:pt x="335" y="176"/>
                    <a:pt x="335" y="176"/>
                    <a:pt x="335" y="176"/>
                  </a:cubicBezTo>
                  <a:cubicBezTo>
                    <a:pt x="323" y="175"/>
                    <a:pt x="323" y="175"/>
                    <a:pt x="323" y="175"/>
                  </a:cubicBezTo>
                  <a:cubicBezTo>
                    <a:pt x="318" y="148"/>
                    <a:pt x="318" y="148"/>
                    <a:pt x="318" y="148"/>
                  </a:cubicBezTo>
                  <a:cubicBezTo>
                    <a:pt x="331" y="134"/>
                    <a:pt x="331" y="134"/>
                    <a:pt x="331" y="134"/>
                  </a:cubicBezTo>
                  <a:cubicBezTo>
                    <a:pt x="312" y="115"/>
                    <a:pt x="312" y="115"/>
                    <a:pt x="312" y="115"/>
                  </a:cubicBezTo>
                  <a:cubicBezTo>
                    <a:pt x="312" y="90"/>
                    <a:pt x="312" y="90"/>
                    <a:pt x="312" y="90"/>
                  </a:cubicBezTo>
                  <a:cubicBezTo>
                    <a:pt x="293" y="91"/>
                    <a:pt x="293" y="91"/>
                    <a:pt x="293" y="91"/>
                  </a:cubicBezTo>
                  <a:cubicBezTo>
                    <a:pt x="310" y="68"/>
                    <a:pt x="310" y="68"/>
                    <a:pt x="310" y="68"/>
                  </a:cubicBezTo>
                  <a:cubicBezTo>
                    <a:pt x="287" y="52"/>
                    <a:pt x="287" y="52"/>
                    <a:pt x="287" y="52"/>
                  </a:cubicBezTo>
                  <a:cubicBezTo>
                    <a:pt x="293" y="35"/>
                    <a:pt x="293" y="35"/>
                    <a:pt x="293" y="35"/>
                  </a:cubicBezTo>
                  <a:cubicBezTo>
                    <a:pt x="284" y="26"/>
                    <a:pt x="284" y="26"/>
                    <a:pt x="284" y="26"/>
                  </a:cubicBezTo>
                  <a:cubicBezTo>
                    <a:pt x="284" y="26"/>
                    <a:pt x="291" y="19"/>
                    <a:pt x="275" y="11"/>
                  </a:cubicBezTo>
                  <a:cubicBezTo>
                    <a:pt x="259" y="3"/>
                    <a:pt x="261" y="27"/>
                    <a:pt x="261" y="27"/>
                  </a:cubicBezTo>
                  <a:cubicBezTo>
                    <a:pt x="249" y="36"/>
                    <a:pt x="249" y="36"/>
                    <a:pt x="249" y="36"/>
                  </a:cubicBezTo>
                  <a:cubicBezTo>
                    <a:pt x="249" y="36"/>
                    <a:pt x="227" y="25"/>
                    <a:pt x="222" y="23"/>
                  </a:cubicBezTo>
                  <a:cubicBezTo>
                    <a:pt x="217" y="21"/>
                    <a:pt x="203" y="44"/>
                    <a:pt x="203" y="44"/>
                  </a:cubicBezTo>
                  <a:cubicBezTo>
                    <a:pt x="203" y="44"/>
                    <a:pt x="200" y="23"/>
                    <a:pt x="191" y="23"/>
                  </a:cubicBezTo>
                  <a:cubicBezTo>
                    <a:pt x="182" y="23"/>
                    <a:pt x="178" y="39"/>
                    <a:pt x="174" y="41"/>
                  </a:cubicBezTo>
                  <a:cubicBezTo>
                    <a:pt x="170" y="43"/>
                    <a:pt x="166" y="16"/>
                    <a:pt x="166" y="16"/>
                  </a:cubicBezTo>
                  <a:cubicBezTo>
                    <a:pt x="138" y="17"/>
                    <a:pt x="138" y="17"/>
                    <a:pt x="138" y="17"/>
                  </a:cubicBezTo>
                  <a:cubicBezTo>
                    <a:pt x="138" y="17"/>
                    <a:pt x="129" y="24"/>
                    <a:pt x="122" y="24"/>
                  </a:cubicBezTo>
                  <a:cubicBezTo>
                    <a:pt x="115" y="24"/>
                    <a:pt x="106" y="8"/>
                    <a:pt x="106" y="8"/>
                  </a:cubicBezTo>
                  <a:cubicBezTo>
                    <a:pt x="106" y="8"/>
                    <a:pt x="103" y="16"/>
                    <a:pt x="95" y="14"/>
                  </a:cubicBezTo>
                  <a:cubicBezTo>
                    <a:pt x="87" y="12"/>
                    <a:pt x="87" y="1"/>
                    <a:pt x="87" y="1"/>
                  </a:cubicBezTo>
                  <a:lnTo>
                    <a:pt x="60" y="0"/>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59" name="Freeform 120"/>
            <p:cNvSpPr>
              <a:spLocks/>
            </p:cNvSpPr>
            <p:nvPr/>
          </p:nvSpPr>
          <p:spPr bwMode="gray">
            <a:xfrm>
              <a:off x="3803650" y="3157538"/>
              <a:ext cx="320675" cy="374650"/>
            </a:xfrm>
            <a:custGeom>
              <a:avLst/>
              <a:gdLst>
                <a:gd name="T0" fmla="*/ 0 w 572"/>
                <a:gd name="T1" fmla="*/ 332 h 670"/>
                <a:gd name="T2" fmla="*/ 11 w 572"/>
                <a:gd name="T3" fmla="*/ 336 h 670"/>
                <a:gd name="T4" fmla="*/ 15 w 572"/>
                <a:gd name="T5" fmla="*/ 357 h 670"/>
                <a:gd name="T6" fmla="*/ 24 w 572"/>
                <a:gd name="T7" fmla="*/ 349 h 670"/>
                <a:gd name="T8" fmla="*/ 32 w 572"/>
                <a:gd name="T9" fmla="*/ 372 h 670"/>
                <a:gd name="T10" fmla="*/ 30 w 572"/>
                <a:gd name="T11" fmla="*/ 403 h 670"/>
                <a:gd name="T12" fmla="*/ 21 w 572"/>
                <a:gd name="T13" fmla="*/ 403 h 670"/>
                <a:gd name="T14" fmla="*/ 24 w 572"/>
                <a:gd name="T15" fmla="*/ 417 h 670"/>
                <a:gd name="T16" fmla="*/ 16 w 572"/>
                <a:gd name="T17" fmla="*/ 423 h 670"/>
                <a:gd name="T18" fmla="*/ 39 w 572"/>
                <a:gd name="T19" fmla="*/ 470 h 670"/>
                <a:gd name="T20" fmla="*/ 33 w 572"/>
                <a:gd name="T21" fmla="*/ 509 h 670"/>
                <a:gd name="T22" fmla="*/ 31 w 572"/>
                <a:gd name="T23" fmla="*/ 538 h 670"/>
                <a:gd name="T24" fmla="*/ 12 w 572"/>
                <a:gd name="T25" fmla="*/ 570 h 670"/>
                <a:gd name="T26" fmla="*/ 10 w 572"/>
                <a:gd name="T27" fmla="*/ 605 h 670"/>
                <a:gd name="T28" fmla="*/ 28 w 572"/>
                <a:gd name="T29" fmla="*/ 573 h 670"/>
                <a:gd name="T30" fmla="*/ 47 w 572"/>
                <a:gd name="T31" fmla="*/ 575 h 670"/>
                <a:gd name="T32" fmla="*/ 55 w 572"/>
                <a:gd name="T33" fmla="*/ 571 h 670"/>
                <a:gd name="T34" fmla="*/ 78 w 572"/>
                <a:gd name="T35" fmla="*/ 572 h 670"/>
                <a:gd name="T36" fmla="*/ 78 w 572"/>
                <a:gd name="T37" fmla="*/ 562 h 670"/>
                <a:gd name="T38" fmla="*/ 91 w 572"/>
                <a:gd name="T39" fmla="*/ 569 h 670"/>
                <a:gd name="T40" fmla="*/ 115 w 572"/>
                <a:gd name="T41" fmla="*/ 572 h 670"/>
                <a:gd name="T42" fmla="*/ 136 w 572"/>
                <a:gd name="T43" fmla="*/ 596 h 670"/>
                <a:gd name="T44" fmla="*/ 157 w 572"/>
                <a:gd name="T45" fmla="*/ 593 h 670"/>
                <a:gd name="T46" fmla="*/ 165 w 572"/>
                <a:gd name="T47" fmla="*/ 630 h 670"/>
                <a:gd name="T48" fmla="*/ 179 w 572"/>
                <a:gd name="T49" fmla="*/ 632 h 670"/>
                <a:gd name="T50" fmla="*/ 182 w 572"/>
                <a:gd name="T51" fmla="*/ 648 h 670"/>
                <a:gd name="T52" fmla="*/ 199 w 572"/>
                <a:gd name="T53" fmla="*/ 654 h 670"/>
                <a:gd name="T54" fmla="*/ 208 w 572"/>
                <a:gd name="T55" fmla="*/ 668 h 670"/>
                <a:gd name="T56" fmla="*/ 228 w 572"/>
                <a:gd name="T57" fmla="*/ 667 h 670"/>
                <a:gd name="T58" fmla="*/ 232 w 572"/>
                <a:gd name="T59" fmla="*/ 653 h 670"/>
                <a:gd name="T60" fmla="*/ 247 w 572"/>
                <a:gd name="T61" fmla="*/ 625 h 670"/>
                <a:gd name="T62" fmla="*/ 272 w 572"/>
                <a:gd name="T63" fmla="*/ 650 h 670"/>
                <a:gd name="T64" fmla="*/ 282 w 572"/>
                <a:gd name="T65" fmla="*/ 633 h 670"/>
                <a:gd name="T66" fmla="*/ 304 w 572"/>
                <a:gd name="T67" fmla="*/ 633 h 670"/>
                <a:gd name="T68" fmla="*/ 310 w 572"/>
                <a:gd name="T69" fmla="*/ 639 h 670"/>
                <a:gd name="T70" fmla="*/ 335 w 572"/>
                <a:gd name="T71" fmla="*/ 635 h 670"/>
                <a:gd name="T72" fmla="*/ 345 w 572"/>
                <a:gd name="T73" fmla="*/ 621 h 670"/>
                <a:gd name="T74" fmla="*/ 349 w 572"/>
                <a:gd name="T75" fmla="*/ 631 h 670"/>
                <a:gd name="T76" fmla="*/ 526 w 572"/>
                <a:gd name="T77" fmla="*/ 628 h 670"/>
                <a:gd name="T78" fmla="*/ 531 w 572"/>
                <a:gd name="T79" fmla="*/ 601 h 670"/>
                <a:gd name="T80" fmla="*/ 536 w 572"/>
                <a:gd name="T81" fmla="*/ 590 h 670"/>
                <a:gd name="T82" fmla="*/ 522 w 572"/>
                <a:gd name="T83" fmla="*/ 577 h 670"/>
                <a:gd name="T84" fmla="*/ 491 w 572"/>
                <a:gd name="T85" fmla="*/ 118 h 670"/>
                <a:gd name="T86" fmla="*/ 572 w 572"/>
                <a:gd name="T87" fmla="*/ 121 h 670"/>
                <a:gd name="T88" fmla="*/ 399 w 572"/>
                <a:gd name="T89" fmla="*/ 0 h 670"/>
                <a:gd name="T90" fmla="*/ 397 w 572"/>
                <a:gd name="T91" fmla="*/ 34 h 670"/>
                <a:gd name="T92" fmla="*/ 392 w 572"/>
                <a:gd name="T93" fmla="*/ 38 h 670"/>
                <a:gd name="T94" fmla="*/ 391 w 572"/>
                <a:gd name="T95" fmla="*/ 63 h 670"/>
                <a:gd name="T96" fmla="*/ 243 w 572"/>
                <a:gd name="T97" fmla="*/ 64 h 670"/>
                <a:gd name="T98" fmla="*/ 243 w 572"/>
                <a:gd name="T99" fmla="*/ 74 h 670"/>
                <a:gd name="T100" fmla="*/ 238 w 572"/>
                <a:gd name="T101" fmla="*/ 77 h 670"/>
                <a:gd name="T102" fmla="*/ 235 w 572"/>
                <a:gd name="T103" fmla="*/ 207 h 670"/>
                <a:gd name="T104" fmla="*/ 208 w 572"/>
                <a:gd name="T105" fmla="*/ 212 h 670"/>
                <a:gd name="T106" fmla="*/ 189 w 572"/>
                <a:gd name="T107" fmla="*/ 223 h 670"/>
                <a:gd name="T108" fmla="*/ 187 w 572"/>
                <a:gd name="T109" fmla="*/ 248 h 670"/>
                <a:gd name="T110" fmla="*/ 186 w 572"/>
                <a:gd name="T111" fmla="*/ 317 h 670"/>
                <a:gd name="T112" fmla="*/ 0 w 572"/>
                <a:gd name="T113" fmla="*/ 319 h 670"/>
                <a:gd name="T114" fmla="*/ 0 w 572"/>
                <a:gd name="T115" fmla="*/ 319 h 670"/>
                <a:gd name="T116" fmla="*/ 0 w 572"/>
                <a:gd name="T117" fmla="*/ 332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2" h="670">
                  <a:moveTo>
                    <a:pt x="0" y="332"/>
                  </a:moveTo>
                  <a:cubicBezTo>
                    <a:pt x="0" y="332"/>
                    <a:pt x="11" y="331"/>
                    <a:pt x="11" y="336"/>
                  </a:cubicBezTo>
                  <a:cubicBezTo>
                    <a:pt x="11" y="341"/>
                    <a:pt x="11" y="354"/>
                    <a:pt x="15" y="357"/>
                  </a:cubicBezTo>
                  <a:cubicBezTo>
                    <a:pt x="19" y="360"/>
                    <a:pt x="24" y="349"/>
                    <a:pt x="24" y="349"/>
                  </a:cubicBezTo>
                  <a:cubicBezTo>
                    <a:pt x="32" y="372"/>
                    <a:pt x="32" y="372"/>
                    <a:pt x="32" y="372"/>
                  </a:cubicBezTo>
                  <a:cubicBezTo>
                    <a:pt x="30" y="403"/>
                    <a:pt x="30" y="403"/>
                    <a:pt x="30" y="403"/>
                  </a:cubicBezTo>
                  <a:cubicBezTo>
                    <a:pt x="21" y="403"/>
                    <a:pt x="21" y="403"/>
                    <a:pt x="21" y="403"/>
                  </a:cubicBezTo>
                  <a:cubicBezTo>
                    <a:pt x="24" y="417"/>
                    <a:pt x="24" y="417"/>
                    <a:pt x="24" y="417"/>
                  </a:cubicBezTo>
                  <a:cubicBezTo>
                    <a:pt x="16" y="423"/>
                    <a:pt x="16" y="423"/>
                    <a:pt x="16" y="423"/>
                  </a:cubicBezTo>
                  <a:cubicBezTo>
                    <a:pt x="16" y="423"/>
                    <a:pt x="39" y="452"/>
                    <a:pt x="39" y="470"/>
                  </a:cubicBezTo>
                  <a:cubicBezTo>
                    <a:pt x="39" y="488"/>
                    <a:pt x="33" y="509"/>
                    <a:pt x="33" y="509"/>
                  </a:cubicBezTo>
                  <a:cubicBezTo>
                    <a:pt x="31" y="538"/>
                    <a:pt x="31" y="538"/>
                    <a:pt x="31" y="538"/>
                  </a:cubicBezTo>
                  <a:cubicBezTo>
                    <a:pt x="31" y="538"/>
                    <a:pt x="15" y="555"/>
                    <a:pt x="12" y="570"/>
                  </a:cubicBezTo>
                  <a:cubicBezTo>
                    <a:pt x="10" y="579"/>
                    <a:pt x="10" y="594"/>
                    <a:pt x="10" y="605"/>
                  </a:cubicBezTo>
                  <a:cubicBezTo>
                    <a:pt x="22" y="603"/>
                    <a:pt x="19" y="579"/>
                    <a:pt x="28" y="573"/>
                  </a:cubicBezTo>
                  <a:cubicBezTo>
                    <a:pt x="37" y="567"/>
                    <a:pt x="47" y="575"/>
                    <a:pt x="47" y="575"/>
                  </a:cubicBezTo>
                  <a:cubicBezTo>
                    <a:pt x="55" y="571"/>
                    <a:pt x="55" y="571"/>
                    <a:pt x="55" y="571"/>
                  </a:cubicBezTo>
                  <a:cubicBezTo>
                    <a:pt x="78" y="572"/>
                    <a:pt x="78" y="572"/>
                    <a:pt x="78" y="572"/>
                  </a:cubicBezTo>
                  <a:cubicBezTo>
                    <a:pt x="78" y="562"/>
                    <a:pt x="78" y="562"/>
                    <a:pt x="78" y="562"/>
                  </a:cubicBezTo>
                  <a:cubicBezTo>
                    <a:pt x="91" y="569"/>
                    <a:pt x="91" y="569"/>
                    <a:pt x="91" y="569"/>
                  </a:cubicBezTo>
                  <a:cubicBezTo>
                    <a:pt x="91" y="569"/>
                    <a:pt x="105" y="570"/>
                    <a:pt x="115" y="572"/>
                  </a:cubicBezTo>
                  <a:cubicBezTo>
                    <a:pt x="125" y="574"/>
                    <a:pt x="136" y="596"/>
                    <a:pt x="136" y="596"/>
                  </a:cubicBezTo>
                  <a:cubicBezTo>
                    <a:pt x="136" y="596"/>
                    <a:pt x="150" y="592"/>
                    <a:pt x="157" y="593"/>
                  </a:cubicBezTo>
                  <a:cubicBezTo>
                    <a:pt x="164" y="594"/>
                    <a:pt x="165" y="630"/>
                    <a:pt x="165" y="630"/>
                  </a:cubicBezTo>
                  <a:cubicBezTo>
                    <a:pt x="165" y="630"/>
                    <a:pt x="176" y="631"/>
                    <a:pt x="179" y="632"/>
                  </a:cubicBezTo>
                  <a:cubicBezTo>
                    <a:pt x="182" y="633"/>
                    <a:pt x="182" y="648"/>
                    <a:pt x="182" y="648"/>
                  </a:cubicBezTo>
                  <a:cubicBezTo>
                    <a:pt x="199" y="654"/>
                    <a:pt x="199" y="654"/>
                    <a:pt x="199" y="654"/>
                  </a:cubicBezTo>
                  <a:cubicBezTo>
                    <a:pt x="208" y="668"/>
                    <a:pt x="208" y="668"/>
                    <a:pt x="208" y="668"/>
                  </a:cubicBezTo>
                  <a:cubicBezTo>
                    <a:pt x="208" y="668"/>
                    <a:pt x="220" y="670"/>
                    <a:pt x="228" y="667"/>
                  </a:cubicBezTo>
                  <a:cubicBezTo>
                    <a:pt x="236" y="664"/>
                    <a:pt x="233" y="654"/>
                    <a:pt x="232" y="653"/>
                  </a:cubicBezTo>
                  <a:cubicBezTo>
                    <a:pt x="232" y="634"/>
                    <a:pt x="234" y="625"/>
                    <a:pt x="247" y="625"/>
                  </a:cubicBezTo>
                  <a:cubicBezTo>
                    <a:pt x="260" y="625"/>
                    <a:pt x="272" y="650"/>
                    <a:pt x="272" y="650"/>
                  </a:cubicBezTo>
                  <a:cubicBezTo>
                    <a:pt x="282" y="633"/>
                    <a:pt x="282" y="633"/>
                    <a:pt x="282" y="633"/>
                  </a:cubicBezTo>
                  <a:cubicBezTo>
                    <a:pt x="304" y="633"/>
                    <a:pt x="304" y="633"/>
                    <a:pt x="304" y="633"/>
                  </a:cubicBezTo>
                  <a:cubicBezTo>
                    <a:pt x="310" y="639"/>
                    <a:pt x="310" y="639"/>
                    <a:pt x="310" y="639"/>
                  </a:cubicBezTo>
                  <a:cubicBezTo>
                    <a:pt x="310" y="639"/>
                    <a:pt x="327" y="636"/>
                    <a:pt x="335" y="635"/>
                  </a:cubicBezTo>
                  <a:cubicBezTo>
                    <a:pt x="343" y="634"/>
                    <a:pt x="341" y="622"/>
                    <a:pt x="345" y="621"/>
                  </a:cubicBezTo>
                  <a:cubicBezTo>
                    <a:pt x="349" y="620"/>
                    <a:pt x="349" y="631"/>
                    <a:pt x="349" y="631"/>
                  </a:cubicBezTo>
                  <a:cubicBezTo>
                    <a:pt x="526" y="628"/>
                    <a:pt x="526" y="628"/>
                    <a:pt x="526" y="628"/>
                  </a:cubicBezTo>
                  <a:cubicBezTo>
                    <a:pt x="531" y="601"/>
                    <a:pt x="531" y="601"/>
                    <a:pt x="531" y="601"/>
                  </a:cubicBezTo>
                  <a:cubicBezTo>
                    <a:pt x="531" y="601"/>
                    <a:pt x="537" y="597"/>
                    <a:pt x="536" y="590"/>
                  </a:cubicBezTo>
                  <a:cubicBezTo>
                    <a:pt x="535" y="583"/>
                    <a:pt x="522" y="577"/>
                    <a:pt x="522" y="577"/>
                  </a:cubicBezTo>
                  <a:cubicBezTo>
                    <a:pt x="491" y="118"/>
                    <a:pt x="491" y="118"/>
                    <a:pt x="491" y="118"/>
                  </a:cubicBezTo>
                  <a:cubicBezTo>
                    <a:pt x="572" y="121"/>
                    <a:pt x="572" y="121"/>
                    <a:pt x="572" y="121"/>
                  </a:cubicBezTo>
                  <a:cubicBezTo>
                    <a:pt x="399" y="0"/>
                    <a:pt x="399" y="0"/>
                    <a:pt x="399" y="0"/>
                  </a:cubicBezTo>
                  <a:cubicBezTo>
                    <a:pt x="397" y="34"/>
                    <a:pt x="397" y="34"/>
                    <a:pt x="397" y="34"/>
                  </a:cubicBezTo>
                  <a:cubicBezTo>
                    <a:pt x="392" y="38"/>
                    <a:pt x="392" y="38"/>
                    <a:pt x="392" y="38"/>
                  </a:cubicBezTo>
                  <a:cubicBezTo>
                    <a:pt x="391" y="63"/>
                    <a:pt x="391" y="63"/>
                    <a:pt x="391" y="63"/>
                  </a:cubicBezTo>
                  <a:cubicBezTo>
                    <a:pt x="243" y="64"/>
                    <a:pt x="243" y="64"/>
                    <a:pt x="243" y="64"/>
                  </a:cubicBezTo>
                  <a:cubicBezTo>
                    <a:pt x="243" y="74"/>
                    <a:pt x="243" y="74"/>
                    <a:pt x="243" y="74"/>
                  </a:cubicBezTo>
                  <a:cubicBezTo>
                    <a:pt x="238" y="77"/>
                    <a:pt x="238" y="77"/>
                    <a:pt x="238" y="77"/>
                  </a:cubicBezTo>
                  <a:cubicBezTo>
                    <a:pt x="238" y="77"/>
                    <a:pt x="237" y="201"/>
                    <a:pt x="235" y="207"/>
                  </a:cubicBezTo>
                  <a:cubicBezTo>
                    <a:pt x="233" y="213"/>
                    <a:pt x="208" y="212"/>
                    <a:pt x="208" y="212"/>
                  </a:cubicBezTo>
                  <a:cubicBezTo>
                    <a:pt x="208" y="212"/>
                    <a:pt x="200" y="213"/>
                    <a:pt x="189" y="223"/>
                  </a:cubicBezTo>
                  <a:cubicBezTo>
                    <a:pt x="178" y="233"/>
                    <a:pt x="187" y="248"/>
                    <a:pt x="187" y="248"/>
                  </a:cubicBezTo>
                  <a:cubicBezTo>
                    <a:pt x="186" y="317"/>
                    <a:pt x="186" y="317"/>
                    <a:pt x="186" y="317"/>
                  </a:cubicBezTo>
                  <a:cubicBezTo>
                    <a:pt x="0" y="319"/>
                    <a:pt x="0" y="319"/>
                    <a:pt x="0" y="319"/>
                  </a:cubicBezTo>
                  <a:cubicBezTo>
                    <a:pt x="0" y="319"/>
                    <a:pt x="0" y="319"/>
                    <a:pt x="0" y="319"/>
                  </a:cubicBezTo>
                  <a:cubicBezTo>
                    <a:pt x="0" y="326"/>
                    <a:pt x="0" y="332"/>
                    <a:pt x="0" y="332"/>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60" name="Freeform 121"/>
            <p:cNvSpPr>
              <a:spLocks/>
            </p:cNvSpPr>
            <p:nvPr/>
          </p:nvSpPr>
          <p:spPr bwMode="gray">
            <a:xfrm>
              <a:off x="4094163" y="3522663"/>
              <a:ext cx="214312" cy="168275"/>
            </a:xfrm>
            <a:custGeom>
              <a:avLst/>
              <a:gdLst>
                <a:gd name="T0" fmla="*/ 3 w 382"/>
                <a:gd name="T1" fmla="*/ 246 h 300"/>
                <a:gd name="T2" fmla="*/ 19 w 382"/>
                <a:gd name="T3" fmla="*/ 256 h 300"/>
                <a:gd name="T4" fmla="*/ 59 w 382"/>
                <a:gd name="T5" fmla="*/ 293 h 300"/>
                <a:gd name="T6" fmla="*/ 124 w 382"/>
                <a:gd name="T7" fmla="*/ 300 h 300"/>
                <a:gd name="T8" fmla="*/ 132 w 382"/>
                <a:gd name="T9" fmla="*/ 299 h 300"/>
                <a:gd name="T10" fmla="*/ 130 w 382"/>
                <a:gd name="T11" fmla="*/ 245 h 300"/>
                <a:gd name="T12" fmla="*/ 132 w 382"/>
                <a:gd name="T13" fmla="*/ 219 h 300"/>
                <a:gd name="T14" fmla="*/ 192 w 382"/>
                <a:gd name="T15" fmla="*/ 219 h 300"/>
                <a:gd name="T16" fmla="*/ 215 w 382"/>
                <a:gd name="T17" fmla="*/ 219 h 300"/>
                <a:gd name="T18" fmla="*/ 251 w 382"/>
                <a:gd name="T19" fmla="*/ 212 h 300"/>
                <a:gd name="T20" fmla="*/ 276 w 382"/>
                <a:gd name="T21" fmla="*/ 215 h 300"/>
                <a:gd name="T22" fmla="*/ 305 w 382"/>
                <a:gd name="T23" fmla="*/ 221 h 300"/>
                <a:gd name="T24" fmla="*/ 318 w 382"/>
                <a:gd name="T25" fmla="*/ 214 h 300"/>
                <a:gd name="T26" fmla="*/ 357 w 382"/>
                <a:gd name="T27" fmla="*/ 197 h 300"/>
                <a:gd name="T28" fmla="*/ 373 w 382"/>
                <a:gd name="T29" fmla="*/ 183 h 300"/>
                <a:gd name="T30" fmla="*/ 382 w 382"/>
                <a:gd name="T31" fmla="*/ 170 h 300"/>
                <a:gd name="T32" fmla="*/ 360 w 382"/>
                <a:gd name="T33" fmla="*/ 145 h 300"/>
                <a:gd name="T34" fmla="*/ 364 w 382"/>
                <a:gd name="T35" fmla="*/ 126 h 300"/>
                <a:gd name="T36" fmla="*/ 310 w 382"/>
                <a:gd name="T37" fmla="*/ 104 h 300"/>
                <a:gd name="T38" fmla="*/ 312 w 382"/>
                <a:gd name="T39" fmla="*/ 87 h 300"/>
                <a:gd name="T40" fmla="*/ 289 w 382"/>
                <a:gd name="T41" fmla="*/ 72 h 300"/>
                <a:gd name="T42" fmla="*/ 277 w 382"/>
                <a:gd name="T43" fmla="*/ 32 h 300"/>
                <a:gd name="T44" fmla="*/ 260 w 382"/>
                <a:gd name="T45" fmla="*/ 2 h 300"/>
                <a:gd name="T46" fmla="*/ 215 w 382"/>
                <a:gd name="T47" fmla="*/ 12 h 300"/>
                <a:gd name="T48" fmla="*/ 190 w 382"/>
                <a:gd name="T49" fmla="*/ 28 h 300"/>
                <a:gd name="T50" fmla="*/ 169 w 382"/>
                <a:gd name="T51" fmla="*/ 50 h 300"/>
                <a:gd name="T52" fmla="*/ 125 w 382"/>
                <a:gd name="T53" fmla="*/ 72 h 300"/>
                <a:gd name="T54" fmla="*/ 112 w 382"/>
                <a:gd name="T55" fmla="*/ 96 h 300"/>
                <a:gd name="T56" fmla="*/ 76 w 382"/>
                <a:gd name="T57" fmla="*/ 82 h 300"/>
                <a:gd name="T58" fmla="*/ 69 w 382"/>
                <a:gd name="T59" fmla="*/ 121 h 300"/>
                <a:gd name="T60" fmla="*/ 57 w 382"/>
                <a:gd name="T61" fmla="*/ 145 h 300"/>
                <a:gd name="T62" fmla="*/ 48 w 382"/>
                <a:gd name="T63" fmla="*/ 161 h 300"/>
                <a:gd name="T64" fmla="*/ 8 w 382"/>
                <a:gd name="T65" fmla="*/ 173 h 300"/>
                <a:gd name="T66" fmla="*/ 15 w 382"/>
                <a:gd name="T67" fmla="*/ 209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82" h="300">
                  <a:moveTo>
                    <a:pt x="0" y="209"/>
                  </a:moveTo>
                  <a:cubicBezTo>
                    <a:pt x="3" y="246"/>
                    <a:pt x="3" y="246"/>
                    <a:pt x="3" y="246"/>
                  </a:cubicBezTo>
                  <a:cubicBezTo>
                    <a:pt x="6" y="260"/>
                    <a:pt x="6" y="260"/>
                    <a:pt x="6" y="260"/>
                  </a:cubicBezTo>
                  <a:cubicBezTo>
                    <a:pt x="19" y="256"/>
                    <a:pt x="19" y="256"/>
                    <a:pt x="19" y="256"/>
                  </a:cubicBezTo>
                  <a:cubicBezTo>
                    <a:pt x="19" y="256"/>
                    <a:pt x="29" y="287"/>
                    <a:pt x="39" y="288"/>
                  </a:cubicBezTo>
                  <a:cubicBezTo>
                    <a:pt x="49" y="289"/>
                    <a:pt x="59" y="293"/>
                    <a:pt x="59" y="293"/>
                  </a:cubicBezTo>
                  <a:cubicBezTo>
                    <a:pt x="59" y="293"/>
                    <a:pt x="70" y="271"/>
                    <a:pt x="100" y="275"/>
                  </a:cubicBezTo>
                  <a:cubicBezTo>
                    <a:pt x="130" y="279"/>
                    <a:pt x="124" y="300"/>
                    <a:pt x="124" y="300"/>
                  </a:cubicBezTo>
                  <a:cubicBezTo>
                    <a:pt x="136" y="298"/>
                    <a:pt x="136" y="298"/>
                    <a:pt x="136" y="298"/>
                  </a:cubicBezTo>
                  <a:cubicBezTo>
                    <a:pt x="132" y="299"/>
                    <a:pt x="132" y="299"/>
                    <a:pt x="132" y="299"/>
                  </a:cubicBezTo>
                  <a:cubicBezTo>
                    <a:pt x="131" y="263"/>
                    <a:pt x="131" y="263"/>
                    <a:pt x="131" y="263"/>
                  </a:cubicBezTo>
                  <a:cubicBezTo>
                    <a:pt x="130" y="245"/>
                    <a:pt x="130" y="245"/>
                    <a:pt x="130" y="245"/>
                  </a:cubicBezTo>
                  <a:cubicBezTo>
                    <a:pt x="130" y="245"/>
                    <a:pt x="124" y="244"/>
                    <a:pt x="124" y="236"/>
                  </a:cubicBezTo>
                  <a:cubicBezTo>
                    <a:pt x="124" y="228"/>
                    <a:pt x="132" y="219"/>
                    <a:pt x="132" y="219"/>
                  </a:cubicBezTo>
                  <a:cubicBezTo>
                    <a:pt x="187" y="222"/>
                    <a:pt x="187" y="222"/>
                    <a:pt x="187" y="222"/>
                  </a:cubicBezTo>
                  <a:cubicBezTo>
                    <a:pt x="192" y="219"/>
                    <a:pt x="192" y="219"/>
                    <a:pt x="192" y="219"/>
                  </a:cubicBezTo>
                  <a:cubicBezTo>
                    <a:pt x="204" y="222"/>
                    <a:pt x="204" y="222"/>
                    <a:pt x="204" y="222"/>
                  </a:cubicBezTo>
                  <a:cubicBezTo>
                    <a:pt x="215" y="219"/>
                    <a:pt x="215" y="219"/>
                    <a:pt x="215" y="219"/>
                  </a:cubicBezTo>
                  <a:cubicBezTo>
                    <a:pt x="235" y="222"/>
                    <a:pt x="235" y="222"/>
                    <a:pt x="235" y="222"/>
                  </a:cubicBezTo>
                  <a:cubicBezTo>
                    <a:pt x="251" y="212"/>
                    <a:pt x="251" y="212"/>
                    <a:pt x="251" y="212"/>
                  </a:cubicBezTo>
                  <a:cubicBezTo>
                    <a:pt x="265" y="216"/>
                    <a:pt x="265" y="216"/>
                    <a:pt x="265" y="216"/>
                  </a:cubicBezTo>
                  <a:cubicBezTo>
                    <a:pt x="276" y="215"/>
                    <a:pt x="276" y="215"/>
                    <a:pt x="276" y="215"/>
                  </a:cubicBezTo>
                  <a:cubicBezTo>
                    <a:pt x="291" y="222"/>
                    <a:pt x="291" y="222"/>
                    <a:pt x="291" y="222"/>
                  </a:cubicBezTo>
                  <a:cubicBezTo>
                    <a:pt x="305" y="221"/>
                    <a:pt x="305" y="221"/>
                    <a:pt x="305" y="221"/>
                  </a:cubicBezTo>
                  <a:cubicBezTo>
                    <a:pt x="310" y="214"/>
                    <a:pt x="310" y="214"/>
                    <a:pt x="310" y="214"/>
                  </a:cubicBezTo>
                  <a:cubicBezTo>
                    <a:pt x="318" y="214"/>
                    <a:pt x="318" y="214"/>
                    <a:pt x="318" y="214"/>
                  </a:cubicBezTo>
                  <a:cubicBezTo>
                    <a:pt x="318" y="214"/>
                    <a:pt x="320" y="200"/>
                    <a:pt x="331" y="195"/>
                  </a:cubicBezTo>
                  <a:cubicBezTo>
                    <a:pt x="331" y="196"/>
                    <a:pt x="357" y="197"/>
                    <a:pt x="357" y="197"/>
                  </a:cubicBezTo>
                  <a:cubicBezTo>
                    <a:pt x="357" y="197"/>
                    <a:pt x="358" y="190"/>
                    <a:pt x="362" y="187"/>
                  </a:cubicBezTo>
                  <a:cubicBezTo>
                    <a:pt x="366" y="184"/>
                    <a:pt x="373" y="183"/>
                    <a:pt x="373" y="183"/>
                  </a:cubicBezTo>
                  <a:cubicBezTo>
                    <a:pt x="376" y="172"/>
                    <a:pt x="376" y="172"/>
                    <a:pt x="376" y="172"/>
                  </a:cubicBezTo>
                  <a:cubicBezTo>
                    <a:pt x="382" y="170"/>
                    <a:pt x="382" y="170"/>
                    <a:pt x="382" y="170"/>
                  </a:cubicBezTo>
                  <a:cubicBezTo>
                    <a:pt x="375" y="167"/>
                    <a:pt x="375" y="167"/>
                    <a:pt x="375" y="167"/>
                  </a:cubicBezTo>
                  <a:cubicBezTo>
                    <a:pt x="360" y="145"/>
                    <a:pt x="360" y="145"/>
                    <a:pt x="360" y="145"/>
                  </a:cubicBezTo>
                  <a:cubicBezTo>
                    <a:pt x="375" y="140"/>
                    <a:pt x="375" y="140"/>
                    <a:pt x="375" y="140"/>
                  </a:cubicBezTo>
                  <a:cubicBezTo>
                    <a:pt x="375" y="140"/>
                    <a:pt x="373" y="130"/>
                    <a:pt x="364" y="126"/>
                  </a:cubicBezTo>
                  <a:cubicBezTo>
                    <a:pt x="355" y="122"/>
                    <a:pt x="356" y="131"/>
                    <a:pt x="344" y="131"/>
                  </a:cubicBezTo>
                  <a:cubicBezTo>
                    <a:pt x="332" y="131"/>
                    <a:pt x="313" y="109"/>
                    <a:pt x="310" y="104"/>
                  </a:cubicBezTo>
                  <a:cubicBezTo>
                    <a:pt x="307" y="99"/>
                    <a:pt x="322" y="88"/>
                    <a:pt x="322" y="88"/>
                  </a:cubicBezTo>
                  <a:cubicBezTo>
                    <a:pt x="312" y="87"/>
                    <a:pt x="312" y="87"/>
                    <a:pt x="312" y="87"/>
                  </a:cubicBezTo>
                  <a:cubicBezTo>
                    <a:pt x="311" y="78"/>
                    <a:pt x="311" y="78"/>
                    <a:pt x="311" y="78"/>
                  </a:cubicBezTo>
                  <a:cubicBezTo>
                    <a:pt x="311" y="78"/>
                    <a:pt x="299" y="79"/>
                    <a:pt x="289" y="72"/>
                  </a:cubicBezTo>
                  <a:cubicBezTo>
                    <a:pt x="279" y="65"/>
                    <a:pt x="280" y="41"/>
                    <a:pt x="280" y="41"/>
                  </a:cubicBezTo>
                  <a:cubicBezTo>
                    <a:pt x="277" y="32"/>
                    <a:pt x="277" y="32"/>
                    <a:pt x="277" y="32"/>
                  </a:cubicBezTo>
                  <a:cubicBezTo>
                    <a:pt x="276" y="9"/>
                    <a:pt x="276" y="9"/>
                    <a:pt x="276" y="9"/>
                  </a:cubicBezTo>
                  <a:cubicBezTo>
                    <a:pt x="260" y="2"/>
                    <a:pt x="260" y="2"/>
                    <a:pt x="260" y="2"/>
                  </a:cubicBezTo>
                  <a:cubicBezTo>
                    <a:pt x="227" y="0"/>
                    <a:pt x="227" y="0"/>
                    <a:pt x="227" y="0"/>
                  </a:cubicBezTo>
                  <a:cubicBezTo>
                    <a:pt x="227" y="0"/>
                    <a:pt x="225" y="8"/>
                    <a:pt x="215" y="12"/>
                  </a:cubicBezTo>
                  <a:cubicBezTo>
                    <a:pt x="205" y="16"/>
                    <a:pt x="201" y="14"/>
                    <a:pt x="201" y="14"/>
                  </a:cubicBezTo>
                  <a:cubicBezTo>
                    <a:pt x="190" y="28"/>
                    <a:pt x="190" y="28"/>
                    <a:pt x="190" y="28"/>
                  </a:cubicBezTo>
                  <a:cubicBezTo>
                    <a:pt x="173" y="28"/>
                    <a:pt x="173" y="28"/>
                    <a:pt x="173" y="28"/>
                  </a:cubicBezTo>
                  <a:cubicBezTo>
                    <a:pt x="173" y="28"/>
                    <a:pt x="172" y="49"/>
                    <a:pt x="169" y="50"/>
                  </a:cubicBezTo>
                  <a:cubicBezTo>
                    <a:pt x="166" y="51"/>
                    <a:pt x="154" y="39"/>
                    <a:pt x="148" y="41"/>
                  </a:cubicBezTo>
                  <a:cubicBezTo>
                    <a:pt x="142" y="43"/>
                    <a:pt x="125" y="72"/>
                    <a:pt x="125" y="72"/>
                  </a:cubicBezTo>
                  <a:cubicBezTo>
                    <a:pt x="112" y="72"/>
                    <a:pt x="112" y="72"/>
                    <a:pt x="112" y="72"/>
                  </a:cubicBezTo>
                  <a:cubicBezTo>
                    <a:pt x="112" y="96"/>
                    <a:pt x="112" y="96"/>
                    <a:pt x="112" y="96"/>
                  </a:cubicBezTo>
                  <a:cubicBezTo>
                    <a:pt x="97" y="101"/>
                    <a:pt x="97" y="101"/>
                    <a:pt x="97" y="101"/>
                  </a:cubicBezTo>
                  <a:cubicBezTo>
                    <a:pt x="76" y="82"/>
                    <a:pt x="76" y="82"/>
                    <a:pt x="76" y="82"/>
                  </a:cubicBezTo>
                  <a:cubicBezTo>
                    <a:pt x="63" y="102"/>
                    <a:pt x="63" y="102"/>
                    <a:pt x="63" y="102"/>
                  </a:cubicBezTo>
                  <a:cubicBezTo>
                    <a:pt x="63" y="102"/>
                    <a:pt x="71" y="116"/>
                    <a:pt x="69" y="121"/>
                  </a:cubicBezTo>
                  <a:cubicBezTo>
                    <a:pt x="67" y="126"/>
                    <a:pt x="55" y="124"/>
                    <a:pt x="55" y="124"/>
                  </a:cubicBezTo>
                  <a:cubicBezTo>
                    <a:pt x="55" y="124"/>
                    <a:pt x="60" y="141"/>
                    <a:pt x="57" y="145"/>
                  </a:cubicBezTo>
                  <a:cubicBezTo>
                    <a:pt x="54" y="149"/>
                    <a:pt x="47" y="150"/>
                    <a:pt x="47" y="150"/>
                  </a:cubicBezTo>
                  <a:cubicBezTo>
                    <a:pt x="47" y="150"/>
                    <a:pt x="60" y="160"/>
                    <a:pt x="48" y="161"/>
                  </a:cubicBezTo>
                  <a:cubicBezTo>
                    <a:pt x="36" y="162"/>
                    <a:pt x="21" y="165"/>
                    <a:pt x="21" y="165"/>
                  </a:cubicBezTo>
                  <a:cubicBezTo>
                    <a:pt x="8" y="173"/>
                    <a:pt x="8" y="173"/>
                    <a:pt x="8" y="173"/>
                  </a:cubicBezTo>
                  <a:cubicBezTo>
                    <a:pt x="23" y="194"/>
                    <a:pt x="23" y="194"/>
                    <a:pt x="23" y="194"/>
                  </a:cubicBezTo>
                  <a:cubicBezTo>
                    <a:pt x="15" y="209"/>
                    <a:pt x="15" y="209"/>
                    <a:pt x="15" y="209"/>
                  </a:cubicBezTo>
                  <a:lnTo>
                    <a:pt x="0" y="209"/>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61" name="Freeform 122"/>
            <p:cNvSpPr>
              <a:spLocks/>
            </p:cNvSpPr>
            <p:nvPr/>
          </p:nvSpPr>
          <p:spPr bwMode="gray">
            <a:xfrm>
              <a:off x="4011613" y="3652838"/>
              <a:ext cx="163512" cy="192088"/>
            </a:xfrm>
            <a:custGeom>
              <a:avLst/>
              <a:gdLst>
                <a:gd name="T0" fmla="*/ 266 w 291"/>
                <a:gd name="T1" fmla="*/ 269 h 343"/>
                <a:gd name="T2" fmla="*/ 253 w 291"/>
                <a:gd name="T3" fmla="*/ 219 h 343"/>
                <a:gd name="T4" fmla="*/ 273 w 291"/>
                <a:gd name="T5" fmla="*/ 187 h 343"/>
                <a:gd name="T6" fmla="*/ 274 w 291"/>
                <a:gd name="T7" fmla="*/ 157 h 343"/>
                <a:gd name="T8" fmla="*/ 291 w 291"/>
                <a:gd name="T9" fmla="*/ 130 h 343"/>
                <a:gd name="T10" fmla="*/ 279 w 291"/>
                <a:gd name="T11" fmla="*/ 84 h 343"/>
                <a:gd name="T12" fmla="*/ 287 w 291"/>
                <a:gd name="T13" fmla="*/ 83 h 343"/>
                <a:gd name="T14" fmla="*/ 283 w 291"/>
                <a:gd name="T15" fmla="*/ 64 h 343"/>
                <a:gd name="T16" fmla="*/ 271 w 291"/>
                <a:gd name="T17" fmla="*/ 66 h 343"/>
                <a:gd name="T18" fmla="*/ 247 w 291"/>
                <a:gd name="T19" fmla="*/ 41 h 343"/>
                <a:gd name="T20" fmla="*/ 206 w 291"/>
                <a:gd name="T21" fmla="*/ 59 h 343"/>
                <a:gd name="T22" fmla="*/ 186 w 291"/>
                <a:gd name="T23" fmla="*/ 54 h 343"/>
                <a:gd name="T24" fmla="*/ 166 w 291"/>
                <a:gd name="T25" fmla="*/ 22 h 343"/>
                <a:gd name="T26" fmla="*/ 153 w 291"/>
                <a:gd name="T27" fmla="*/ 26 h 343"/>
                <a:gd name="T28" fmla="*/ 150 w 291"/>
                <a:gd name="T29" fmla="*/ 12 h 343"/>
                <a:gd name="T30" fmla="*/ 131 w 291"/>
                <a:gd name="T31" fmla="*/ 26 h 343"/>
                <a:gd name="T32" fmla="*/ 116 w 291"/>
                <a:gd name="T33" fmla="*/ 24 h 343"/>
                <a:gd name="T34" fmla="*/ 116 w 291"/>
                <a:gd name="T35" fmla="*/ 0 h 343"/>
                <a:gd name="T36" fmla="*/ 108 w 291"/>
                <a:gd name="T37" fmla="*/ 13 h 343"/>
                <a:gd name="T38" fmla="*/ 99 w 291"/>
                <a:gd name="T39" fmla="*/ 1 h 343"/>
                <a:gd name="T40" fmla="*/ 95 w 291"/>
                <a:gd name="T41" fmla="*/ 19 h 343"/>
                <a:gd name="T42" fmla="*/ 85 w 291"/>
                <a:gd name="T43" fmla="*/ 19 h 343"/>
                <a:gd name="T44" fmla="*/ 81 w 291"/>
                <a:gd name="T45" fmla="*/ 31 h 343"/>
                <a:gd name="T46" fmla="*/ 55 w 291"/>
                <a:gd name="T47" fmla="*/ 15 h 343"/>
                <a:gd name="T48" fmla="*/ 42 w 291"/>
                <a:gd name="T49" fmla="*/ 30 h 343"/>
                <a:gd name="T50" fmla="*/ 36 w 291"/>
                <a:gd name="T51" fmla="*/ 27 h 343"/>
                <a:gd name="T52" fmla="*/ 23 w 291"/>
                <a:gd name="T53" fmla="*/ 41 h 343"/>
                <a:gd name="T54" fmla="*/ 28 w 291"/>
                <a:gd name="T55" fmla="*/ 68 h 343"/>
                <a:gd name="T56" fmla="*/ 40 w 291"/>
                <a:gd name="T57" fmla="*/ 69 h 343"/>
                <a:gd name="T58" fmla="*/ 33 w 291"/>
                <a:gd name="T59" fmla="*/ 82 h 343"/>
                <a:gd name="T60" fmla="*/ 43 w 291"/>
                <a:gd name="T61" fmla="*/ 86 h 343"/>
                <a:gd name="T62" fmla="*/ 34 w 291"/>
                <a:gd name="T63" fmla="*/ 103 h 343"/>
                <a:gd name="T64" fmla="*/ 50 w 291"/>
                <a:gd name="T65" fmla="*/ 113 h 343"/>
                <a:gd name="T66" fmla="*/ 49 w 291"/>
                <a:gd name="T67" fmla="*/ 126 h 343"/>
                <a:gd name="T68" fmla="*/ 19 w 291"/>
                <a:gd name="T69" fmla="*/ 122 h 343"/>
                <a:gd name="T70" fmla="*/ 37 w 291"/>
                <a:gd name="T71" fmla="*/ 145 h 343"/>
                <a:gd name="T72" fmla="*/ 25 w 291"/>
                <a:gd name="T73" fmla="*/ 148 h 343"/>
                <a:gd name="T74" fmla="*/ 25 w 291"/>
                <a:gd name="T75" fmla="*/ 169 h 343"/>
                <a:gd name="T76" fmla="*/ 2 w 291"/>
                <a:gd name="T77" fmla="*/ 162 h 343"/>
                <a:gd name="T78" fmla="*/ 15 w 291"/>
                <a:gd name="T79" fmla="*/ 196 h 343"/>
                <a:gd name="T80" fmla="*/ 1 w 291"/>
                <a:gd name="T81" fmla="*/ 228 h 343"/>
                <a:gd name="T82" fmla="*/ 14 w 291"/>
                <a:gd name="T83" fmla="*/ 230 h 343"/>
                <a:gd name="T84" fmla="*/ 14 w 291"/>
                <a:gd name="T85" fmla="*/ 240 h 343"/>
                <a:gd name="T86" fmla="*/ 38 w 291"/>
                <a:gd name="T87" fmla="*/ 236 h 343"/>
                <a:gd name="T88" fmla="*/ 39 w 291"/>
                <a:gd name="T89" fmla="*/ 253 h 343"/>
                <a:gd name="T90" fmla="*/ 60 w 291"/>
                <a:gd name="T91" fmla="*/ 282 h 343"/>
                <a:gd name="T92" fmla="*/ 50 w 291"/>
                <a:gd name="T93" fmla="*/ 316 h 343"/>
                <a:gd name="T94" fmla="*/ 51 w 291"/>
                <a:gd name="T95" fmla="*/ 343 h 343"/>
                <a:gd name="T96" fmla="*/ 66 w 291"/>
                <a:gd name="T97" fmla="*/ 331 h 343"/>
                <a:gd name="T98" fmla="*/ 75 w 291"/>
                <a:gd name="T99" fmla="*/ 331 h 343"/>
                <a:gd name="T100" fmla="*/ 85 w 291"/>
                <a:gd name="T101" fmla="*/ 323 h 343"/>
                <a:gd name="T102" fmla="*/ 151 w 291"/>
                <a:gd name="T103" fmla="*/ 300 h 343"/>
                <a:gd name="T104" fmla="*/ 178 w 291"/>
                <a:gd name="T105" fmla="*/ 296 h 343"/>
                <a:gd name="T106" fmla="*/ 218 w 291"/>
                <a:gd name="T107" fmla="*/ 290 h 343"/>
                <a:gd name="T108" fmla="*/ 236 w 291"/>
                <a:gd name="T109" fmla="*/ 299 h 343"/>
                <a:gd name="T110" fmla="*/ 256 w 291"/>
                <a:gd name="T111" fmla="*/ 289 h 343"/>
                <a:gd name="T112" fmla="*/ 273 w 291"/>
                <a:gd name="T113" fmla="*/ 306 h 343"/>
                <a:gd name="T114" fmla="*/ 285 w 291"/>
                <a:gd name="T115" fmla="*/ 310 h 343"/>
                <a:gd name="T116" fmla="*/ 284 w 291"/>
                <a:gd name="T117" fmla="*/ 275 h 343"/>
                <a:gd name="T118" fmla="*/ 266 w 291"/>
                <a:gd name="T119" fmla="*/ 269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1" h="343">
                  <a:moveTo>
                    <a:pt x="266" y="269"/>
                  </a:moveTo>
                  <a:cubicBezTo>
                    <a:pt x="266" y="269"/>
                    <a:pt x="253" y="233"/>
                    <a:pt x="253" y="219"/>
                  </a:cubicBezTo>
                  <a:cubicBezTo>
                    <a:pt x="253" y="205"/>
                    <a:pt x="273" y="187"/>
                    <a:pt x="273" y="187"/>
                  </a:cubicBezTo>
                  <a:cubicBezTo>
                    <a:pt x="273" y="187"/>
                    <a:pt x="274" y="165"/>
                    <a:pt x="274" y="157"/>
                  </a:cubicBezTo>
                  <a:cubicBezTo>
                    <a:pt x="274" y="149"/>
                    <a:pt x="291" y="142"/>
                    <a:pt x="291" y="130"/>
                  </a:cubicBezTo>
                  <a:cubicBezTo>
                    <a:pt x="291" y="118"/>
                    <a:pt x="279" y="84"/>
                    <a:pt x="279" y="84"/>
                  </a:cubicBezTo>
                  <a:cubicBezTo>
                    <a:pt x="287" y="83"/>
                    <a:pt x="287" y="83"/>
                    <a:pt x="287" y="83"/>
                  </a:cubicBezTo>
                  <a:cubicBezTo>
                    <a:pt x="283" y="64"/>
                    <a:pt x="283" y="64"/>
                    <a:pt x="283" y="64"/>
                  </a:cubicBezTo>
                  <a:cubicBezTo>
                    <a:pt x="271" y="66"/>
                    <a:pt x="271" y="66"/>
                    <a:pt x="271" y="66"/>
                  </a:cubicBezTo>
                  <a:cubicBezTo>
                    <a:pt x="271" y="66"/>
                    <a:pt x="277" y="45"/>
                    <a:pt x="247" y="41"/>
                  </a:cubicBezTo>
                  <a:cubicBezTo>
                    <a:pt x="217" y="37"/>
                    <a:pt x="206" y="59"/>
                    <a:pt x="206" y="59"/>
                  </a:cubicBezTo>
                  <a:cubicBezTo>
                    <a:pt x="206" y="59"/>
                    <a:pt x="196" y="55"/>
                    <a:pt x="186" y="54"/>
                  </a:cubicBezTo>
                  <a:cubicBezTo>
                    <a:pt x="176" y="53"/>
                    <a:pt x="166" y="22"/>
                    <a:pt x="166" y="22"/>
                  </a:cubicBezTo>
                  <a:cubicBezTo>
                    <a:pt x="153" y="26"/>
                    <a:pt x="153" y="26"/>
                    <a:pt x="153" y="26"/>
                  </a:cubicBezTo>
                  <a:cubicBezTo>
                    <a:pt x="150" y="12"/>
                    <a:pt x="150" y="12"/>
                    <a:pt x="150" y="12"/>
                  </a:cubicBezTo>
                  <a:cubicBezTo>
                    <a:pt x="135" y="12"/>
                    <a:pt x="131" y="26"/>
                    <a:pt x="131" y="26"/>
                  </a:cubicBezTo>
                  <a:cubicBezTo>
                    <a:pt x="116" y="24"/>
                    <a:pt x="116" y="24"/>
                    <a:pt x="116" y="24"/>
                  </a:cubicBezTo>
                  <a:cubicBezTo>
                    <a:pt x="116" y="0"/>
                    <a:pt x="116" y="0"/>
                    <a:pt x="116" y="0"/>
                  </a:cubicBezTo>
                  <a:cubicBezTo>
                    <a:pt x="108" y="13"/>
                    <a:pt x="108" y="13"/>
                    <a:pt x="108" y="13"/>
                  </a:cubicBezTo>
                  <a:cubicBezTo>
                    <a:pt x="99" y="1"/>
                    <a:pt x="99" y="1"/>
                    <a:pt x="99" y="1"/>
                  </a:cubicBezTo>
                  <a:cubicBezTo>
                    <a:pt x="95" y="19"/>
                    <a:pt x="95" y="19"/>
                    <a:pt x="95" y="19"/>
                  </a:cubicBezTo>
                  <a:cubicBezTo>
                    <a:pt x="85" y="19"/>
                    <a:pt x="85" y="19"/>
                    <a:pt x="85" y="19"/>
                  </a:cubicBezTo>
                  <a:cubicBezTo>
                    <a:pt x="81" y="31"/>
                    <a:pt x="81" y="31"/>
                    <a:pt x="81" y="31"/>
                  </a:cubicBezTo>
                  <a:cubicBezTo>
                    <a:pt x="81" y="31"/>
                    <a:pt x="71" y="17"/>
                    <a:pt x="55" y="15"/>
                  </a:cubicBezTo>
                  <a:cubicBezTo>
                    <a:pt x="39" y="13"/>
                    <a:pt x="42" y="30"/>
                    <a:pt x="42" y="30"/>
                  </a:cubicBezTo>
                  <a:cubicBezTo>
                    <a:pt x="36" y="27"/>
                    <a:pt x="36" y="27"/>
                    <a:pt x="36" y="27"/>
                  </a:cubicBezTo>
                  <a:cubicBezTo>
                    <a:pt x="23" y="41"/>
                    <a:pt x="23" y="41"/>
                    <a:pt x="23" y="41"/>
                  </a:cubicBezTo>
                  <a:cubicBezTo>
                    <a:pt x="28" y="68"/>
                    <a:pt x="28" y="68"/>
                    <a:pt x="28" y="68"/>
                  </a:cubicBezTo>
                  <a:cubicBezTo>
                    <a:pt x="40" y="69"/>
                    <a:pt x="40" y="69"/>
                    <a:pt x="40" y="69"/>
                  </a:cubicBezTo>
                  <a:cubicBezTo>
                    <a:pt x="33" y="82"/>
                    <a:pt x="33" y="82"/>
                    <a:pt x="33" y="82"/>
                  </a:cubicBezTo>
                  <a:cubicBezTo>
                    <a:pt x="43" y="86"/>
                    <a:pt x="43" y="86"/>
                    <a:pt x="43" y="86"/>
                  </a:cubicBezTo>
                  <a:cubicBezTo>
                    <a:pt x="43" y="86"/>
                    <a:pt x="33" y="95"/>
                    <a:pt x="34" y="103"/>
                  </a:cubicBezTo>
                  <a:cubicBezTo>
                    <a:pt x="35" y="111"/>
                    <a:pt x="50" y="106"/>
                    <a:pt x="50" y="113"/>
                  </a:cubicBezTo>
                  <a:cubicBezTo>
                    <a:pt x="50" y="120"/>
                    <a:pt x="49" y="126"/>
                    <a:pt x="49" y="126"/>
                  </a:cubicBezTo>
                  <a:cubicBezTo>
                    <a:pt x="49" y="126"/>
                    <a:pt x="19" y="112"/>
                    <a:pt x="19" y="122"/>
                  </a:cubicBezTo>
                  <a:cubicBezTo>
                    <a:pt x="19" y="132"/>
                    <a:pt x="37" y="145"/>
                    <a:pt x="37" y="145"/>
                  </a:cubicBezTo>
                  <a:cubicBezTo>
                    <a:pt x="25" y="148"/>
                    <a:pt x="25" y="148"/>
                    <a:pt x="25" y="148"/>
                  </a:cubicBezTo>
                  <a:cubicBezTo>
                    <a:pt x="25" y="148"/>
                    <a:pt x="32" y="166"/>
                    <a:pt x="25" y="169"/>
                  </a:cubicBezTo>
                  <a:cubicBezTo>
                    <a:pt x="19" y="171"/>
                    <a:pt x="9" y="164"/>
                    <a:pt x="2" y="162"/>
                  </a:cubicBezTo>
                  <a:cubicBezTo>
                    <a:pt x="7" y="172"/>
                    <a:pt x="15" y="186"/>
                    <a:pt x="15" y="196"/>
                  </a:cubicBezTo>
                  <a:cubicBezTo>
                    <a:pt x="15" y="211"/>
                    <a:pt x="0" y="225"/>
                    <a:pt x="1" y="228"/>
                  </a:cubicBezTo>
                  <a:cubicBezTo>
                    <a:pt x="2" y="231"/>
                    <a:pt x="14" y="230"/>
                    <a:pt x="14" y="230"/>
                  </a:cubicBezTo>
                  <a:cubicBezTo>
                    <a:pt x="14" y="240"/>
                    <a:pt x="14" y="240"/>
                    <a:pt x="14" y="240"/>
                  </a:cubicBezTo>
                  <a:cubicBezTo>
                    <a:pt x="38" y="236"/>
                    <a:pt x="38" y="236"/>
                    <a:pt x="38" y="236"/>
                  </a:cubicBezTo>
                  <a:cubicBezTo>
                    <a:pt x="39" y="253"/>
                    <a:pt x="39" y="253"/>
                    <a:pt x="39" y="253"/>
                  </a:cubicBezTo>
                  <a:cubicBezTo>
                    <a:pt x="39" y="253"/>
                    <a:pt x="60" y="269"/>
                    <a:pt x="60" y="282"/>
                  </a:cubicBezTo>
                  <a:cubicBezTo>
                    <a:pt x="60" y="295"/>
                    <a:pt x="50" y="316"/>
                    <a:pt x="50" y="316"/>
                  </a:cubicBezTo>
                  <a:cubicBezTo>
                    <a:pt x="51" y="343"/>
                    <a:pt x="51" y="343"/>
                    <a:pt x="51" y="343"/>
                  </a:cubicBezTo>
                  <a:cubicBezTo>
                    <a:pt x="63" y="341"/>
                    <a:pt x="66" y="331"/>
                    <a:pt x="66" y="331"/>
                  </a:cubicBezTo>
                  <a:cubicBezTo>
                    <a:pt x="75" y="331"/>
                    <a:pt x="75" y="331"/>
                    <a:pt x="75" y="331"/>
                  </a:cubicBezTo>
                  <a:cubicBezTo>
                    <a:pt x="85" y="323"/>
                    <a:pt x="85" y="323"/>
                    <a:pt x="85" y="323"/>
                  </a:cubicBezTo>
                  <a:cubicBezTo>
                    <a:pt x="85" y="323"/>
                    <a:pt x="131" y="298"/>
                    <a:pt x="151" y="300"/>
                  </a:cubicBezTo>
                  <a:cubicBezTo>
                    <a:pt x="171" y="302"/>
                    <a:pt x="178" y="296"/>
                    <a:pt x="178" y="296"/>
                  </a:cubicBezTo>
                  <a:cubicBezTo>
                    <a:pt x="178" y="296"/>
                    <a:pt x="209" y="285"/>
                    <a:pt x="218" y="290"/>
                  </a:cubicBezTo>
                  <a:cubicBezTo>
                    <a:pt x="227" y="295"/>
                    <a:pt x="229" y="300"/>
                    <a:pt x="236" y="299"/>
                  </a:cubicBezTo>
                  <a:cubicBezTo>
                    <a:pt x="243" y="298"/>
                    <a:pt x="256" y="289"/>
                    <a:pt x="256" y="289"/>
                  </a:cubicBezTo>
                  <a:cubicBezTo>
                    <a:pt x="256" y="289"/>
                    <a:pt x="257" y="299"/>
                    <a:pt x="273" y="306"/>
                  </a:cubicBezTo>
                  <a:cubicBezTo>
                    <a:pt x="277" y="308"/>
                    <a:pt x="281" y="309"/>
                    <a:pt x="285" y="310"/>
                  </a:cubicBezTo>
                  <a:cubicBezTo>
                    <a:pt x="284" y="275"/>
                    <a:pt x="284" y="275"/>
                    <a:pt x="284" y="275"/>
                  </a:cubicBezTo>
                  <a:lnTo>
                    <a:pt x="266" y="269"/>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62" name="Freeform 123"/>
            <p:cNvSpPr>
              <a:spLocks/>
            </p:cNvSpPr>
            <p:nvPr/>
          </p:nvSpPr>
          <p:spPr bwMode="gray">
            <a:xfrm>
              <a:off x="4249738" y="3268663"/>
              <a:ext cx="414337" cy="352425"/>
            </a:xfrm>
            <a:custGeom>
              <a:avLst/>
              <a:gdLst>
                <a:gd name="T0" fmla="*/ 36 w 741"/>
                <a:gd name="T1" fmla="*/ 540 h 628"/>
                <a:gd name="T2" fmla="*/ 34 w 741"/>
                <a:gd name="T3" fmla="*/ 557 h 628"/>
                <a:gd name="T4" fmla="*/ 88 w 741"/>
                <a:gd name="T5" fmla="*/ 579 h 628"/>
                <a:gd name="T6" fmla="*/ 84 w 741"/>
                <a:gd name="T7" fmla="*/ 598 h 628"/>
                <a:gd name="T8" fmla="*/ 102 w 741"/>
                <a:gd name="T9" fmla="*/ 604 h 628"/>
                <a:gd name="T10" fmla="*/ 141 w 741"/>
                <a:gd name="T11" fmla="*/ 619 h 628"/>
                <a:gd name="T12" fmla="*/ 159 w 741"/>
                <a:gd name="T13" fmla="*/ 594 h 628"/>
                <a:gd name="T14" fmla="*/ 183 w 741"/>
                <a:gd name="T15" fmla="*/ 542 h 628"/>
                <a:gd name="T16" fmla="*/ 236 w 741"/>
                <a:gd name="T17" fmla="*/ 526 h 628"/>
                <a:gd name="T18" fmla="*/ 269 w 741"/>
                <a:gd name="T19" fmla="*/ 529 h 628"/>
                <a:gd name="T20" fmla="*/ 305 w 741"/>
                <a:gd name="T21" fmla="*/ 544 h 628"/>
                <a:gd name="T22" fmla="*/ 364 w 741"/>
                <a:gd name="T23" fmla="*/ 544 h 628"/>
                <a:gd name="T24" fmla="*/ 442 w 741"/>
                <a:gd name="T25" fmla="*/ 578 h 628"/>
                <a:gd name="T26" fmla="*/ 554 w 741"/>
                <a:gd name="T27" fmla="*/ 557 h 628"/>
                <a:gd name="T28" fmla="*/ 597 w 741"/>
                <a:gd name="T29" fmla="*/ 541 h 628"/>
                <a:gd name="T30" fmla="*/ 621 w 741"/>
                <a:gd name="T31" fmla="*/ 526 h 628"/>
                <a:gd name="T32" fmla="*/ 621 w 741"/>
                <a:gd name="T33" fmla="*/ 484 h 628"/>
                <a:gd name="T34" fmla="*/ 656 w 741"/>
                <a:gd name="T35" fmla="*/ 426 h 628"/>
                <a:gd name="T36" fmla="*/ 727 w 741"/>
                <a:gd name="T37" fmla="*/ 194 h 628"/>
                <a:gd name="T38" fmla="*/ 721 w 741"/>
                <a:gd name="T39" fmla="*/ 145 h 628"/>
                <a:gd name="T40" fmla="*/ 697 w 741"/>
                <a:gd name="T41" fmla="*/ 105 h 628"/>
                <a:gd name="T42" fmla="*/ 692 w 741"/>
                <a:gd name="T43" fmla="*/ 28 h 628"/>
                <a:gd name="T44" fmla="*/ 623 w 741"/>
                <a:gd name="T45" fmla="*/ 16 h 628"/>
                <a:gd name="T46" fmla="*/ 551 w 741"/>
                <a:gd name="T47" fmla="*/ 0 h 628"/>
                <a:gd name="T48" fmla="*/ 261 w 741"/>
                <a:gd name="T49" fmla="*/ 221 h 628"/>
                <a:gd name="T50" fmla="*/ 190 w 741"/>
                <a:gd name="T51" fmla="*/ 372 h 628"/>
                <a:gd name="T52" fmla="*/ 160 w 741"/>
                <a:gd name="T53" fmla="*/ 427 h 628"/>
                <a:gd name="T54" fmla="*/ 124 w 741"/>
                <a:gd name="T55" fmla="*/ 437 h 628"/>
                <a:gd name="T56" fmla="*/ 92 w 741"/>
                <a:gd name="T57" fmla="*/ 444 h 628"/>
                <a:gd name="T58" fmla="*/ 32 w 741"/>
                <a:gd name="T59" fmla="*/ 455 h 628"/>
                <a:gd name="T60" fmla="*/ 1 w 741"/>
                <a:gd name="T61" fmla="*/ 485 h 628"/>
                <a:gd name="T62" fmla="*/ 13 w 741"/>
                <a:gd name="T63" fmla="*/ 525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41" h="628">
                  <a:moveTo>
                    <a:pt x="35" y="531"/>
                  </a:moveTo>
                  <a:cubicBezTo>
                    <a:pt x="36" y="540"/>
                    <a:pt x="36" y="540"/>
                    <a:pt x="36" y="540"/>
                  </a:cubicBezTo>
                  <a:cubicBezTo>
                    <a:pt x="46" y="541"/>
                    <a:pt x="46" y="541"/>
                    <a:pt x="46" y="541"/>
                  </a:cubicBezTo>
                  <a:cubicBezTo>
                    <a:pt x="46" y="541"/>
                    <a:pt x="31" y="552"/>
                    <a:pt x="34" y="557"/>
                  </a:cubicBezTo>
                  <a:cubicBezTo>
                    <a:pt x="37" y="562"/>
                    <a:pt x="56" y="584"/>
                    <a:pt x="68" y="584"/>
                  </a:cubicBezTo>
                  <a:cubicBezTo>
                    <a:pt x="80" y="584"/>
                    <a:pt x="79" y="575"/>
                    <a:pt x="88" y="579"/>
                  </a:cubicBezTo>
                  <a:cubicBezTo>
                    <a:pt x="97" y="583"/>
                    <a:pt x="99" y="593"/>
                    <a:pt x="99" y="593"/>
                  </a:cubicBezTo>
                  <a:cubicBezTo>
                    <a:pt x="84" y="598"/>
                    <a:pt x="84" y="598"/>
                    <a:pt x="84" y="598"/>
                  </a:cubicBezTo>
                  <a:cubicBezTo>
                    <a:pt x="99" y="620"/>
                    <a:pt x="99" y="620"/>
                    <a:pt x="99" y="620"/>
                  </a:cubicBezTo>
                  <a:cubicBezTo>
                    <a:pt x="102" y="604"/>
                    <a:pt x="102" y="604"/>
                    <a:pt x="102" y="604"/>
                  </a:cubicBezTo>
                  <a:cubicBezTo>
                    <a:pt x="119" y="597"/>
                    <a:pt x="119" y="597"/>
                    <a:pt x="119" y="597"/>
                  </a:cubicBezTo>
                  <a:cubicBezTo>
                    <a:pt x="119" y="597"/>
                    <a:pt x="136" y="616"/>
                    <a:pt x="141" y="619"/>
                  </a:cubicBezTo>
                  <a:cubicBezTo>
                    <a:pt x="146" y="622"/>
                    <a:pt x="162" y="628"/>
                    <a:pt x="162" y="628"/>
                  </a:cubicBezTo>
                  <a:cubicBezTo>
                    <a:pt x="159" y="594"/>
                    <a:pt x="159" y="594"/>
                    <a:pt x="159" y="594"/>
                  </a:cubicBezTo>
                  <a:cubicBezTo>
                    <a:pt x="159" y="594"/>
                    <a:pt x="181" y="583"/>
                    <a:pt x="182" y="568"/>
                  </a:cubicBezTo>
                  <a:cubicBezTo>
                    <a:pt x="183" y="553"/>
                    <a:pt x="183" y="542"/>
                    <a:pt x="183" y="542"/>
                  </a:cubicBezTo>
                  <a:cubicBezTo>
                    <a:pt x="202" y="525"/>
                    <a:pt x="202" y="525"/>
                    <a:pt x="202" y="525"/>
                  </a:cubicBezTo>
                  <a:cubicBezTo>
                    <a:pt x="236" y="526"/>
                    <a:pt x="236" y="526"/>
                    <a:pt x="236" y="526"/>
                  </a:cubicBezTo>
                  <a:cubicBezTo>
                    <a:pt x="236" y="526"/>
                    <a:pt x="235" y="520"/>
                    <a:pt x="249" y="519"/>
                  </a:cubicBezTo>
                  <a:cubicBezTo>
                    <a:pt x="263" y="518"/>
                    <a:pt x="262" y="528"/>
                    <a:pt x="269" y="529"/>
                  </a:cubicBezTo>
                  <a:cubicBezTo>
                    <a:pt x="276" y="530"/>
                    <a:pt x="288" y="530"/>
                    <a:pt x="288" y="530"/>
                  </a:cubicBezTo>
                  <a:cubicBezTo>
                    <a:pt x="305" y="544"/>
                    <a:pt x="305" y="544"/>
                    <a:pt x="305" y="544"/>
                  </a:cubicBezTo>
                  <a:cubicBezTo>
                    <a:pt x="305" y="544"/>
                    <a:pt x="310" y="566"/>
                    <a:pt x="319" y="565"/>
                  </a:cubicBezTo>
                  <a:cubicBezTo>
                    <a:pt x="328" y="564"/>
                    <a:pt x="352" y="544"/>
                    <a:pt x="364" y="544"/>
                  </a:cubicBezTo>
                  <a:cubicBezTo>
                    <a:pt x="376" y="544"/>
                    <a:pt x="388" y="572"/>
                    <a:pt x="407" y="573"/>
                  </a:cubicBezTo>
                  <a:cubicBezTo>
                    <a:pt x="426" y="574"/>
                    <a:pt x="442" y="578"/>
                    <a:pt x="442" y="578"/>
                  </a:cubicBezTo>
                  <a:cubicBezTo>
                    <a:pt x="442" y="578"/>
                    <a:pt x="454" y="543"/>
                    <a:pt x="496" y="543"/>
                  </a:cubicBezTo>
                  <a:cubicBezTo>
                    <a:pt x="538" y="543"/>
                    <a:pt x="554" y="557"/>
                    <a:pt x="554" y="557"/>
                  </a:cubicBezTo>
                  <a:cubicBezTo>
                    <a:pt x="572" y="558"/>
                    <a:pt x="572" y="558"/>
                    <a:pt x="572" y="558"/>
                  </a:cubicBezTo>
                  <a:cubicBezTo>
                    <a:pt x="572" y="558"/>
                    <a:pt x="590" y="545"/>
                    <a:pt x="597" y="541"/>
                  </a:cubicBezTo>
                  <a:cubicBezTo>
                    <a:pt x="604" y="537"/>
                    <a:pt x="613" y="540"/>
                    <a:pt x="613" y="540"/>
                  </a:cubicBezTo>
                  <a:cubicBezTo>
                    <a:pt x="613" y="540"/>
                    <a:pt x="617" y="526"/>
                    <a:pt x="621" y="526"/>
                  </a:cubicBezTo>
                  <a:cubicBezTo>
                    <a:pt x="622" y="526"/>
                    <a:pt x="623" y="526"/>
                    <a:pt x="624" y="526"/>
                  </a:cubicBezTo>
                  <a:cubicBezTo>
                    <a:pt x="621" y="484"/>
                    <a:pt x="621" y="484"/>
                    <a:pt x="621" y="484"/>
                  </a:cubicBezTo>
                  <a:cubicBezTo>
                    <a:pt x="634" y="479"/>
                    <a:pt x="634" y="479"/>
                    <a:pt x="634" y="479"/>
                  </a:cubicBezTo>
                  <a:cubicBezTo>
                    <a:pt x="634" y="479"/>
                    <a:pt x="644" y="442"/>
                    <a:pt x="656" y="426"/>
                  </a:cubicBezTo>
                  <a:cubicBezTo>
                    <a:pt x="667" y="409"/>
                    <a:pt x="717" y="356"/>
                    <a:pt x="717" y="356"/>
                  </a:cubicBezTo>
                  <a:cubicBezTo>
                    <a:pt x="727" y="194"/>
                    <a:pt x="727" y="194"/>
                    <a:pt x="727" y="194"/>
                  </a:cubicBezTo>
                  <a:cubicBezTo>
                    <a:pt x="741" y="169"/>
                    <a:pt x="741" y="169"/>
                    <a:pt x="741" y="169"/>
                  </a:cubicBezTo>
                  <a:cubicBezTo>
                    <a:pt x="721" y="145"/>
                    <a:pt x="721" y="145"/>
                    <a:pt x="721" y="145"/>
                  </a:cubicBezTo>
                  <a:cubicBezTo>
                    <a:pt x="716" y="129"/>
                    <a:pt x="716" y="129"/>
                    <a:pt x="716" y="129"/>
                  </a:cubicBezTo>
                  <a:cubicBezTo>
                    <a:pt x="697" y="105"/>
                    <a:pt x="697" y="105"/>
                    <a:pt x="697" y="105"/>
                  </a:cubicBezTo>
                  <a:cubicBezTo>
                    <a:pt x="704" y="72"/>
                    <a:pt x="704" y="72"/>
                    <a:pt x="704" y="72"/>
                  </a:cubicBezTo>
                  <a:cubicBezTo>
                    <a:pt x="692" y="28"/>
                    <a:pt x="692" y="28"/>
                    <a:pt x="692" y="28"/>
                  </a:cubicBezTo>
                  <a:cubicBezTo>
                    <a:pt x="676" y="37"/>
                    <a:pt x="662" y="44"/>
                    <a:pt x="657" y="45"/>
                  </a:cubicBezTo>
                  <a:cubicBezTo>
                    <a:pt x="646" y="46"/>
                    <a:pt x="630" y="18"/>
                    <a:pt x="623" y="16"/>
                  </a:cubicBezTo>
                  <a:cubicBezTo>
                    <a:pt x="616" y="14"/>
                    <a:pt x="576" y="6"/>
                    <a:pt x="576" y="6"/>
                  </a:cubicBezTo>
                  <a:cubicBezTo>
                    <a:pt x="551" y="0"/>
                    <a:pt x="551" y="0"/>
                    <a:pt x="551" y="0"/>
                  </a:cubicBezTo>
                  <a:cubicBezTo>
                    <a:pt x="551" y="0"/>
                    <a:pt x="364" y="136"/>
                    <a:pt x="342" y="151"/>
                  </a:cubicBezTo>
                  <a:cubicBezTo>
                    <a:pt x="320" y="166"/>
                    <a:pt x="275" y="219"/>
                    <a:pt x="261" y="221"/>
                  </a:cubicBezTo>
                  <a:cubicBezTo>
                    <a:pt x="251" y="222"/>
                    <a:pt x="210" y="231"/>
                    <a:pt x="190" y="235"/>
                  </a:cubicBezTo>
                  <a:cubicBezTo>
                    <a:pt x="190" y="372"/>
                    <a:pt x="190" y="372"/>
                    <a:pt x="190" y="372"/>
                  </a:cubicBezTo>
                  <a:cubicBezTo>
                    <a:pt x="175" y="387"/>
                    <a:pt x="175" y="387"/>
                    <a:pt x="175" y="387"/>
                  </a:cubicBezTo>
                  <a:cubicBezTo>
                    <a:pt x="175" y="387"/>
                    <a:pt x="175" y="420"/>
                    <a:pt x="160" y="427"/>
                  </a:cubicBezTo>
                  <a:cubicBezTo>
                    <a:pt x="138" y="438"/>
                    <a:pt x="131" y="432"/>
                    <a:pt x="131" y="432"/>
                  </a:cubicBezTo>
                  <a:cubicBezTo>
                    <a:pt x="124" y="437"/>
                    <a:pt x="124" y="437"/>
                    <a:pt x="124" y="437"/>
                  </a:cubicBezTo>
                  <a:cubicBezTo>
                    <a:pt x="93" y="435"/>
                    <a:pt x="93" y="435"/>
                    <a:pt x="93" y="435"/>
                  </a:cubicBezTo>
                  <a:cubicBezTo>
                    <a:pt x="92" y="444"/>
                    <a:pt x="92" y="444"/>
                    <a:pt x="92" y="444"/>
                  </a:cubicBezTo>
                  <a:cubicBezTo>
                    <a:pt x="50" y="443"/>
                    <a:pt x="50" y="443"/>
                    <a:pt x="50" y="443"/>
                  </a:cubicBezTo>
                  <a:cubicBezTo>
                    <a:pt x="32" y="455"/>
                    <a:pt x="32" y="455"/>
                    <a:pt x="32" y="455"/>
                  </a:cubicBezTo>
                  <a:cubicBezTo>
                    <a:pt x="0" y="462"/>
                    <a:pt x="0" y="462"/>
                    <a:pt x="0" y="462"/>
                  </a:cubicBezTo>
                  <a:cubicBezTo>
                    <a:pt x="1" y="485"/>
                    <a:pt x="1" y="485"/>
                    <a:pt x="1" y="485"/>
                  </a:cubicBezTo>
                  <a:cubicBezTo>
                    <a:pt x="4" y="494"/>
                    <a:pt x="4" y="494"/>
                    <a:pt x="4" y="494"/>
                  </a:cubicBezTo>
                  <a:cubicBezTo>
                    <a:pt x="4" y="494"/>
                    <a:pt x="3" y="518"/>
                    <a:pt x="13" y="525"/>
                  </a:cubicBezTo>
                  <a:cubicBezTo>
                    <a:pt x="23" y="532"/>
                    <a:pt x="35" y="531"/>
                    <a:pt x="35" y="531"/>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63" name="Freeform 124"/>
            <p:cNvSpPr>
              <a:spLocks/>
            </p:cNvSpPr>
            <p:nvPr/>
          </p:nvSpPr>
          <p:spPr bwMode="gray">
            <a:xfrm>
              <a:off x="4006850" y="2857500"/>
              <a:ext cx="550862" cy="549275"/>
            </a:xfrm>
            <a:custGeom>
              <a:avLst/>
              <a:gdLst>
                <a:gd name="T0" fmla="*/ 212 w 983"/>
                <a:gd name="T1" fmla="*/ 357 h 981"/>
                <a:gd name="T2" fmla="*/ 155 w 983"/>
                <a:gd name="T3" fmla="*/ 390 h 981"/>
                <a:gd name="T4" fmla="*/ 136 w 983"/>
                <a:gd name="T5" fmla="*/ 399 h 981"/>
                <a:gd name="T6" fmla="*/ 111 w 983"/>
                <a:gd name="T7" fmla="*/ 404 h 981"/>
                <a:gd name="T8" fmla="*/ 81 w 983"/>
                <a:gd name="T9" fmla="*/ 417 h 981"/>
                <a:gd name="T10" fmla="*/ 40 w 983"/>
                <a:gd name="T11" fmla="*/ 454 h 981"/>
                <a:gd name="T12" fmla="*/ 35 w 983"/>
                <a:gd name="T13" fmla="*/ 511 h 981"/>
                <a:gd name="T14" fmla="*/ 37 w 983"/>
                <a:gd name="T15" fmla="*/ 513 h 981"/>
                <a:gd name="T16" fmla="*/ 208 w 983"/>
                <a:gd name="T17" fmla="*/ 656 h 981"/>
                <a:gd name="T18" fmla="*/ 481 w 983"/>
                <a:gd name="T19" fmla="*/ 882 h 981"/>
                <a:gd name="T20" fmla="*/ 510 w 983"/>
                <a:gd name="T21" fmla="*/ 904 h 981"/>
                <a:gd name="T22" fmla="*/ 538 w 983"/>
                <a:gd name="T23" fmla="*/ 923 h 981"/>
                <a:gd name="T24" fmla="*/ 582 w 983"/>
                <a:gd name="T25" fmla="*/ 953 h 981"/>
                <a:gd name="T26" fmla="*/ 610 w 983"/>
                <a:gd name="T27" fmla="*/ 973 h 981"/>
                <a:gd name="T28" fmla="*/ 774 w 983"/>
                <a:gd name="T29" fmla="*/ 886 h 981"/>
                <a:gd name="T30" fmla="*/ 963 w 983"/>
                <a:gd name="T31" fmla="*/ 691 h 981"/>
                <a:gd name="T32" fmla="*/ 909 w 983"/>
                <a:gd name="T33" fmla="*/ 684 h 981"/>
                <a:gd name="T34" fmla="*/ 893 w 983"/>
                <a:gd name="T35" fmla="*/ 639 h 981"/>
                <a:gd name="T36" fmla="*/ 889 w 983"/>
                <a:gd name="T37" fmla="*/ 569 h 981"/>
                <a:gd name="T38" fmla="*/ 880 w 983"/>
                <a:gd name="T39" fmla="*/ 515 h 981"/>
                <a:gd name="T40" fmla="*/ 883 w 983"/>
                <a:gd name="T41" fmla="*/ 488 h 981"/>
                <a:gd name="T42" fmla="*/ 862 w 983"/>
                <a:gd name="T43" fmla="*/ 381 h 981"/>
                <a:gd name="T44" fmla="*/ 870 w 983"/>
                <a:gd name="T45" fmla="*/ 373 h 981"/>
                <a:gd name="T46" fmla="*/ 817 w 983"/>
                <a:gd name="T47" fmla="*/ 252 h 981"/>
                <a:gd name="T48" fmla="*/ 789 w 983"/>
                <a:gd name="T49" fmla="*/ 213 h 981"/>
                <a:gd name="T50" fmla="*/ 782 w 983"/>
                <a:gd name="T51" fmla="*/ 194 h 981"/>
                <a:gd name="T52" fmla="*/ 798 w 983"/>
                <a:gd name="T53" fmla="*/ 148 h 981"/>
                <a:gd name="T54" fmla="*/ 820 w 983"/>
                <a:gd name="T55" fmla="*/ 105 h 981"/>
                <a:gd name="T56" fmla="*/ 820 w 983"/>
                <a:gd name="T57" fmla="*/ 38 h 981"/>
                <a:gd name="T58" fmla="*/ 835 w 983"/>
                <a:gd name="T59" fmla="*/ 21 h 981"/>
                <a:gd name="T60" fmla="*/ 815 w 983"/>
                <a:gd name="T61" fmla="*/ 10 h 981"/>
                <a:gd name="T62" fmla="*/ 779 w 983"/>
                <a:gd name="T63" fmla="*/ 3 h 981"/>
                <a:gd name="T64" fmla="*/ 769 w 983"/>
                <a:gd name="T65" fmla="*/ 14 h 981"/>
                <a:gd name="T66" fmla="*/ 728 w 983"/>
                <a:gd name="T67" fmla="*/ 0 h 981"/>
                <a:gd name="T68" fmla="*/ 704 w 983"/>
                <a:gd name="T69" fmla="*/ 14 h 981"/>
                <a:gd name="T70" fmla="*/ 631 w 983"/>
                <a:gd name="T71" fmla="*/ 18 h 981"/>
                <a:gd name="T72" fmla="*/ 545 w 983"/>
                <a:gd name="T73" fmla="*/ 27 h 981"/>
                <a:gd name="T74" fmla="*/ 503 w 983"/>
                <a:gd name="T75" fmla="*/ 33 h 981"/>
                <a:gd name="T76" fmla="*/ 446 w 983"/>
                <a:gd name="T77" fmla="*/ 72 h 981"/>
                <a:gd name="T78" fmla="*/ 355 w 983"/>
                <a:gd name="T79" fmla="*/ 113 h 981"/>
                <a:gd name="T80" fmla="*/ 349 w 983"/>
                <a:gd name="T81" fmla="*/ 112 h 981"/>
                <a:gd name="T82" fmla="*/ 360 w 983"/>
                <a:gd name="T83" fmla="*/ 141 h 981"/>
                <a:gd name="T84" fmla="*/ 365 w 983"/>
                <a:gd name="T85" fmla="*/ 186 h 981"/>
                <a:gd name="T86" fmla="*/ 364 w 983"/>
                <a:gd name="T87" fmla="*/ 218 h 981"/>
                <a:gd name="T88" fmla="*/ 375 w 983"/>
                <a:gd name="T89" fmla="*/ 238 h 981"/>
                <a:gd name="T90" fmla="*/ 382 w 983"/>
                <a:gd name="T91" fmla="*/ 259 h 981"/>
                <a:gd name="T92" fmla="*/ 343 w 983"/>
                <a:gd name="T93" fmla="*/ 274 h 981"/>
                <a:gd name="T94" fmla="*/ 321 w 983"/>
                <a:gd name="T95" fmla="*/ 275 h 981"/>
                <a:gd name="T96" fmla="*/ 303 w 983"/>
                <a:gd name="T97" fmla="*/ 288 h 981"/>
                <a:gd name="T98" fmla="*/ 267 w 983"/>
                <a:gd name="T99" fmla="*/ 318 h 981"/>
                <a:gd name="T100" fmla="*/ 260 w 983"/>
                <a:gd name="T101" fmla="*/ 337 h 9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83" h="981">
                  <a:moveTo>
                    <a:pt x="242" y="356"/>
                  </a:moveTo>
                  <a:cubicBezTo>
                    <a:pt x="236" y="356"/>
                    <a:pt x="212" y="357"/>
                    <a:pt x="212" y="357"/>
                  </a:cubicBezTo>
                  <a:cubicBezTo>
                    <a:pt x="212" y="357"/>
                    <a:pt x="197" y="388"/>
                    <a:pt x="189" y="391"/>
                  </a:cubicBezTo>
                  <a:cubicBezTo>
                    <a:pt x="181" y="394"/>
                    <a:pt x="155" y="390"/>
                    <a:pt x="155" y="390"/>
                  </a:cubicBezTo>
                  <a:cubicBezTo>
                    <a:pt x="154" y="398"/>
                    <a:pt x="154" y="398"/>
                    <a:pt x="154" y="398"/>
                  </a:cubicBezTo>
                  <a:cubicBezTo>
                    <a:pt x="136" y="399"/>
                    <a:pt x="136" y="399"/>
                    <a:pt x="136" y="399"/>
                  </a:cubicBezTo>
                  <a:cubicBezTo>
                    <a:pt x="136" y="399"/>
                    <a:pt x="136" y="411"/>
                    <a:pt x="130" y="412"/>
                  </a:cubicBezTo>
                  <a:cubicBezTo>
                    <a:pt x="124" y="413"/>
                    <a:pt x="111" y="404"/>
                    <a:pt x="111" y="404"/>
                  </a:cubicBezTo>
                  <a:cubicBezTo>
                    <a:pt x="93" y="418"/>
                    <a:pt x="93" y="418"/>
                    <a:pt x="93" y="418"/>
                  </a:cubicBezTo>
                  <a:cubicBezTo>
                    <a:pt x="81" y="417"/>
                    <a:pt x="81" y="417"/>
                    <a:pt x="81" y="417"/>
                  </a:cubicBezTo>
                  <a:cubicBezTo>
                    <a:pt x="81" y="417"/>
                    <a:pt x="67" y="437"/>
                    <a:pt x="60" y="442"/>
                  </a:cubicBezTo>
                  <a:cubicBezTo>
                    <a:pt x="53" y="447"/>
                    <a:pt x="40" y="454"/>
                    <a:pt x="40" y="454"/>
                  </a:cubicBezTo>
                  <a:cubicBezTo>
                    <a:pt x="37" y="472"/>
                    <a:pt x="37" y="472"/>
                    <a:pt x="37" y="472"/>
                  </a:cubicBezTo>
                  <a:cubicBezTo>
                    <a:pt x="35" y="511"/>
                    <a:pt x="35" y="511"/>
                    <a:pt x="35" y="511"/>
                  </a:cubicBezTo>
                  <a:cubicBezTo>
                    <a:pt x="0" y="511"/>
                    <a:pt x="0" y="511"/>
                    <a:pt x="0" y="511"/>
                  </a:cubicBezTo>
                  <a:cubicBezTo>
                    <a:pt x="37" y="513"/>
                    <a:pt x="37" y="513"/>
                    <a:pt x="37" y="513"/>
                  </a:cubicBezTo>
                  <a:cubicBezTo>
                    <a:pt x="35" y="535"/>
                    <a:pt x="35" y="535"/>
                    <a:pt x="35" y="535"/>
                  </a:cubicBezTo>
                  <a:cubicBezTo>
                    <a:pt x="208" y="656"/>
                    <a:pt x="208" y="656"/>
                    <a:pt x="208" y="656"/>
                  </a:cubicBezTo>
                  <a:cubicBezTo>
                    <a:pt x="482" y="865"/>
                    <a:pt x="482" y="865"/>
                    <a:pt x="482" y="865"/>
                  </a:cubicBezTo>
                  <a:cubicBezTo>
                    <a:pt x="481" y="882"/>
                    <a:pt x="481" y="882"/>
                    <a:pt x="481" y="882"/>
                  </a:cubicBezTo>
                  <a:cubicBezTo>
                    <a:pt x="481" y="882"/>
                    <a:pt x="498" y="878"/>
                    <a:pt x="500" y="886"/>
                  </a:cubicBezTo>
                  <a:cubicBezTo>
                    <a:pt x="502" y="894"/>
                    <a:pt x="500" y="901"/>
                    <a:pt x="510" y="904"/>
                  </a:cubicBezTo>
                  <a:cubicBezTo>
                    <a:pt x="520" y="907"/>
                    <a:pt x="533" y="905"/>
                    <a:pt x="533" y="905"/>
                  </a:cubicBezTo>
                  <a:cubicBezTo>
                    <a:pt x="538" y="923"/>
                    <a:pt x="538" y="923"/>
                    <a:pt x="538" y="923"/>
                  </a:cubicBezTo>
                  <a:cubicBezTo>
                    <a:pt x="538" y="923"/>
                    <a:pt x="561" y="917"/>
                    <a:pt x="571" y="925"/>
                  </a:cubicBezTo>
                  <a:cubicBezTo>
                    <a:pt x="581" y="933"/>
                    <a:pt x="582" y="953"/>
                    <a:pt x="582" y="953"/>
                  </a:cubicBezTo>
                  <a:cubicBezTo>
                    <a:pt x="582" y="953"/>
                    <a:pt x="558" y="967"/>
                    <a:pt x="573" y="974"/>
                  </a:cubicBezTo>
                  <a:cubicBezTo>
                    <a:pt x="588" y="981"/>
                    <a:pt x="610" y="973"/>
                    <a:pt x="610" y="973"/>
                  </a:cubicBezTo>
                  <a:cubicBezTo>
                    <a:pt x="610" y="973"/>
                    <a:pt x="679" y="958"/>
                    <a:pt x="693" y="956"/>
                  </a:cubicBezTo>
                  <a:cubicBezTo>
                    <a:pt x="707" y="954"/>
                    <a:pt x="752" y="901"/>
                    <a:pt x="774" y="886"/>
                  </a:cubicBezTo>
                  <a:cubicBezTo>
                    <a:pt x="796" y="871"/>
                    <a:pt x="983" y="735"/>
                    <a:pt x="983" y="735"/>
                  </a:cubicBezTo>
                  <a:cubicBezTo>
                    <a:pt x="983" y="735"/>
                    <a:pt x="968" y="694"/>
                    <a:pt x="963" y="691"/>
                  </a:cubicBezTo>
                  <a:cubicBezTo>
                    <a:pt x="958" y="688"/>
                    <a:pt x="930" y="675"/>
                    <a:pt x="924" y="678"/>
                  </a:cubicBezTo>
                  <a:cubicBezTo>
                    <a:pt x="918" y="681"/>
                    <a:pt x="913" y="686"/>
                    <a:pt x="909" y="684"/>
                  </a:cubicBezTo>
                  <a:cubicBezTo>
                    <a:pt x="905" y="682"/>
                    <a:pt x="893" y="671"/>
                    <a:pt x="893" y="664"/>
                  </a:cubicBezTo>
                  <a:cubicBezTo>
                    <a:pt x="893" y="657"/>
                    <a:pt x="898" y="647"/>
                    <a:pt x="893" y="639"/>
                  </a:cubicBezTo>
                  <a:cubicBezTo>
                    <a:pt x="888" y="631"/>
                    <a:pt x="861" y="595"/>
                    <a:pt x="862" y="589"/>
                  </a:cubicBezTo>
                  <a:cubicBezTo>
                    <a:pt x="863" y="583"/>
                    <a:pt x="889" y="581"/>
                    <a:pt x="889" y="569"/>
                  </a:cubicBezTo>
                  <a:cubicBezTo>
                    <a:pt x="889" y="557"/>
                    <a:pt x="885" y="551"/>
                    <a:pt x="885" y="551"/>
                  </a:cubicBezTo>
                  <a:cubicBezTo>
                    <a:pt x="880" y="515"/>
                    <a:pt x="880" y="515"/>
                    <a:pt x="880" y="515"/>
                  </a:cubicBezTo>
                  <a:cubicBezTo>
                    <a:pt x="889" y="502"/>
                    <a:pt x="889" y="502"/>
                    <a:pt x="889" y="502"/>
                  </a:cubicBezTo>
                  <a:cubicBezTo>
                    <a:pt x="883" y="488"/>
                    <a:pt x="883" y="488"/>
                    <a:pt x="883" y="488"/>
                  </a:cubicBezTo>
                  <a:cubicBezTo>
                    <a:pt x="883" y="488"/>
                    <a:pt x="892" y="458"/>
                    <a:pt x="891" y="448"/>
                  </a:cubicBezTo>
                  <a:cubicBezTo>
                    <a:pt x="890" y="438"/>
                    <a:pt x="863" y="387"/>
                    <a:pt x="862" y="381"/>
                  </a:cubicBezTo>
                  <a:cubicBezTo>
                    <a:pt x="862" y="378"/>
                    <a:pt x="866" y="376"/>
                    <a:pt x="870" y="373"/>
                  </a:cubicBezTo>
                  <a:cubicBezTo>
                    <a:pt x="870" y="373"/>
                    <a:pt x="870" y="373"/>
                    <a:pt x="870" y="373"/>
                  </a:cubicBezTo>
                  <a:cubicBezTo>
                    <a:pt x="864" y="350"/>
                    <a:pt x="849" y="288"/>
                    <a:pt x="849" y="277"/>
                  </a:cubicBezTo>
                  <a:cubicBezTo>
                    <a:pt x="849" y="264"/>
                    <a:pt x="817" y="252"/>
                    <a:pt x="817" y="252"/>
                  </a:cubicBezTo>
                  <a:cubicBezTo>
                    <a:pt x="817" y="252"/>
                    <a:pt x="817" y="234"/>
                    <a:pt x="816" y="226"/>
                  </a:cubicBezTo>
                  <a:cubicBezTo>
                    <a:pt x="815" y="218"/>
                    <a:pt x="789" y="213"/>
                    <a:pt x="789" y="213"/>
                  </a:cubicBezTo>
                  <a:cubicBezTo>
                    <a:pt x="789" y="194"/>
                    <a:pt x="789" y="194"/>
                    <a:pt x="789" y="194"/>
                  </a:cubicBezTo>
                  <a:cubicBezTo>
                    <a:pt x="782" y="194"/>
                    <a:pt x="782" y="194"/>
                    <a:pt x="782" y="194"/>
                  </a:cubicBezTo>
                  <a:cubicBezTo>
                    <a:pt x="782" y="194"/>
                    <a:pt x="782" y="181"/>
                    <a:pt x="782" y="171"/>
                  </a:cubicBezTo>
                  <a:cubicBezTo>
                    <a:pt x="782" y="161"/>
                    <a:pt x="798" y="148"/>
                    <a:pt x="798" y="148"/>
                  </a:cubicBezTo>
                  <a:cubicBezTo>
                    <a:pt x="812" y="137"/>
                    <a:pt x="812" y="137"/>
                    <a:pt x="812" y="137"/>
                  </a:cubicBezTo>
                  <a:cubicBezTo>
                    <a:pt x="812" y="137"/>
                    <a:pt x="819" y="115"/>
                    <a:pt x="820" y="105"/>
                  </a:cubicBezTo>
                  <a:cubicBezTo>
                    <a:pt x="821" y="95"/>
                    <a:pt x="819" y="83"/>
                    <a:pt x="815" y="76"/>
                  </a:cubicBezTo>
                  <a:cubicBezTo>
                    <a:pt x="811" y="69"/>
                    <a:pt x="820" y="38"/>
                    <a:pt x="820" y="38"/>
                  </a:cubicBezTo>
                  <a:cubicBezTo>
                    <a:pt x="807" y="34"/>
                    <a:pt x="807" y="34"/>
                    <a:pt x="807" y="34"/>
                  </a:cubicBezTo>
                  <a:cubicBezTo>
                    <a:pt x="835" y="21"/>
                    <a:pt x="835" y="21"/>
                    <a:pt x="835" y="21"/>
                  </a:cubicBezTo>
                  <a:cubicBezTo>
                    <a:pt x="835" y="11"/>
                    <a:pt x="835" y="11"/>
                    <a:pt x="835" y="11"/>
                  </a:cubicBezTo>
                  <a:cubicBezTo>
                    <a:pt x="826" y="11"/>
                    <a:pt x="815" y="10"/>
                    <a:pt x="815" y="10"/>
                  </a:cubicBezTo>
                  <a:cubicBezTo>
                    <a:pt x="806" y="15"/>
                    <a:pt x="806" y="15"/>
                    <a:pt x="806" y="15"/>
                  </a:cubicBezTo>
                  <a:cubicBezTo>
                    <a:pt x="779" y="3"/>
                    <a:pt x="779" y="3"/>
                    <a:pt x="779" y="3"/>
                  </a:cubicBezTo>
                  <a:cubicBezTo>
                    <a:pt x="769" y="5"/>
                    <a:pt x="769" y="5"/>
                    <a:pt x="769" y="5"/>
                  </a:cubicBezTo>
                  <a:cubicBezTo>
                    <a:pt x="769" y="14"/>
                    <a:pt x="769" y="14"/>
                    <a:pt x="769" y="14"/>
                  </a:cubicBezTo>
                  <a:cubicBezTo>
                    <a:pt x="744" y="12"/>
                    <a:pt x="744" y="12"/>
                    <a:pt x="744" y="12"/>
                  </a:cubicBezTo>
                  <a:cubicBezTo>
                    <a:pt x="728" y="0"/>
                    <a:pt x="728" y="0"/>
                    <a:pt x="728" y="0"/>
                  </a:cubicBezTo>
                  <a:cubicBezTo>
                    <a:pt x="724" y="19"/>
                    <a:pt x="724" y="19"/>
                    <a:pt x="724" y="19"/>
                  </a:cubicBezTo>
                  <a:cubicBezTo>
                    <a:pt x="704" y="14"/>
                    <a:pt x="704" y="14"/>
                    <a:pt x="704" y="14"/>
                  </a:cubicBezTo>
                  <a:cubicBezTo>
                    <a:pt x="686" y="29"/>
                    <a:pt x="686" y="29"/>
                    <a:pt x="686" y="29"/>
                  </a:cubicBezTo>
                  <a:cubicBezTo>
                    <a:pt x="686" y="29"/>
                    <a:pt x="662" y="17"/>
                    <a:pt x="631" y="18"/>
                  </a:cubicBezTo>
                  <a:cubicBezTo>
                    <a:pt x="600" y="19"/>
                    <a:pt x="599" y="26"/>
                    <a:pt x="585" y="27"/>
                  </a:cubicBezTo>
                  <a:cubicBezTo>
                    <a:pt x="571" y="28"/>
                    <a:pt x="545" y="27"/>
                    <a:pt x="545" y="27"/>
                  </a:cubicBezTo>
                  <a:cubicBezTo>
                    <a:pt x="542" y="34"/>
                    <a:pt x="542" y="34"/>
                    <a:pt x="542" y="34"/>
                  </a:cubicBezTo>
                  <a:cubicBezTo>
                    <a:pt x="503" y="33"/>
                    <a:pt x="503" y="33"/>
                    <a:pt x="503" y="33"/>
                  </a:cubicBezTo>
                  <a:cubicBezTo>
                    <a:pt x="503" y="33"/>
                    <a:pt x="456" y="43"/>
                    <a:pt x="455" y="51"/>
                  </a:cubicBezTo>
                  <a:cubicBezTo>
                    <a:pt x="454" y="59"/>
                    <a:pt x="446" y="72"/>
                    <a:pt x="446" y="72"/>
                  </a:cubicBezTo>
                  <a:cubicBezTo>
                    <a:pt x="446" y="72"/>
                    <a:pt x="396" y="74"/>
                    <a:pt x="394" y="83"/>
                  </a:cubicBezTo>
                  <a:cubicBezTo>
                    <a:pt x="392" y="92"/>
                    <a:pt x="370" y="113"/>
                    <a:pt x="355" y="113"/>
                  </a:cubicBezTo>
                  <a:cubicBezTo>
                    <a:pt x="353" y="113"/>
                    <a:pt x="351" y="113"/>
                    <a:pt x="349" y="112"/>
                  </a:cubicBezTo>
                  <a:cubicBezTo>
                    <a:pt x="349" y="112"/>
                    <a:pt x="349" y="112"/>
                    <a:pt x="349" y="112"/>
                  </a:cubicBezTo>
                  <a:cubicBezTo>
                    <a:pt x="350" y="116"/>
                    <a:pt x="354" y="125"/>
                    <a:pt x="364" y="129"/>
                  </a:cubicBezTo>
                  <a:cubicBezTo>
                    <a:pt x="364" y="130"/>
                    <a:pt x="360" y="141"/>
                    <a:pt x="360" y="141"/>
                  </a:cubicBezTo>
                  <a:cubicBezTo>
                    <a:pt x="368" y="141"/>
                    <a:pt x="368" y="141"/>
                    <a:pt x="368" y="141"/>
                  </a:cubicBezTo>
                  <a:cubicBezTo>
                    <a:pt x="365" y="186"/>
                    <a:pt x="365" y="186"/>
                    <a:pt x="365" y="186"/>
                  </a:cubicBezTo>
                  <a:cubicBezTo>
                    <a:pt x="371" y="197"/>
                    <a:pt x="371" y="197"/>
                    <a:pt x="371" y="197"/>
                  </a:cubicBezTo>
                  <a:cubicBezTo>
                    <a:pt x="364" y="218"/>
                    <a:pt x="364" y="218"/>
                    <a:pt x="364" y="218"/>
                  </a:cubicBezTo>
                  <a:cubicBezTo>
                    <a:pt x="378" y="218"/>
                    <a:pt x="378" y="218"/>
                    <a:pt x="378" y="218"/>
                  </a:cubicBezTo>
                  <a:cubicBezTo>
                    <a:pt x="375" y="238"/>
                    <a:pt x="375" y="238"/>
                    <a:pt x="375" y="238"/>
                  </a:cubicBezTo>
                  <a:cubicBezTo>
                    <a:pt x="393" y="250"/>
                    <a:pt x="393" y="250"/>
                    <a:pt x="393" y="250"/>
                  </a:cubicBezTo>
                  <a:cubicBezTo>
                    <a:pt x="393" y="250"/>
                    <a:pt x="384" y="256"/>
                    <a:pt x="382" y="259"/>
                  </a:cubicBezTo>
                  <a:cubicBezTo>
                    <a:pt x="380" y="262"/>
                    <a:pt x="381" y="269"/>
                    <a:pt x="381" y="269"/>
                  </a:cubicBezTo>
                  <a:cubicBezTo>
                    <a:pt x="343" y="274"/>
                    <a:pt x="343" y="274"/>
                    <a:pt x="343" y="274"/>
                  </a:cubicBezTo>
                  <a:cubicBezTo>
                    <a:pt x="343" y="274"/>
                    <a:pt x="333" y="268"/>
                    <a:pt x="329" y="268"/>
                  </a:cubicBezTo>
                  <a:cubicBezTo>
                    <a:pt x="325" y="268"/>
                    <a:pt x="321" y="275"/>
                    <a:pt x="321" y="275"/>
                  </a:cubicBezTo>
                  <a:cubicBezTo>
                    <a:pt x="321" y="275"/>
                    <a:pt x="313" y="270"/>
                    <a:pt x="308" y="273"/>
                  </a:cubicBezTo>
                  <a:cubicBezTo>
                    <a:pt x="303" y="276"/>
                    <a:pt x="310" y="283"/>
                    <a:pt x="303" y="288"/>
                  </a:cubicBezTo>
                  <a:cubicBezTo>
                    <a:pt x="296" y="293"/>
                    <a:pt x="274" y="287"/>
                    <a:pt x="266" y="294"/>
                  </a:cubicBezTo>
                  <a:cubicBezTo>
                    <a:pt x="258" y="301"/>
                    <a:pt x="267" y="318"/>
                    <a:pt x="267" y="318"/>
                  </a:cubicBezTo>
                  <a:cubicBezTo>
                    <a:pt x="277" y="330"/>
                    <a:pt x="277" y="330"/>
                    <a:pt x="277" y="330"/>
                  </a:cubicBezTo>
                  <a:cubicBezTo>
                    <a:pt x="260" y="337"/>
                    <a:pt x="260" y="337"/>
                    <a:pt x="260" y="337"/>
                  </a:cubicBezTo>
                  <a:cubicBezTo>
                    <a:pt x="260" y="337"/>
                    <a:pt x="248" y="356"/>
                    <a:pt x="242" y="356"/>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64" name="Freeform 125"/>
            <p:cNvSpPr>
              <a:spLocks/>
            </p:cNvSpPr>
            <p:nvPr/>
          </p:nvSpPr>
          <p:spPr bwMode="gray">
            <a:xfrm>
              <a:off x="4489450" y="2976563"/>
              <a:ext cx="409575" cy="412750"/>
            </a:xfrm>
            <a:custGeom>
              <a:avLst/>
              <a:gdLst>
                <a:gd name="T0" fmla="*/ 104 w 731"/>
                <a:gd name="T1" fmla="*/ 37 h 737"/>
                <a:gd name="T2" fmla="*/ 69 w 731"/>
                <a:gd name="T3" fmla="*/ 55 h 737"/>
                <a:gd name="T4" fmla="*/ 50 w 731"/>
                <a:gd name="T5" fmla="*/ 78 h 737"/>
                <a:gd name="T6" fmla="*/ 35 w 731"/>
                <a:gd name="T7" fmla="*/ 89 h 737"/>
                <a:gd name="T8" fmla="*/ 44 w 731"/>
                <a:gd name="T9" fmla="*/ 127 h 737"/>
                <a:gd name="T10" fmla="*/ 25 w 731"/>
                <a:gd name="T11" fmla="*/ 153 h 737"/>
                <a:gd name="T12" fmla="*/ 1 w 731"/>
                <a:gd name="T13" fmla="*/ 167 h 737"/>
                <a:gd name="T14" fmla="*/ 30 w 731"/>
                <a:gd name="T15" fmla="*/ 234 h 737"/>
                <a:gd name="T16" fmla="*/ 22 w 731"/>
                <a:gd name="T17" fmla="*/ 274 h 737"/>
                <a:gd name="T18" fmla="*/ 28 w 731"/>
                <a:gd name="T19" fmla="*/ 288 h 737"/>
                <a:gd name="T20" fmla="*/ 19 w 731"/>
                <a:gd name="T21" fmla="*/ 301 h 737"/>
                <a:gd name="T22" fmla="*/ 24 w 731"/>
                <a:gd name="T23" fmla="*/ 337 h 737"/>
                <a:gd name="T24" fmla="*/ 28 w 731"/>
                <a:gd name="T25" fmla="*/ 355 h 737"/>
                <a:gd name="T26" fmla="*/ 1 w 731"/>
                <a:gd name="T27" fmla="*/ 375 h 737"/>
                <a:gd name="T28" fmla="*/ 32 w 731"/>
                <a:gd name="T29" fmla="*/ 425 h 737"/>
                <a:gd name="T30" fmla="*/ 32 w 731"/>
                <a:gd name="T31" fmla="*/ 450 h 737"/>
                <a:gd name="T32" fmla="*/ 48 w 731"/>
                <a:gd name="T33" fmla="*/ 470 h 737"/>
                <a:gd name="T34" fmla="*/ 63 w 731"/>
                <a:gd name="T35" fmla="*/ 464 h 737"/>
                <a:gd name="T36" fmla="*/ 102 w 731"/>
                <a:gd name="T37" fmla="*/ 477 h 737"/>
                <a:gd name="T38" fmla="*/ 122 w 731"/>
                <a:gd name="T39" fmla="*/ 521 h 737"/>
                <a:gd name="T40" fmla="*/ 147 w 731"/>
                <a:gd name="T41" fmla="*/ 527 h 737"/>
                <a:gd name="T42" fmla="*/ 194 w 731"/>
                <a:gd name="T43" fmla="*/ 537 h 737"/>
                <a:gd name="T44" fmla="*/ 228 w 731"/>
                <a:gd name="T45" fmla="*/ 566 h 737"/>
                <a:gd name="T46" fmla="*/ 311 w 731"/>
                <a:gd name="T47" fmla="*/ 521 h 737"/>
                <a:gd name="T48" fmla="*/ 684 w 731"/>
                <a:gd name="T49" fmla="*/ 737 h 737"/>
                <a:gd name="T50" fmla="*/ 683 w 731"/>
                <a:gd name="T51" fmla="*/ 708 h 737"/>
                <a:gd name="T52" fmla="*/ 731 w 731"/>
                <a:gd name="T53" fmla="*/ 707 h 737"/>
                <a:gd name="T54" fmla="*/ 730 w 731"/>
                <a:gd name="T55" fmla="*/ 599 h 737"/>
                <a:gd name="T56" fmla="*/ 717 w 731"/>
                <a:gd name="T57" fmla="*/ 201 h 737"/>
                <a:gd name="T58" fmla="*/ 699 w 731"/>
                <a:gd name="T59" fmla="*/ 163 h 737"/>
                <a:gd name="T60" fmla="*/ 713 w 731"/>
                <a:gd name="T61" fmla="*/ 135 h 737"/>
                <a:gd name="T62" fmla="*/ 703 w 731"/>
                <a:gd name="T63" fmla="*/ 115 h 737"/>
                <a:gd name="T64" fmla="*/ 707 w 731"/>
                <a:gd name="T65" fmla="*/ 94 h 737"/>
                <a:gd name="T66" fmla="*/ 720 w 731"/>
                <a:gd name="T67" fmla="*/ 81 h 737"/>
                <a:gd name="T68" fmla="*/ 716 w 731"/>
                <a:gd name="T69" fmla="*/ 63 h 737"/>
                <a:gd name="T70" fmla="*/ 701 w 731"/>
                <a:gd name="T71" fmla="*/ 68 h 737"/>
                <a:gd name="T72" fmla="*/ 694 w 731"/>
                <a:gd name="T73" fmla="*/ 59 h 737"/>
                <a:gd name="T74" fmla="*/ 682 w 731"/>
                <a:gd name="T75" fmla="*/ 67 h 737"/>
                <a:gd name="T76" fmla="*/ 658 w 731"/>
                <a:gd name="T77" fmla="*/ 50 h 737"/>
                <a:gd name="T78" fmla="*/ 628 w 731"/>
                <a:gd name="T79" fmla="*/ 49 h 737"/>
                <a:gd name="T80" fmla="*/ 617 w 731"/>
                <a:gd name="T81" fmla="*/ 28 h 737"/>
                <a:gd name="T82" fmla="*/ 590 w 731"/>
                <a:gd name="T83" fmla="*/ 23 h 737"/>
                <a:gd name="T84" fmla="*/ 561 w 731"/>
                <a:gd name="T85" fmla="*/ 15 h 737"/>
                <a:gd name="T86" fmla="*/ 553 w 731"/>
                <a:gd name="T87" fmla="*/ 23 h 737"/>
                <a:gd name="T88" fmla="*/ 510 w 731"/>
                <a:gd name="T89" fmla="*/ 31 h 737"/>
                <a:gd name="T90" fmla="*/ 480 w 731"/>
                <a:gd name="T91" fmla="*/ 70 h 737"/>
                <a:gd name="T92" fmla="*/ 496 w 731"/>
                <a:gd name="T93" fmla="*/ 114 h 737"/>
                <a:gd name="T94" fmla="*/ 463 w 731"/>
                <a:gd name="T95" fmla="*/ 154 h 737"/>
                <a:gd name="T96" fmla="*/ 419 w 731"/>
                <a:gd name="T97" fmla="*/ 144 h 737"/>
                <a:gd name="T98" fmla="*/ 351 w 731"/>
                <a:gd name="T99" fmla="*/ 105 h 737"/>
                <a:gd name="T100" fmla="*/ 289 w 731"/>
                <a:gd name="T101" fmla="*/ 97 h 737"/>
                <a:gd name="T102" fmla="*/ 271 w 731"/>
                <a:gd name="T103" fmla="*/ 53 h 737"/>
                <a:gd name="T104" fmla="*/ 244 w 731"/>
                <a:gd name="T105" fmla="*/ 40 h 737"/>
                <a:gd name="T106" fmla="*/ 212 w 731"/>
                <a:gd name="T107" fmla="*/ 21 h 737"/>
                <a:gd name="T108" fmla="*/ 173 w 731"/>
                <a:gd name="T109" fmla="*/ 20 h 737"/>
                <a:gd name="T110" fmla="*/ 143 w 731"/>
                <a:gd name="T111" fmla="*/ 24 h 737"/>
                <a:gd name="T112" fmla="*/ 107 w 731"/>
                <a:gd name="T113" fmla="*/ 3 h 737"/>
                <a:gd name="T114" fmla="*/ 96 w 731"/>
                <a:gd name="T115" fmla="*/ 0 h 737"/>
                <a:gd name="T116" fmla="*/ 93 w 731"/>
                <a:gd name="T117" fmla="*/ 27 h 737"/>
                <a:gd name="T118" fmla="*/ 104 w 731"/>
                <a:gd name="T119" fmla="*/ 37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31" h="737">
                  <a:moveTo>
                    <a:pt x="104" y="37"/>
                  </a:moveTo>
                  <a:cubicBezTo>
                    <a:pt x="100" y="45"/>
                    <a:pt x="75" y="49"/>
                    <a:pt x="69" y="55"/>
                  </a:cubicBezTo>
                  <a:cubicBezTo>
                    <a:pt x="63" y="61"/>
                    <a:pt x="50" y="78"/>
                    <a:pt x="50" y="78"/>
                  </a:cubicBezTo>
                  <a:cubicBezTo>
                    <a:pt x="50" y="78"/>
                    <a:pt x="37" y="83"/>
                    <a:pt x="35" y="89"/>
                  </a:cubicBezTo>
                  <a:cubicBezTo>
                    <a:pt x="33" y="95"/>
                    <a:pt x="43" y="115"/>
                    <a:pt x="44" y="127"/>
                  </a:cubicBezTo>
                  <a:cubicBezTo>
                    <a:pt x="45" y="139"/>
                    <a:pt x="25" y="153"/>
                    <a:pt x="25" y="153"/>
                  </a:cubicBezTo>
                  <a:cubicBezTo>
                    <a:pt x="25" y="153"/>
                    <a:pt x="0" y="161"/>
                    <a:pt x="1" y="167"/>
                  </a:cubicBezTo>
                  <a:cubicBezTo>
                    <a:pt x="2" y="173"/>
                    <a:pt x="29" y="224"/>
                    <a:pt x="30" y="234"/>
                  </a:cubicBezTo>
                  <a:cubicBezTo>
                    <a:pt x="31" y="244"/>
                    <a:pt x="22" y="274"/>
                    <a:pt x="22" y="274"/>
                  </a:cubicBezTo>
                  <a:cubicBezTo>
                    <a:pt x="28" y="288"/>
                    <a:pt x="28" y="288"/>
                    <a:pt x="28" y="288"/>
                  </a:cubicBezTo>
                  <a:cubicBezTo>
                    <a:pt x="19" y="301"/>
                    <a:pt x="19" y="301"/>
                    <a:pt x="19" y="301"/>
                  </a:cubicBezTo>
                  <a:cubicBezTo>
                    <a:pt x="24" y="337"/>
                    <a:pt x="24" y="337"/>
                    <a:pt x="24" y="337"/>
                  </a:cubicBezTo>
                  <a:cubicBezTo>
                    <a:pt x="24" y="337"/>
                    <a:pt x="28" y="343"/>
                    <a:pt x="28" y="355"/>
                  </a:cubicBezTo>
                  <a:cubicBezTo>
                    <a:pt x="28" y="367"/>
                    <a:pt x="2" y="369"/>
                    <a:pt x="1" y="375"/>
                  </a:cubicBezTo>
                  <a:cubicBezTo>
                    <a:pt x="0" y="381"/>
                    <a:pt x="27" y="417"/>
                    <a:pt x="32" y="425"/>
                  </a:cubicBezTo>
                  <a:cubicBezTo>
                    <a:pt x="37" y="433"/>
                    <a:pt x="32" y="443"/>
                    <a:pt x="32" y="450"/>
                  </a:cubicBezTo>
                  <a:cubicBezTo>
                    <a:pt x="32" y="457"/>
                    <a:pt x="44" y="468"/>
                    <a:pt x="48" y="470"/>
                  </a:cubicBezTo>
                  <a:cubicBezTo>
                    <a:pt x="52" y="472"/>
                    <a:pt x="57" y="467"/>
                    <a:pt x="63" y="464"/>
                  </a:cubicBezTo>
                  <a:cubicBezTo>
                    <a:pt x="69" y="461"/>
                    <a:pt x="97" y="474"/>
                    <a:pt x="102" y="477"/>
                  </a:cubicBezTo>
                  <a:cubicBezTo>
                    <a:pt x="107" y="480"/>
                    <a:pt x="122" y="521"/>
                    <a:pt x="122" y="521"/>
                  </a:cubicBezTo>
                  <a:cubicBezTo>
                    <a:pt x="147" y="527"/>
                    <a:pt x="147" y="527"/>
                    <a:pt x="147" y="527"/>
                  </a:cubicBezTo>
                  <a:cubicBezTo>
                    <a:pt x="147" y="527"/>
                    <a:pt x="187" y="535"/>
                    <a:pt x="194" y="537"/>
                  </a:cubicBezTo>
                  <a:cubicBezTo>
                    <a:pt x="201" y="539"/>
                    <a:pt x="217" y="567"/>
                    <a:pt x="228" y="566"/>
                  </a:cubicBezTo>
                  <a:cubicBezTo>
                    <a:pt x="239" y="565"/>
                    <a:pt x="311" y="521"/>
                    <a:pt x="311" y="521"/>
                  </a:cubicBezTo>
                  <a:cubicBezTo>
                    <a:pt x="684" y="737"/>
                    <a:pt x="684" y="737"/>
                    <a:pt x="684" y="737"/>
                  </a:cubicBezTo>
                  <a:cubicBezTo>
                    <a:pt x="683" y="708"/>
                    <a:pt x="683" y="708"/>
                    <a:pt x="683" y="708"/>
                  </a:cubicBezTo>
                  <a:cubicBezTo>
                    <a:pt x="731" y="707"/>
                    <a:pt x="731" y="707"/>
                    <a:pt x="731" y="707"/>
                  </a:cubicBezTo>
                  <a:cubicBezTo>
                    <a:pt x="730" y="599"/>
                    <a:pt x="730" y="599"/>
                    <a:pt x="730" y="599"/>
                  </a:cubicBezTo>
                  <a:cubicBezTo>
                    <a:pt x="730" y="599"/>
                    <a:pt x="717" y="214"/>
                    <a:pt x="717" y="201"/>
                  </a:cubicBezTo>
                  <a:cubicBezTo>
                    <a:pt x="717" y="188"/>
                    <a:pt x="702" y="170"/>
                    <a:pt x="699" y="163"/>
                  </a:cubicBezTo>
                  <a:cubicBezTo>
                    <a:pt x="696" y="156"/>
                    <a:pt x="710" y="144"/>
                    <a:pt x="713" y="135"/>
                  </a:cubicBezTo>
                  <a:cubicBezTo>
                    <a:pt x="716" y="126"/>
                    <a:pt x="704" y="119"/>
                    <a:pt x="703" y="115"/>
                  </a:cubicBezTo>
                  <a:cubicBezTo>
                    <a:pt x="702" y="111"/>
                    <a:pt x="702" y="97"/>
                    <a:pt x="707" y="94"/>
                  </a:cubicBezTo>
                  <a:cubicBezTo>
                    <a:pt x="711" y="92"/>
                    <a:pt x="717" y="85"/>
                    <a:pt x="720" y="81"/>
                  </a:cubicBezTo>
                  <a:cubicBezTo>
                    <a:pt x="714" y="72"/>
                    <a:pt x="716" y="63"/>
                    <a:pt x="716" y="63"/>
                  </a:cubicBezTo>
                  <a:cubicBezTo>
                    <a:pt x="701" y="68"/>
                    <a:pt x="701" y="68"/>
                    <a:pt x="701" y="68"/>
                  </a:cubicBezTo>
                  <a:cubicBezTo>
                    <a:pt x="694" y="59"/>
                    <a:pt x="694" y="59"/>
                    <a:pt x="694" y="59"/>
                  </a:cubicBezTo>
                  <a:cubicBezTo>
                    <a:pt x="694" y="59"/>
                    <a:pt x="689" y="67"/>
                    <a:pt x="682" y="67"/>
                  </a:cubicBezTo>
                  <a:cubicBezTo>
                    <a:pt x="675" y="67"/>
                    <a:pt x="667" y="50"/>
                    <a:pt x="658" y="50"/>
                  </a:cubicBezTo>
                  <a:cubicBezTo>
                    <a:pt x="649" y="50"/>
                    <a:pt x="639" y="57"/>
                    <a:pt x="628" y="49"/>
                  </a:cubicBezTo>
                  <a:cubicBezTo>
                    <a:pt x="617" y="41"/>
                    <a:pt x="626" y="32"/>
                    <a:pt x="617" y="28"/>
                  </a:cubicBezTo>
                  <a:cubicBezTo>
                    <a:pt x="608" y="24"/>
                    <a:pt x="590" y="23"/>
                    <a:pt x="590" y="23"/>
                  </a:cubicBezTo>
                  <a:cubicBezTo>
                    <a:pt x="590" y="23"/>
                    <a:pt x="569" y="15"/>
                    <a:pt x="561" y="15"/>
                  </a:cubicBezTo>
                  <a:cubicBezTo>
                    <a:pt x="553" y="15"/>
                    <a:pt x="553" y="23"/>
                    <a:pt x="553" y="23"/>
                  </a:cubicBezTo>
                  <a:cubicBezTo>
                    <a:pt x="553" y="23"/>
                    <a:pt x="523" y="21"/>
                    <a:pt x="510" y="31"/>
                  </a:cubicBezTo>
                  <a:cubicBezTo>
                    <a:pt x="497" y="41"/>
                    <a:pt x="480" y="54"/>
                    <a:pt x="480" y="70"/>
                  </a:cubicBezTo>
                  <a:cubicBezTo>
                    <a:pt x="480" y="86"/>
                    <a:pt x="496" y="105"/>
                    <a:pt x="496" y="114"/>
                  </a:cubicBezTo>
                  <a:cubicBezTo>
                    <a:pt x="496" y="123"/>
                    <a:pt x="475" y="152"/>
                    <a:pt x="463" y="154"/>
                  </a:cubicBezTo>
                  <a:cubicBezTo>
                    <a:pt x="451" y="156"/>
                    <a:pt x="433" y="159"/>
                    <a:pt x="419" y="144"/>
                  </a:cubicBezTo>
                  <a:cubicBezTo>
                    <a:pt x="405" y="129"/>
                    <a:pt x="366" y="106"/>
                    <a:pt x="351" y="105"/>
                  </a:cubicBezTo>
                  <a:cubicBezTo>
                    <a:pt x="336" y="104"/>
                    <a:pt x="302" y="113"/>
                    <a:pt x="289" y="97"/>
                  </a:cubicBezTo>
                  <a:cubicBezTo>
                    <a:pt x="276" y="81"/>
                    <a:pt x="280" y="69"/>
                    <a:pt x="271" y="53"/>
                  </a:cubicBezTo>
                  <a:cubicBezTo>
                    <a:pt x="262" y="37"/>
                    <a:pt x="244" y="40"/>
                    <a:pt x="244" y="40"/>
                  </a:cubicBezTo>
                  <a:cubicBezTo>
                    <a:pt x="244" y="40"/>
                    <a:pt x="220" y="22"/>
                    <a:pt x="212" y="21"/>
                  </a:cubicBezTo>
                  <a:cubicBezTo>
                    <a:pt x="204" y="20"/>
                    <a:pt x="180" y="19"/>
                    <a:pt x="173" y="20"/>
                  </a:cubicBezTo>
                  <a:cubicBezTo>
                    <a:pt x="166" y="21"/>
                    <a:pt x="154" y="28"/>
                    <a:pt x="143" y="24"/>
                  </a:cubicBezTo>
                  <a:cubicBezTo>
                    <a:pt x="132" y="20"/>
                    <a:pt x="112" y="4"/>
                    <a:pt x="107" y="3"/>
                  </a:cubicBezTo>
                  <a:cubicBezTo>
                    <a:pt x="104" y="2"/>
                    <a:pt x="100" y="1"/>
                    <a:pt x="96" y="0"/>
                  </a:cubicBezTo>
                  <a:cubicBezTo>
                    <a:pt x="93" y="27"/>
                    <a:pt x="93" y="27"/>
                    <a:pt x="93" y="27"/>
                  </a:cubicBezTo>
                  <a:cubicBezTo>
                    <a:pt x="93" y="27"/>
                    <a:pt x="108" y="29"/>
                    <a:pt x="104" y="37"/>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65" name="Freeform 126"/>
            <p:cNvSpPr>
              <a:spLocks noEditPoints="1"/>
            </p:cNvSpPr>
            <p:nvPr/>
          </p:nvSpPr>
          <p:spPr bwMode="gray">
            <a:xfrm>
              <a:off x="4548188" y="4105275"/>
              <a:ext cx="334962" cy="411163"/>
            </a:xfrm>
            <a:custGeom>
              <a:avLst/>
              <a:gdLst>
                <a:gd name="T0" fmla="*/ 32 w 597"/>
                <a:gd name="T1" fmla="*/ 79 h 735"/>
                <a:gd name="T2" fmla="*/ 41 w 597"/>
                <a:gd name="T3" fmla="*/ 42 h 735"/>
                <a:gd name="T4" fmla="*/ 68 w 597"/>
                <a:gd name="T5" fmla="*/ 17 h 735"/>
                <a:gd name="T6" fmla="*/ 38 w 597"/>
                <a:gd name="T7" fmla="*/ 15 h 735"/>
                <a:gd name="T8" fmla="*/ 27 w 597"/>
                <a:gd name="T9" fmla="*/ 29 h 735"/>
                <a:gd name="T10" fmla="*/ 26 w 597"/>
                <a:gd name="T11" fmla="*/ 39 h 735"/>
                <a:gd name="T12" fmla="*/ 583 w 597"/>
                <a:gd name="T13" fmla="*/ 362 h 735"/>
                <a:gd name="T14" fmla="*/ 558 w 597"/>
                <a:gd name="T15" fmla="*/ 357 h 735"/>
                <a:gd name="T16" fmla="*/ 535 w 597"/>
                <a:gd name="T17" fmla="*/ 367 h 735"/>
                <a:gd name="T18" fmla="*/ 511 w 597"/>
                <a:gd name="T19" fmla="*/ 375 h 735"/>
                <a:gd name="T20" fmla="*/ 503 w 597"/>
                <a:gd name="T21" fmla="*/ 346 h 735"/>
                <a:gd name="T22" fmla="*/ 496 w 597"/>
                <a:gd name="T23" fmla="*/ 299 h 735"/>
                <a:gd name="T24" fmla="*/ 488 w 597"/>
                <a:gd name="T25" fmla="*/ 256 h 735"/>
                <a:gd name="T26" fmla="*/ 493 w 597"/>
                <a:gd name="T27" fmla="*/ 224 h 735"/>
                <a:gd name="T28" fmla="*/ 477 w 597"/>
                <a:gd name="T29" fmla="*/ 190 h 735"/>
                <a:gd name="T30" fmla="*/ 484 w 597"/>
                <a:gd name="T31" fmla="*/ 162 h 735"/>
                <a:gd name="T32" fmla="*/ 423 w 597"/>
                <a:gd name="T33" fmla="*/ 155 h 735"/>
                <a:gd name="T34" fmla="*/ 409 w 597"/>
                <a:gd name="T35" fmla="*/ 148 h 735"/>
                <a:gd name="T36" fmla="*/ 381 w 597"/>
                <a:gd name="T37" fmla="*/ 170 h 735"/>
                <a:gd name="T38" fmla="*/ 369 w 597"/>
                <a:gd name="T39" fmla="*/ 197 h 735"/>
                <a:gd name="T40" fmla="*/ 335 w 597"/>
                <a:gd name="T41" fmla="*/ 195 h 735"/>
                <a:gd name="T42" fmla="*/ 313 w 597"/>
                <a:gd name="T43" fmla="*/ 201 h 735"/>
                <a:gd name="T44" fmla="*/ 302 w 597"/>
                <a:gd name="T45" fmla="*/ 203 h 735"/>
                <a:gd name="T46" fmla="*/ 278 w 597"/>
                <a:gd name="T47" fmla="*/ 194 h 735"/>
                <a:gd name="T48" fmla="*/ 265 w 597"/>
                <a:gd name="T49" fmla="*/ 172 h 735"/>
                <a:gd name="T50" fmla="*/ 255 w 597"/>
                <a:gd name="T51" fmla="*/ 141 h 735"/>
                <a:gd name="T52" fmla="*/ 243 w 597"/>
                <a:gd name="T53" fmla="*/ 98 h 735"/>
                <a:gd name="T54" fmla="*/ 209 w 597"/>
                <a:gd name="T55" fmla="*/ 84 h 735"/>
                <a:gd name="T56" fmla="*/ 185 w 597"/>
                <a:gd name="T57" fmla="*/ 86 h 735"/>
                <a:gd name="T58" fmla="*/ 155 w 597"/>
                <a:gd name="T59" fmla="*/ 84 h 735"/>
                <a:gd name="T60" fmla="*/ 112 w 597"/>
                <a:gd name="T61" fmla="*/ 82 h 735"/>
                <a:gd name="T62" fmla="*/ 89 w 597"/>
                <a:gd name="T63" fmla="*/ 84 h 735"/>
                <a:gd name="T64" fmla="*/ 67 w 597"/>
                <a:gd name="T65" fmla="*/ 84 h 735"/>
                <a:gd name="T66" fmla="*/ 43 w 597"/>
                <a:gd name="T67" fmla="*/ 97 h 735"/>
                <a:gd name="T68" fmla="*/ 48 w 597"/>
                <a:gd name="T69" fmla="*/ 128 h 735"/>
                <a:gd name="T70" fmla="*/ 56 w 597"/>
                <a:gd name="T71" fmla="*/ 157 h 735"/>
                <a:gd name="T72" fmla="*/ 69 w 597"/>
                <a:gd name="T73" fmla="*/ 254 h 735"/>
                <a:gd name="T74" fmla="*/ 75 w 597"/>
                <a:gd name="T75" fmla="*/ 270 h 735"/>
                <a:gd name="T76" fmla="*/ 108 w 597"/>
                <a:gd name="T77" fmla="*/ 388 h 735"/>
                <a:gd name="T78" fmla="*/ 93 w 597"/>
                <a:gd name="T79" fmla="*/ 442 h 735"/>
                <a:gd name="T80" fmla="*/ 66 w 597"/>
                <a:gd name="T81" fmla="*/ 460 h 735"/>
                <a:gd name="T82" fmla="*/ 44 w 597"/>
                <a:gd name="T83" fmla="*/ 484 h 735"/>
                <a:gd name="T84" fmla="*/ 34 w 597"/>
                <a:gd name="T85" fmla="*/ 524 h 735"/>
                <a:gd name="T86" fmla="*/ 21 w 597"/>
                <a:gd name="T87" fmla="*/ 579 h 735"/>
                <a:gd name="T88" fmla="*/ 6 w 597"/>
                <a:gd name="T89" fmla="*/ 618 h 735"/>
                <a:gd name="T90" fmla="*/ 13 w 597"/>
                <a:gd name="T91" fmla="*/ 654 h 735"/>
                <a:gd name="T92" fmla="*/ 3 w 597"/>
                <a:gd name="T93" fmla="*/ 696 h 735"/>
                <a:gd name="T94" fmla="*/ 24 w 597"/>
                <a:gd name="T95" fmla="*/ 691 h 735"/>
                <a:gd name="T96" fmla="*/ 50 w 597"/>
                <a:gd name="T97" fmla="*/ 695 h 735"/>
                <a:gd name="T98" fmla="*/ 81 w 597"/>
                <a:gd name="T99" fmla="*/ 681 h 735"/>
                <a:gd name="T100" fmla="*/ 322 w 597"/>
                <a:gd name="T101" fmla="*/ 703 h 735"/>
                <a:gd name="T102" fmla="*/ 361 w 597"/>
                <a:gd name="T103" fmla="*/ 724 h 735"/>
                <a:gd name="T104" fmla="*/ 411 w 597"/>
                <a:gd name="T105" fmla="*/ 729 h 735"/>
                <a:gd name="T106" fmla="*/ 463 w 597"/>
                <a:gd name="T107" fmla="*/ 735 h 735"/>
                <a:gd name="T108" fmla="*/ 493 w 597"/>
                <a:gd name="T109" fmla="*/ 657 h 735"/>
                <a:gd name="T110" fmla="*/ 487 w 597"/>
                <a:gd name="T111" fmla="*/ 635 h 735"/>
                <a:gd name="T112" fmla="*/ 571 w 597"/>
                <a:gd name="T113" fmla="*/ 470 h 735"/>
                <a:gd name="T114" fmla="*/ 580 w 597"/>
                <a:gd name="T115" fmla="*/ 440 h 735"/>
                <a:gd name="T116" fmla="*/ 585 w 597"/>
                <a:gd name="T117" fmla="*/ 426 h 735"/>
                <a:gd name="T118" fmla="*/ 594 w 597"/>
                <a:gd name="T119" fmla="*/ 386 h 7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97" h="735">
                  <a:moveTo>
                    <a:pt x="30" y="77"/>
                  </a:moveTo>
                  <a:cubicBezTo>
                    <a:pt x="30" y="77"/>
                    <a:pt x="31" y="78"/>
                    <a:pt x="32" y="79"/>
                  </a:cubicBezTo>
                  <a:cubicBezTo>
                    <a:pt x="37" y="76"/>
                    <a:pt x="42" y="74"/>
                    <a:pt x="45" y="72"/>
                  </a:cubicBezTo>
                  <a:cubicBezTo>
                    <a:pt x="53" y="68"/>
                    <a:pt x="41" y="42"/>
                    <a:pt x="41" y="42"/>
                  </a:cubicBezTo>
                  <a:cubicBezTo>
                    <a:pt x="65" y="25"/>
                    <a:pt x="65" y="25"/>
                    <a:pt x="65" y="25"/>
                  </a:cubicBezTo>
                  <a:cubicBezTo>
                    <a:pt x="68" y="17"/>
                    <a:pt x="68" y="17"/>
                    <a:pt x="68" y="17"/>
                  </a:cubicBezTo>
                  <a:cubicBezTo>
                    <a:pt x="68" y="17"/>
                    <a:pt x="66" y="0"/>
                    <a:pt x="59" y="1"/>
                  </a:cubicBezTo>
                  <a:cubicBezTo>
                    <a:pt x="52" y="2"/>
                    <a:pt x="38" y="15"/>
                    <a:pt x="38" y="15"/>
                  </a:cubicBezTo>
                  <a:cubicBezTo>
                    <a:pt x="38" y="29"/>
                    <a:pt x="38" y="29"/>
                    <a:pt x="38" y="29"/>
                  </a:cubicBezTo>
                  <a:cubicBezTo>
                    <a:pt x="27" y="29"/>
                    <a:pt x="27" y="29"/>
                    <a:pt x="27" y="29"/>
                  </a:cubicBezTo>
                  <a:cubicBezTo>
                    <a:pt x="23" y="35"/>
                    <a:pt x="23" y="35"/>
                    <a:pt x="23" y="35"/>
                  </a:cubicBezTo>
                  <a:cubicBezTo>
                    <a:pt x="26" y="39"/>
                    <a:pt x="26" y="39"/>
                    <a:pt x="26" y="39"/>
                  </a:cubicBezTo>
                  <a:lnTo>
                    <a:pt x="30" y="77"/>
                  </a:lnTo>
                  <a:close/>
                  <a:moveTo>
                    <a:pt x="583" y="362"/>
                  </a:moveTo>
                  <a:cubicBezTo>
                    <a:pt x="569" y="364"/>
                    <a:pt x="569" y="364"/>
                    <a:pt x="569" y="364"/>
                  </a:cubicBezTo>
                  <a:cubicBezTo>
                    <a:pt x="569" y="364"/>
                    <a:pt x="565" y="357"/>
                    <a:pt x="558" y="357"/>
                  </a:cubicBezTo>
                  <a:cubicBezTo>
                    <a:pt x="551" y="357"/>
                    <a:pt x="551" y="362"/>
                    <a:pt x="551" y="362"/>
                  </a:cubicBezTo>
                  <a:cubicBezTo>
                    <a:pt x="535" y="367"/>
                    <a:pt x="535" y="367"/>
                    <a:pt x="535" y="367"/>
                  </a:cubicBezTo>
                  <a:cubicBezTo>
                    <a:pt x="517" y="363"/>
                    <a:pt x="517" y="363"/>
                    <a:pt x="517" y="363"/>
                  </a:cubicBezTo>
                  <a:cubicBezTo>
                    <a:pt x="511" y="375"/>
                    <a:pt x="511" y="375"/>
                    <a:pt x="511" y="375"/>
                  </a:cubicBezTo>
                  <a:cubicBezTo>
                    <a:pt x="511" y="375"/>
                    <a:pt x="503" y="373"/>
                    <a:pt x="500" y="369"/>
                  </a:cubicBezTo>
                  <a:cubicBezTo>
                    <a:pt x="497" y="365"/>
                    <a:pt x="500" y="353"/>
                    <a:pt x="503" y="346"/>
                  </a:cubicBezTo>
                  <a:cubicBezTo>
                    <a:pt x="506" y="339"/>
                    <a:pt x="507" y="324"/>
                    <a:pt x="507" y="324"/>
                  </a:cubicBezTo>
                  <a:cubicBezTo>
                    <a:pt x="507" y="324"/>
                    <a:pt x="503" y="306"/>
                    <a:pt x="496" y="299"/>
                  </a:cubicBezTo>
                  <a:cubicBezTo>
                    <a:pt x="489" y="292"/>
                    <a:pt x="483" y="284"/>
                    <a:pt x="483" y="276"/>
                  </a:cubicBezTo>
                  <a:cubicBezTo>
                    <a:pt x="483" y="268"/>
                    <a:pt x="488" y="256"/>
                    <a:pt x="488" y="256"/>
                  </a:cubicBezTo>
                  <a:cubicBezTo>
                    <a:pt x="485" y="240"/>
                    <a:pt x="485" y="240"/>
                    <a:pt x="485" y="240"/>
                  </a:cubicBezTo>
                  <a:cubicBezTo>
                    <a:pt x="485" y="240"/>
                    <a:pt x="493" y="231"/>
                    <a:pt x="493" y="224"/>
                  </a:cubicBezTo>
                  <a:cubicBezTo>
                    <a:pt x="493" y="217"/>
                    <a:pt x="480" y="204"/>
                    <a:pt x="480" y="204"/>
                  </a:cubicBezTo>
                  <a:cubicBezTo>
                    <a:pt x="477" y="190"/>
                    <a:pt x="477" y="190"/>
                    <a:pt x="477" y="190"/>
                  </a:cubicBezTo>
                  <a:cubicBezTo>
                    <a:pt x="484" y="180"/>
                    <a:pt x="484" y="180"/>
                    <a:pt x="484" y="180"/>
                  </a:cubicBezTo>
                  <a:cubicBezTo>
                    <a:pt x="484" y="162"/>
                    <a:pt x="484" y="162"/>
                    <a:pt x="484" y="162"/>
                  </a:cubicBezTo>
                  <a:cubicBezTo>
                    <a:pt x="424" y="163"/>
                    <a:pt x="424" y="163"/>
                    <a:pt x="424" y="163"/>
                  </a:cubicBezTo>
                  <a:cubicBezTo>
                    <a:pt x="423" y="155"/>
                    <a:pt x="423" y="155"/>
                    <a:pt x="423" y="155"/>
                  </a:cubicBezTo>
                  <a:cubicBezTo>
                    <a:pt x="423" y="155"/>
                    <a:pt x="427" y="146"/>
                    <a:pt x="418" y="143"/>
                  </a:cubicBezTo>
                  <a:cubicBezTo>
                    <a:pt x="409" y="140"/>
                    <a:pt x="409" y="148"/>
                    <a:pt x="409" y="148"/>
                  </a:cubicBezTo>
                  <a:cubicBezTo>
                    <a:pt x="409" y="148"/>
                    <a:pt x="380" y="145"/>
                    <a:pt x="375" y="149"/>
                  </a:cubicBezTo>
                  <a:cubicBezTo>
                    <a:pt x="370" y="153"/>
                    <a:pt x="381" y="165"/>
                    <a:pt x="381" y="170"/>
                  </a:cubicBezTo>
                  <a:cubicBezTo>
                    <a:pt x="381" y="175"/>
                    <a:pt x="374" y="175"/>
                    <a:pt x="371" y="179"/>
                  </a:cubicBezTo>
                  <a:cubicBezTo>
                    <a:pt x="368" y="183"/>
                    <a:pt x="369" y="197"/>
                    <a:pt x="369" y="197"/>
                  </a:cubicBezTo>
                  <a:cubicBezTo>
                    <a:pt x="339" y="200"/>
                    <a:pt x="339" y="200"/>
                    <a:pt x="339" y="200"/>
                  </a:cubicBezTo>
                  <a:cubicBezTo>
                    <a:pt x="335" y="195"/>
                    <a:pt x="335" y="195"/>
                    <a:pt x="335" y="195"/>
                  </a:cubicBezTo>
                  <a:cubicBezTo>
                    <a:pt x="328" y="201"/>
                    <a:pt x="328" y="201"/>
                    <a:pt x="328" y="201"/>
                  </a:cubicBezTo>
                  <a:cubicBezTo>
                    <a:pt x="313" y="201"/>
                    <a:pt x="313" y="201"/>
                    <a:pt x="313" y="201"/>
                  </a:cubicBezTo>
                  <a:cubicBezTo>
                    <a:pt x="309" y="208"/>
                    <a:pt x="309" y="208"/>
                    <a:pt x="309" y="208"/>
                  </a:cubicBezTo>
                  <a:cubicBezTo>
                    <a:pt x="302" y="203"/>
                    <a:pt x="302" y="203"/>
                    <a:pt x="302" y="203"/>
                  </a:cubicBezTo>
                  <a:cubicBezTo>
                    <a:pt x="281" y="204"/>
                    <a:pt x="281" y="204"/>
                    <a:pt x="281" y="204"/>
                  </a:cubicBezTo>
                  <a:cubicBezTo>
                    <a:pt x="278" y="194"/>
                    <a:pt x="278" y="194"/>
                    <a:pt x="278" y="194"/>
                  </a:cubicBezTo>
                  <a:cubicBezTo>
                    <a:pt x="272" y="186"/>
                    <a:pt x="272" y="186"/>
                    <a:pt x="272" y="186"/>
                  </a:cubicBezTo>
                  <a:cubicBezTo>
                    <a:pt x="272" y="186"/>
                    <a:pt x="270" y="178"/>
                    <a:pt x="265" y="172"/>
                  </a:cubicBezTo>
                  <a:cubicBezTo>
                    <a:pt x="260" y="166"/>
                    <a:pt x="254" y="163"/>
                    <a:pt x="254" y="163"/>
                  </a:cubicBezTo>
                  <a:cubicBezTo>
                    <a:pt x="254" y="163"/>
                    <a:pt x="256" y="147"/>
                    <a:pt x="255" y="141"/>
                  </a:cubicBezTo>
                  <a:cubicBezTo>
                    <a:pt x="254" y="135"/>
                    <a:pt x="244" y="128"/>
                    <a:pt x="244" y="128"/>
                  </a:cubicBezTo>
                  <a:cubicBezTo>
                    <a:pt x="243" y="98"/>
                    <a:pt x="243" y="98"/>
                    <a:pt x="243" y="98"/>
                  </a:cubicBezTo>
                  <a:cubicBezTo>
                    <a:pt x="243" y="98"/>
                    <a:pt x="237" y="94"/>
                    <a:pt x="232" y="85"/>
                  </a:cubicBezTo>
                  <a:cubicBezTo>
                    <a:pt x="227" y="76"/>
                    <a:pt x="209" y="84"/>
                    <a:pt x="209" y="84"/>
                  </a:cubicBezTo>
                  <a:cubicBezTo>
                    <a:pt x="195" y="83"/>
                    <a:pt x="195" y="83"/>
                    <a:pt x="195" y="83"/>
                  </a:cubicBezTo>
                  <a:cubicBezTo>
                    <a:pt x="185" y="86"/>
                    <a:pt x="185" y="86"/>
                    <a:pt x="185" y="86"/>
                  </a:cubicBezTo>
                  <a:cubicBezTo>
                    <a:pt x="185" y="86"/>
                    <a:pt x="178" y="86"/>
                    <a:pt x="173" y="86"/>
                  </a:cubicBezTo>
                  <a:cubicBezTo>
                    <a:pt x="168" y="86"/>
                    <a:pt x="155" y="84"/>
                    <a:pt x="155" y="84"/>
                  </a:cubicBezTo>
                  <a:cubicBezTo>
                    <a:pt x="155" y="84"/>
                    <a:pt x="137" y="87"/>
                    <a:pt x="130" y="88"/>
                  </a:cubicBezTo>
                  <a:cubicBezTo>
                    <a:pt x="123" y="89"/>
                    <a:pt x="112" y="82"/>
                    <a:pt x="112" y="82"/>
                  </a:cubicBezTo>
                  <a:cubicBezTo>
                    <a:pt x="97" y="86"/>
                    <a:pt x="97" y="86"/>
                    <a:pt x="97" y="86"/>
                  </a:cubicBezTo>
                  <a:cubicBezTo>
                    <a:pt x="89" y="84"/>
                    <a:pt x="89" y="84"/>
                    <a:pt x="89" y="84"/>
                  </a:cubicBezTo>
                  <a:cubicBezTo>
                    <a:pt x="84" y="86"/>
                    <a:pt x="84" y="86"/>
                    <a:pt x="84" y="86"/>
                  </a:cubicBezTo>
                  <a:cubicBezTo>
                    <a:pt x="67" y="84"/>
                    <a:pt x="67" y="84"/>
                    <a:pt x="67" y="84"/>
                  </a:cubicBezTo>
                  <a:cubicBezTo>
                    <a:pt x="44" y="94"/>
                    <a:pt x="44" y="94"/>
                    <a:pt x="44" y="94"/>
                  </a:cubicBezTo>
                  <a:cubicBezTo>
                    <a:pt x="44" y="95"/>
                    <a:pt x="44" y="96"/>
                    <a:pt x="43" y="97"/>
                  </a:cubicBezTo>
                  <a:cubicBezTo>
                    <a:pt x="37" y="101"/>
                    <a:pt x="32" y="102"/>
                    <a:pt x="32" y="102"/>
                  </a:cubicBezTo>
                  <a:cubicBezTo>
                    <a:pt x="32" y="102"/>
                    <a:pt x="45" y="121"/>
                    <a:pt x="48" y="128"/>
                  </a:cubicBezTo>
                  <a:cubicBezTo>
                    <a:pt x="51" y="135"/>
                    <a:pt x="60" y="138"/>
                    <a:pt x="60" y="138"/>
                  </a:cubicBezTo>
                  <a:cubicBezTo>
                    <a:pt x="56" y="157"/>
                    <a:pt x="56" y="157"/>
                    <a:pt x="56" y="157"/>
                  </a:cubicBezTo>
                  <a:cubicBezTo>
                    <a:pt x="56" y="157"/>
                    <a:pt x="88" y="194"/>
                    <a:pt x="85" y="221"/>
                  </a:cubicBezTo>
                  <a:cubicBezTo>
                    <a:pt x="82" y="248"/>
                    <a:pt x="69" y="254"/>
                    <a:pt x="69" y="254"/>
                  </a:cubicBezTo>
                  <a:cubicBezTo>
                    <a:pt x="68" y="271"/>
                    <a:pt x="68" y="271"/>
                    <a:pt x="68" y="271"/>
                  </a:cubicBezTo>
                  <a:cubicBezTo>
                    <a:pt x="75" y="270"/>
                    <a:pt x="75" y="270"/>
                    <a:pt x="75" y="270"/>
                  </a:cubicBezTo>
                  <a:cubicBezTo>
                    <a:pt x="75" y="270"/>
                    <a:pt x="71" y="293"/>
                    <a:pt x="85" y="314"/>
                  </a:cubicBezTo>
                  <a:cubicBezTo>
                    <a:pt x="99" y="335"/>
                    <a:pt x="111" y="373"/>
                    <a:pt x="108" y="388"/>
                  </a:cubicBezTo>
                  <a:cubicBezTo>
                    <a:pt x="105" y="403"/>
                    <a:pt x="94" y="420"/>
                    <a:pt x="94" y="420"/>
                  </a:cubicBezTo>
                  <a:cubicBezTo>
                    <a:pt x="94" y="420"/>
                    <a:pt x="101" y="436"/>
                    <a:pt x="93" y="442"/>
                  </a:cubicBezTo>
                  <a:cubicBezTo>
                    <a:pt x="85" y="448"/>
                    <a:pt x="72" y="446"/>
                    <a:pt x="72" y="446"/>
                  </a:cubicBezTo>
                  <a:cubicBezTo>
                    <a:pt x="66" y="460"/>
                    <a:pt x="66" y="460"/>
                    <a:pt x="66" y="460"/>
                  </a:cubicBezTo>
                  <a:cubicBezTo>
                    <a:pt x="68" y="475"/>
                    <a:pt x="68" y="475"/>
                    <a:pt x="68" y="475"/>
                  </a:cubicBezTo>
                  <a:cubicBezTo>
                    <a:pt x="68" y="475"/>
                    <a:pt x="43" y="472"/>
                    <a:pt x="44" y="484"/>
                  </a:cubicBezTo>
                  <a:cubicBezTo>
                    <a:pt x="45" y="496"/>
                    <a:pt x="41" y="514"/>
                    <a:pt x="41" y="514"/>
                  </a:cubicBezTo>
                  <a:cubicBezTo>
                    <a:pt x="34" y="524"/>
                    <a:pt x="34" y="524"/>
                    <a:pt x="34" y="524"/>
                  </a:cubicBezTo>
                  <a:cubicBezTo>
                    <a:pt x="34" y="524"/>
                    <a:pt x="38" y="556"/>
                    <a:pt x="35" y="566"/>
                  </a:cubicBezTo>
                  <a:cubicBezTo>
                    <a:pt x="32" y="576"/>
                    <a:pt x="21" y="579"/>
                    <a:pt x="21" y="579"/>
                  </a:cubicBezTo>
                  <a:cubicBezTo>
                    <a:pt x="21" y="606"/>
                    <a:pt x="21" y="606"/>
                    <a:pt x="21" y="606"/>
                  </a:cubicBezTo>
                  <a:cubicBezTo>
                    <a:pt x="6" y="618"/>
                    <a:pt x="6" y="618"/>
                    <a:pt x="6" y="618"/>
                  </a:cubicBezTo>
                  <a:cubicBezTo>
                    <a:pt x="6" y="645"/>
                    <a:pt x="6" y="645"/>
                    <a:pt x="6" y="645"/>
                  </a:cubicBezTo>
                  <a:cubicBezTo>
                    <a:pt x="13" y="654"/>
                    <a:pt x="13" y="654"/>
                    <a:pt x="13" y="654"/>
                  </a:cubicBezTo>
                  <a:cubicBezTo>
                    <a:pt x="0" y="669"/>
                    <a:pt x="0" y="669"/>
                    <a:pt x="0" y="669"/>
                  </a:cubicBezTo>
                  <a:cubicBezTo>
                    <a:pt x="3" y="696"/>
                    <a:pt x="3" y="696"/>
                    <a:pt x="3" y="696"/>
                  </a:cubicBezTo>
                  <a:cubicBezTo>
                    <a:pt x="13" y="695"/>
                    <a:pt x="13" y="695"/>
                    <a:pt x="13" y="695"/>
                  </a:cubicBezTo>
                  <a:cubicBezTo>
                    <a:pt x="24" y="691"/>
                    <a:pt x="24" y="691"/>
                    <a:pt x="24" y="691"/>
                  </a:cubicBezTo>
                  <a:cubicBezTo>
                    <a:pt x="31" y="696"/>
                    <a:pt x="31" y="696"/>
                    <a:pt x="31" y="696"/>
                  </a:cubicBezTo>
                  <a:cubicBezTo>
                    <a:pt x="31" y="696"/>
                    <a:pt x="43" y="696"/>
                    <a:pt x="50" y="695"/>
                  </a:cubicBezTo>
                  <a:cubicBezTo>
                    <a:pt x="57" y="694"/>
                    <a:pt x="61" y="680"/>
                    <a:pt x="61" y="680"/>
                  </a:cubicBezTo>
                  <a:cubicBezTo>
                    <a:pt x="61" y="680"/>
                    <a:pt x="82" y="682"/>
                    <a:pt x="81" y="681"/>
                  </a:cubicBezTo>
                  <a:cubicBezTo>
                    <a:pt x="85" y="692"/>
                    <a:pt x="119" y="705"/>
                    <a:pt x="119" y="705"/>
                  </a:cubicBezTo>
                  <a:cubicBezTo>
                    <a:pt x="322" y="703"/>
                    <a:pt x="322" y="703"/>
                    <a:pt x="322" y="703"/>
                  </a:cubicBezTo>
                  <a:cubicBezTo>
                    <a:pt x="322" y="703"/>
                    <a:pt x="331" y="722"/>
                    <a:pt x="338" y="724"/>
                  </a:cubicBezTo>
                  <a:cubicBezTo>
                    <a:pt x="345" y="726"/>
                    <a:pt x="361" y="724"/>
                    <a:pt x="361" y="724"/>
                  </a:cubicBezTo>
                  <a:cubicBezTo>
                    <a:pt x="365" y="730"/>
                    <a:pt x="365" y="730"/>
                    <a:pt x="365" y="730"/>
                  </a:cubicBezTo>
                  <a:cubicBezTo>
                    <a:pt x="411" y="729"/>
                    <a:pt x="411" y="729"/>
                    <a:pt x="411" y="729"/>
                  </a:cubicBezTo>
                  <a:cubicBezTo>
                    <a:pt x="417" y="735"/>
                    <a:pt x="417" y="735"/>
                    <a:pt x="417" y="735"/>
                  </a:cubicBezTo>
                  <a:cubicBezTo>
                    <a:pt x="417" y="735"/>
                    <a:pt x="435" y="735"/>
                    <a:pt x="463" y="735"/>
                  </a:cubicBezTo>
                  <a:cubicBezTo>
                    <a:pt x="491" y="735"/>
                    <a:pt x="551" y="715"/>
                    <a:pt x="551" y="715"/>
                  </a:cubicBezTo>
                  <a:cubicBezTo>
                    <a:pt x="493" y="657"/>
                    <a:pt x="493" y="657"/>
                    <a:pt x="493" y="657"/>
                  </a:cubicBezTo>
                  <a:cubicBezTo>
                    <a:pt x="493" y="645"/>
                    <a:pt x="493" y="645"/>
                    <a:pt x="493" y="645"/>
                  </a:cubicBezTo>
                  <a:cubicBezTo>
                    <a:pt x="487" y="635"/>
                    <a:pt x="487" y="635"/>
                    <a:pt x="487" y="635"/>
                  </a:cubicBezTo>
                  <a:cubicBezTo>
                    <a:pt x="488" y="468"/>
                    <a:pt x="488" y="468"/>
                    <a:pt x="488" y="468"/>
                  </a:cubicBezTo>
                  <a:cubicBezTo>
                    <a:pt x="571" y="470"/>
                    <a:pt x="571" y="470"/>
                    <a:pt x="571" y="470"/>
                  </a:cubicBezTo>
                  <a:cubicBezTo>
                    <a:pt x="571" y="470"/>
                    <a:pt x="582" y="470"/>
                    <a:pt x="584" y="463"/>
                  </a:cubicBezTo>
                  <a:cubicBezTo>
                    <a:pt x="586" y="456"/>
                    <a:pt x="580" y="440"/>
                    <a:pt x="580" y="440"/>
                  </a:cubicBezTo>
                  <a:cubicBezTo>
                    <a:pt x="593" y="437"/>
                    <a:pt x="593" y="437"/>
                    <a:pt x="593" y="437"/>
                  </a:cubicBezTo>
                  <a:cubicBezTo>
                    <a:pt x="585" y="426"/>
                    <a:pt x="585" y="426"/>
                    <a:pt x="585" y="426"/>
                  </a:cubicBezTo>
                  <a:cubicBezTo>
                    <a:pt x="583" y="391"/>
                    <a:pt x="583" y="391"/>
                    <a:pt x="583" y="391"/>
                  </a:cubicBezTo>
                  <a:cubicBezTo>
                    <a:pt x="583" y="391"/>
                    <a:pt x="591" y="389"/>
                    <a:pt x="594" y="386"/>
                  </a:cubicBezTo>
                  <a:cubicBezTo>
                    <a:pt x="597" y="383"/>
                    <a:pt x="583" y="362"/>
                    <a:pt x="583" y="362"/>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66" name="Freeform 127"/>
            <p:cNvSpPr>
              <a:spLocks/>
            </p:cNvSpPr>
            <p:nvPr/>
          </p:nvSpPr>
          <p:spPr bwMode="gray">
            <a:xfrm>
              <a:off x="5003800" y="4006850"/>
              <a:ext cx="58737" cy="55563"/>
            </a:xfrm>
            <a:custGeom>
              <a:avLst/>
              <a:gdLst>
                <a:gd name="T0" fmla="*/ 35 w 104"/>
                <a:gd name="T1" fmla="*/ 98 h 98"/>
                <a:gd name="T2" fmla="*/ 52 w 104"/>
                <a:gd name="T3" fmla="*/ 91 h 98"/>
                <a:gd name="T4" fmla="*/ 57 w 104"/>
                <a:gd name="T5" fmla="*/ 74 h 98"/>
                <a:gd name="T6" fmla="*/ 87 w 104"/>
                <a:gd name="T7" fmla="*/ 74 h 98"/>
                <a:gd name="T8" fmla="*/ 90 w 104"/>
                <a:gd name="T9" fmla="*/ 74 h 98"/>
                <a:gd name="T10" fmla="*/ 104 w 104"/>
                <a:gd name="T11" fmla="*/ 64 h 98"/>
                <a:gd name="T12" fmla="*/ 98 w 104"/>
                <a:gd name="T13" fmla="*/ 44 h 98"/>
                <a:gd name="T14" fmla="*/ 100 w 104"/>
                <a:gd name="T15" fmla="*/ 31 h 98"/>
                <a:gd name="T16" fmla="*/ 86 w 104"/>
                <a:gd name="T17" fmla="*/ 13 h 98"/>
                <a:gd name="T18" fmla="*/ 91 w 104"/>
                <a:gd name="T19" fmla="*/ 0 h 98"/>
                <a:gd name="T20" fmla="*/ 75 w 104"/>
                <a:gd name="T21" fmla="*/ 1 h 98"/>
                <a:gd name="T22" fmla="*/ 64 w 104"/>
                <a:gd name="T23" fmla="*/ 25 h 98"/>
                <a:gd name="T24" fmla="*/ 52 w 104"/>
                <a:gd name="T25" fmla="*/ 17 h 98"/>
                <a:gd name="T26" fmla="*/ 42 w 104"/>
                <a:gd name="T27" fmla="*/ 17 h 98"/>
                <a:gd name="T28" fmla="*/ 17 w 104"/>
                <a:gd name="T29" fmla="*/ 36 h 98"/>
                <a:gd name="T30" fmla="*/ 24 w 104"/>
                <a:gd name="T31" fmla="*/ 58 h 98"/>
                <a:gd name="T32" fmla="*/ 4 w 104"/>
                <a:gd name="T33" fmla="*/ 80 h 98"/>
                <a:gd name="T34" fmla="*/ 22 w 104"/>
                <a:gd name="T35" fmla="*/ 85 h 98"/>
                <a:gd name="T36" fmla="*/ 35 w 104"/>
                <a:gd name="T37" fmla="*/ 98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04" h="98">
                  <a:moveTo>
                    <a:pt x="35" y="98"/>
                  </a:moveTo>
                  <a:cubicBezTo>
                    <a:pt x="39" y="98"/>
                    <a:pt x="52" y="91"/>
                    <a:pt x="52" y="91"/>
                  </a:cubicBezTo>
                  <a:cubicBezTo>
                    <a:pt x="57" y="74"/>
                    <a:pt x="57" y="74"/>
                    <a:pt x="57" y="74"/>
                  </a:cubicBezTo>
                  <a:cubicBezTo>
                    <a:pt x="87" y="74"/>
                    <a:pt x="87" y="74"/>
                    <a:pt x="87" y="74"/>
                  </a:cubicBezTo>
                  <a:cubicBezTo>
                    <a:pt x="90" y="74"/>
                    <a:pt x="90" y="74"/>
                    <a:pt x="90" y="74"/>
                  </a:cubicBezTo>
                  <a:cubicBezTo>
                    <a:pt x="96" y="73"/>
                    <a:pt x="104" y="71"/>
                    <a:pt x="104" y="64"/>
                  </a:cubicBezTo>
                  <a:cubicBezTo>
                    <a:pt x="104" y="52"/>
                    <a:pt x="98" y="44"/>
                    <a:pt x="98" y="44"/>
                  </a:cubicBezTo>
                  <a:cubicBezTo>
                    <a:pt x="98" y="44"/>
                    <a:pt x="104" y="39"/>
                    <a:pt x="100" y="31"/>
                  </a:cubicBezTo>
                  <a:cubicBezTo>
                    <a:pt x="96" y="23"/>
                    <a:pt x="86" y="13"/>
                    <a:pt x="86" y="13"/>
                  </a:cubicBezTo>
                  <a:cubicBezTo>
                    <a:pt x="91" y="0"/>
                    <a:pt x="91" y="0"/>
                    <a:pt x="91" y="0"/>
                  </a:cubicBezTo>
                  <a:cubicBezTo>
                    <a:pt x="75" y="1"/>
                    <a:pt x="75" y="1"/>
                    <a:pt x="75" y="1"/>
                  </a:cubicBezTo>
                  <a:cubicBezTo>
                    <a:pt x="75" y="1"/>
                    <a:pt x="71" y="17"/>
                    <a:pt x="64" y="25"/>
                  </a:cubicBezTo>
                  <a:cubicBezTo>
                    <a:pt x="58" y="32"/>
                    <a:pt x="52" y="17"/>
                    <a:pt x="52" y="17"/>
                  </a:cubicBezTo>
                  <a:cubicBezTo>
                    <a:pt x="42" y="17"/>
                    <a:pt x="42" y="17"/>
                    <a:pt x="42" y="17"/>
                  </a:cubicBezTo>
                  <a:cubicBezTo>
                    <a:pt x="42" y="17"/>
                    <a:pt x="18" y="28"/>
                    <a:pt x="17" y="36"/>
                  </a:cubicBezTo>
                  <a:cubicBezTo>
                    <a:pt x="15" y="44"/>
                    <a:pt x="25" y="55"/>
                    <a:pt x="24" y="58"/>
                  </a:cubicBezTo>
                  <a:cubicBezTo>
                    <a:pt x="22" y="62"/>
                    <a:pt x="0" y="72"/>
                    <a:pt x="4" y="80"/>
                  </a:cubicBezTo>
                  <a:cubicBezTo>
                    <a:pt x="8" y="88"/>
                    <a:pt x="22" y="85"/>
                    <a:pt x="22" y="85"/>
                  </a:cubicBezTo>
                  <a:cubicBezTo>
                    <a:pt x="22" y="85"/>
                    <a:pt x="31" y="98"/>
                    <a:pt x="35" y="98"/>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67" name="Freeform 128"/>
            <p:cNvSpPr>
              <a:spLocks/>
            </p:cNvSpPr>
            <p:nvPr/>
          </p:nvSpPr>
          <p:spPr bwMode="gray">
            <a:xfrm>
              <a:off x="4621213" y="3644900"/>
              <a:ext cx="344487" cy="261938"/>
            </a:xfrm>
            <a:custGeom>
              <a:avLst/>
              <a:gdLst>
                <a:gd name="T0" fmla="*/ 589 w 614"/>
                <a:gd name="T1" fmla="*/ 267 h 467"/>
                <a:gd name="T2" fmla="*/ 575 w 614"/>
                <a:gd name="T3" fmla="*/ 253 h 467"/>
                <a:gd name="T4" fmla="*/ 573 w 614"/>
                <a:gd name="T5" fmla="*/ 236 h 467"/>
                <a:gd name="T6" fmla="*/ 542 w 614"/>
                <a:gd name="T7" fmla="*/ 203 h 467"/>
                <a:gd name="T8" fmla="*/ 521 w 614"/>
                <a:gd name="T9" fmla="*/ 175 h 467"/>
                <a:gd name="T10" fmla="*/ 502 w 614"/>
                <a:gd name="T11" fmla="*/ 152 h 467"/>
                <a:gd name="T12" fmla="*/ 467 w 614"/>
                <a:gd name="T13" fmla="*/ 130 h 467"/>
                <a:gd name="T14" fmla="*/ 433 w 614"/>
                <a:gd name="T15" fmla="*/ 120 h 467"/>
                <a:gd name="T16" fmla="*/ 431 w 614"/>
                <a:gd name="T17" fmla="*/ 102 h 467"/>
                <a:gd name="T18" fmla="*/ 402 w 614"/>
                <a:gd name="T19" fmla="*/ 8 h 467"/>
                <a:gd name="T20" fmla="*/ 385 w 614"/>
                <a:gd name="T21" fmla="*/ 0 h 467"/>
                <a:gd name="T22" fmla="*/ 345 w 614"/>
                <a:gd name="T23" fmla="*/ 38 h 467"/>
                <a:gd name="T24" fmla="*/ 320 w 614"/>
                <a:gd name="T25" fmla="*/ 55 h 467"/>
                <a:gd name="T26" fmla="*/ 222 w 614"/>
                <a:gd name="T27" fmla="*/ 107 h 467"/>
                <a:gd name="T28" fmla="*/ 223 w 614"/>
                <a:gd name="T29" fmla="*/ 132 h 467"/>
                <a:gd name="T30" fmla="*/ 151 w 614"/>
                <a:gd name="T31" fmla="*/ 160 h 467"/>
                <a:gd name="T32" fmla="*/ 108 w 614"/>
                <a:gd name="T33" fmla="*/ 165 h 467"/>
                <a:gd name="T34" fmla="*/ 56 w 614"/>
                <a:gd name="T35" fmla="*/ 186 h 467"/>
                <a:gd name="T36" fmla="*/ 35 w 614"/>
                <a:gd name="T37" fmla="*/ 224 h 467"/>
                <a:gd name="T38" fmla="*/ 24 w 614"/>
                <a:gd name="T39" fmla="*/ 249 h 467"/>
                <a:gd name="T40" fmla="*/ 15 w 614"/>
                <a:gd name="T41" fmla="*/ 273 h 467"/>
                <a:gd name="T42" fmla="*/ 7 w 614"/>
                <a:gd name="T43" fmla="*/ 306 h 467"/>
                <a:gd name="T44" fmla="*/ 19 w 614"/>
                <a:gd name="T45" fmla="*/ 344 h 467"/>
                <a:gd name="T46" fmla="*/ 36 w 614"/>
                <a:gd name="T47" fmla="*/ 381 h 467"/>
                <a:gd name="T48" fmla="*/ 79 w 614"/>
                <a:gd name="T49" fmla="*/ 428 h 467"/>
                <a:gd name="T50" fmla="*/ 83 w 614"/>
                <a:gd name="T51" fmla="*/ 461 h 467"/>
                <a:gd name="T52" fmla="*/ 106 w 614"/>
                <a:gd name="T53" fmla="*/ 441 h 467"/>
                <a:gd name="T54" fmla="*/ 108 w 614"/>
                <a:gd name="T55" fmla="*/ 400 h 467"/>
                <a:gd name="T56" fmla="*/ 147 w 614"/>
                <a:gd name="T57" fmla="*/ 390 h 467"/>
                <a:gd name="T58" fmla="*/ 193 w 614"/>
                <a:gd name="T59" fmla="*/ 394 h 467"/>
                <a:gd name="T60" fmla="*/ 203 w 614"/>
                <a:gd name="T61" fmla="*/ 370 h 467"/>
                <a:gd name="T62" fmla="*/ 218 w 614"/>
                <a:gd name="T63" fmla="*/ 344 h 467"/>
                <a:gd name="T64" fmla="*/ 273 w 614"/>
                <a:gd name="T65" fmla="*/ 330 h 467"/>
                <a:gd name="T66" fmla="*/ 295 w 614"/>
                <a:gd name="T67" fmla="*/ 351 h 467"/>
                <a:gd name="T68" fmla="*/ 335 w 614"/>
                <a:gd name="T69" fmla="*/ 362 h 467"/>
                <a:gd name="T70" fmla="*/ 385 w 614"/>
                <a:gd name="T71" fmla="*/ 368 h 467"/>
                <a:gd name="T72" fmla="*/ 410 w 614"/>
                <a:gd name="T73" fmla="*/ 328 h 467"/>
                <a:gd name="T74" fmla="*/ 449 w 614"/>
                <a:gd name="T75" fmla="*/ 330 h 467"/>
                <a:gd name="T76" fmla="*/ 477 w 614"/>
                <a:gd name="T77" fmla="*/ 316 h 467"/>
                <a:gd name="T78" fmla="*/ 512 w 614"/>
                <a:gd name="T79" fmla="*/ 321 h 467"/>
                <a:gd name="T80" fmla="*/ 539 w 614"/>
                <a:gd name="T81" fmla="*/ 311 h 467"/>
                <a:gd name="T82" fmla="*/ 586 w 614"/>
                <a:gd name="T83" fmla="*/ 319 h 467"/>
                <a:gd name="T84" fmla="*/ 606 w 614"/>
                <a:gd name="T85" fmla="*/ 281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4" h="467">
                  <a:moveTo>
                    <a:pt x="606" y="281"/>
                  </a:moveTo>
                  <a:cubicBezTo>
                    <a:pt x="598" y="273"/>
                    <a:pt x="589" y="267"/>
                    <a:pt x="589" y="267"/>
                  </a:cubicBezTo>
                  <a:cubicBezTo>
                    <a:pt x="574" y="266"/>
                    <a:pt x="574" y="266"/>
                    <a:pt x="574" y="266"/>
                  </a:cubicBezTo>
                  <a:cubicBezTo>
                    <a:pt x="575" y="253"/>
                    <a:pt x="575" y="253"/>
                    <a:pt x="575" y="253"/>
                  </a:cubicBezTo>
                  <a:cubicBezTo>
                    <a:pt x="575" y="253"/>
                    <a:pt x="568" y="250"/>
                    <a:pt x="567" y="244"/>
                  </a:cubicBezTo>
                  <a:cubicBezTo>
                    <a:pt x="566" y="238"/>
                    <a:pt x="573" y="244"/>
                    <a:pt x="573" y="236"/>
                  </a:cubicBezTo>
                  <a:cubicBezTo>
                    <a:pt x="573" y="228"/>
                    <a:pt x="558" y="227"/>
                    <a:pt x="558" y="227"/>
                  </a:cubicBezTo>
                  <a:cubicBezTo>
                    <a:pt x="558" y="227"/>
                    <a:pt x="549" y="204"/>
                    <a:pt x="542" y="203"/>
                  </a:cubicBezTo>
                  <a:cubicBezTo>
                    <a:pt x="535" y="202"/>
                    <a:pt x="521" y="200"/>
                    <a:pt x="515" y="190"/>
                  </a:cubicBezTo>
                  <a:cubicBezTo>
                    <a:pt x="509" y="180"/>
                    <a:pt x="524" y="186"/>
                    <a:pt x="521" y="175"/>
                  </a:cubicBezTo>
                  <a:cubicBezTo>
                    <a:pt x="518" y="164"/>
                    <a:pt x="502" y="165"/>
                    <a:pt x="502" y="165"/>
                  </a:cubicBezTo>
                  <a:cubicBezTo>
                    <a:pt x="502" y="152"/>
                    <a:pt x="502" y="152"/>
                    <a:pt x="502" y="152"/>
                  </a:cubicBezTo>
                  <a:cubicBezTo>
                    <a:pt x="502" y="152"/>
                    <a:pt x="472" y="154"/>
                    <a:pt x="466" y="146"/>
                  </a:cubicBezTo>
                  <a:cubicBezTo>
                    <a:pt x="460" y="138"/>
                    <a:pt x="467" y="130"/>
                    <a:pt x="467" y="130"/>
                  </a:cubicBezTo>
                  <a:cubicBezTo>
                    <a:pt x="467" y="123"/>
                    <a:pt x="467" y="123"/>
                    <a:pt x="467" y="123"/>
                  </a:cubicBezTo>
                  <a:cubicBezTo>
                    <a:pt x="433" y="120"/>
                    <a:pt x="433" y="120"/>
                    <a:pt x="433" y="120"/>
                  </a:cubicBezTo>
                  <a:cubicBezTo>
                    <a:pt x="439" y="109"/>
                    <a:pt x="439" y="109"/>
                    <a:pt x="439" y="109"/>
                  </a:cubicBezTo>
                  <a:cubicBezTo>
                    <a:pt x="439" y="109"/>
                    <a:pt x="430" y="112"/>
                    <a:pt x="431" y="102"/>
                  </a:cubicBezTo>
                  <a:cubicBezTo>
                    <a:pt x="432" y="92"/>
                    <a:pt x="447" y="85"/>
                    <a:pt x="443" y="63"/>
                  </a:cubicBezTo>
                  <a:cubicBezTo>
                    <a:pt x="439" y="41"/>
                    <a:pt x="402" y="8"/>
                    <a:pt x="402" y="8"/>
                  </a:cubicBezTo>
                  <a:cubicBezTo>
                    <a:pt x="401" y="1"/>
                    <a:pt x="401" y="1"/>
                    <a:pt x="401" y="1"/>
                  </a:cubicBezTo>
                  <a:cubicBezTo>
                    <a:pt x="385" y="0"/>
                    <a:pt x="385" y="0"/>
                    <a:pt x="385" y="0"/>
                  </a:cubicBezTo>
                  <a:cubicBezTo>
                    <a:pt x="348" y="18"/>
                    <a:pt x="348" y="18"/>
                    <a:pt x="348" y="18"/>
                  </a:cubicBezTo>
                  <a:cubicBezTo>
                    <a:pt x="345" y="38"/>
                    <a:pt x="345" y="38"/>
                    <a:pt x="345" y="38"/>
                  </a:cubicBezTo>
                  <a:cubicBezTo>
                    <a:pt x="333" y="50"/>
                    <a:pt x="333" y="50"/>
                    <a:pt x="333" y="50"/>
                  </a:cubicBezTo>
                  <a:cubicBezTo>
                    <a:pt x="320" y="55"/>
                    <a:pt x="320" y="55"/>
                    <a:pt x="320" y="55"/>
                  </a:cubicBezTo>
                  <a:cubicBezTo>
                    <a:pt x="320" y="55"/>
                    <a:pt x="325" y="77"/>
                    <a:pt x="293" y="92"/>
                  </a:cubicBezTo>
                  <a:cubicBezTo>
                    <a:pt x="262" y="107"/>
                    <a:pt x="222" y="107"/>
                    <a:pt x="222" y="107"/>
                  </a:cubicBezTo>
                  <a:cubicBezTo>
                    <a:pt x="208" y="115"/>
                    <a:pt x="208" y="115"/>
                    <a:pt x="208" y="115"/>
                  </a:cubicBezTo>
                  <a:cubicBezTo>
                    <a:pt x="208" y="115"/>
                    <a:pt x="228" y="125"/>
                    <a:pt x="223" y="132"/>
                  </a:cubicBezTo>
                  <a:cubicBezTo>
                    <a:pt x="218" y="138"/>
                    <a:pt x="203" y="160"/>
                    <a:pt x="203" y="160"/>
                  </a:cubicBezTo>
                  <a:cubicBezTo>
                    <a:pt x="203" y="160"/>
                    <a:pt x="170" y="160"/>
                    <a:pt x="151" y="160"/>
                  </a:cubicBezTo>
                  <a:cubicBezTo>
                    <a:pt x="133" y="160"/>
                    <a:pt x="138" y="180"/>
                    <a:pt x="120" y="185"/>
                  </a:cubicBezTo>
                  <a:cubicBezTo>
                    <a:pt x="101" y="190"/>
                    <a:pt x="108" y="165"/>
                    <a:pt x="108" y="165"/>
                  </a:cubicBezTo>
                  <a:cubicBezTo>
                    <a:pt x="108" y="165"/>
                    <a:pt x="88" y="180"/>
                    <a:pt x="78" y="187"/>
                  </a:cubicBezTo>
                  <a:cubicBezTo>
                    <a:pt x="68" y="193"/>
                    <a:pt x="56" y="186"/>
                    <a:pt x="56" y="186"/>
                  </a:cubicBezTo>
                  <a:cubicBezTo>
                    <a:pt x="56" y="186"/>
                    <a:pt x="38" y="196"/>
                    <a:pt x="37" y="204"/>
                  </a:cubicBezTo>
                  <a:cubicBezTo>
                    <a:pt x="36" y="212"/>
                    <a:pt x="35" y="224"/>
                    <a:pt x="35" y="224"/>
                  </a:cubicBezTo>
                  <a:cubicBezTo>
                    <a:pt x="29" y="224"/>
                    <a:pt x="29" y="224"/>
                    <a:pt x="29" y="224"/>
                  </a:cubicBezTo>
                  <a:cubicBezTo>
                    <a:pt x="24" y="249"/>
                    <a:pt x="24" y="249"/>
                    <a:pt x="24" y="249"/>
                  </a:cubicBezTo>
                  <a:cubicBezTo>
                    <a:pt x="24" y="249"/>
                    <a:pt x="2" y="256"/>
                    <a:pt x="1" y="264"/>
                  </a:cubicBezTo>
                  <a:cubicBezTo>
                    <a:pt x="0" y="272"/>
                    <a:pt x="15" y="273"/>
                    <a:pt x="15" y="273"/>
                  </a:cubicBezTo>
                  <a:cubicBezTo>
                    <a:pt x="14" y="298"/>
                    <a:pt x="14" y="298"/>
                    <a:pt x="14" y="298"/>
                  </a:cubicBezTo>
                  <a:cubicBezTo>
                    <a:pt x="7" y="306"/>
                    <a:pt x="7" y="306"/>
                    <a:pt x="7" y="306"/>
                  </a:cubicBezTo>
                  <a:cubicBezTo>
                    <a:pt x="19" y="313"/>
                    <a:pt x="19" y="313"/>
                    <a:pt x="19" y="313"/>
                  </a:cubicBezTo>
                  <a:cubicBezTo>
                    <a:pt x="19" y="344"/>
                    <a:pt x="19" y="344"/>
                    <a:pt x="19" y="344"/>
                  </a:cubicBezTo>
                  <a:cubicBezTo>
                    <a:pt x="19" y="344"/>
                    <a:pt x="36" y="355"/>
                    <a:pt x="38" y="358"/>
                  </a:cubicBezTo>
                  <a:cubicBezTo>
                    <a:pt x="40" y="361"/>
                    <a:pt x="36" y="381"/>
                    <a:pt x="36" y="381"/>
                  </a:cubicBezTo>
                  <a:cubicBezTo>
                    <a:pt x="36" y="381"/>
                    <a:pt x="47" y="404"/>
                    <a:pt x="57" y="412"/>
                  </a:cubicBezTo>
                  <a:cubicBezTo>
                    <a:pt x="67" y="420"/>
                    <a:pt x="79" y="428"/>
                    <a:pt x="79" y="428"/>
                  </a:cubicBezTo>
                  <a:cubicBezTo>
                    <a:pt x="83" y="442"/>
                    <a:pt x="83" y="442"/>
                    <a:pt x="83" y="442"/>
                  </a:cubicBezTo>
                  <a:cubicBezTo>
                    <a:pt x="83" y="461"/>
                    <a:pt x="83" y="461"/>
                    <a:pt x="83" y="461"/>
                  </a:cubicBezTo>
                  <a:cubicBezTo>
                    <a:pt x="88" y="467"/>
                    <a:pt x="88" y="467"/>
                    <a:pt x="88" y="467"/>
                  </a:cubicBezTo>
                  <a:cubicBezTo>
                    <a:pt x="88" y="467"/>
                    <a:pt x="104" y="448"/>
                    <a:pt x="106" y="441"/>
                  </a:cubicBezTo>
                  <a:cubicBezTo>
                    <a:pt x="108" y="434"/>
                    <a:pt x="98" y="421"/>
                    <a:pt x="98" y="421"/>
                  </a:cubicBezTo>
                  <a:cubicBezTo>
                    <a:pt x="108" y="400"/>
                    <a:pt x="108" y="400"/>
                    <a:pt x="108" y="400"/>
                  </a:cubicBezTo>
                  <a:cubicBezTo>
                    <a:pt x="128" y="401"/>
                    <a:pt x="128" y="401"/>
                    <a:pt x="128" y="401"/>
                  </a:cubicBezTo>
                  <a:cubicBezTo>
                    <a:pt x="128" y="401"/>
                    <a:pt x="141" y="390"/>
                    <a:pt x="147" y="390"/>
                  </a:cubicBezTo>
                  <a:cubicBezTo>
                    <a:pt x="153" y="390"/>
                    <a:pt x="167" y="398"/>
                    <a:pt x="178" y="399"/>
                  </a:cubicBezTo>
                  <a:cubicBezTo>
                    <a:pt x="189" y="400"/>
                    <a:pt x="193" y="394"/>
                    <a:pt x="193" y="394"/>
                  </a:cubicBezTo>
                  <a:cubicBezTo>
                    <a:pt x="203" y="380"/>
                    <a:pt x="203" y="380"/>
                    <a:pt x="203" y="380"/>
                  </a:cubicBezTo>
                  <a:cubicBezTo>
                    <a:pt x="203" y="370"/>
                    <a:pt x="203" y="370"/>
                    <a:pt x="203" y="370"/>
                  </a:cubicBezTo>
                  <a:cubicBezTo>
                    <a:pt x="203" y="370"/>
                    <a:pt x="193" y="367"/>
                    <a:pt x="201" y="357"/>
                  </a:cubicBezTo>
                  <a:cubicBezTo>
                    <a:pt x="209" y="347"/>
                    <a:pt x="208" y="358"/>
                    <a:pt x="218" y="344"/>
                  </a:cubicBezTo>
                  <a:cubicBezTo>
                    <a:pt x="228" y="330"/>
                    <a:pt x="218" y="311"/>
                    <a:pt x="247" y="313"/>
                  </a:cubicBezTo>
                  <a:cubicBezTo>
                    <a:pt x="276" y="315"/>
                    <a:pt x="273" y="330"/>
                    <a:pt x="273" y="330"/>
                  </a:cubicBezTo>
                  <a:cubicBezTo>
                    <a:pt x="273" y="330"/>
                    <a:pt x="286" y="328"/>
                    <a:pt x="289" y="332"/>
                  </a:cubicBezTo>
                  <a:cubicBezTo>
                    <a:pt x="292" y="336"/>
                    <a:pt x="280" y="351"/>
                    <a:pt x="295" y="351"/>
                  </a:cubicBezTo>
                  <a:cubicBezTo>
                    <a:pt x="310" y="351"/>
                    <a:pt x="319" y="351"/>
                    <a:pt x="319" y="351"/>
                  </a:cubicBezTo>
                  <a:cubicBezTo>
                    <a:pt x="319" y="351"/>
                    <a:pt x="325" y="363"/>
                    <a:pt x="335" y="362"/>
                  </a:cubicBezTo>
                  <a:cubicBezTo>
                    <a:pt x="345" y="361"/>
                    <a:pt x="363" y="361"/>
                    <a:pt x="363" y="361"/>
                  </a:cubicBezTo>
                  <a:cubicBezTo>
                    <a:pt x="363" y="361"/>
                    <a:pt x="376" y="375"/>
                    <a:pt x="385" y="368"/>
                  </a:cubicBezTo>
                  <a:cubicBezTo>
                    <a:pt x="394" y="361"/>
                    <a:pt x="389" y="347"/>
                    <a:pt x="396" y="344"/>
                  </a:cubicBezTo>
                  <a:cubicBezTo>
                    <a:pt x="403" y="341"/>
                    <a:pt x="410" y="328"/>
                    <a:pt x="410" y="328"/>
                  </a:cubicBezTo>
                  <a:cubicBezTo>
                    <a:pt x="410" y="328"/>
                    <a:pt x="424" y="349"/>
                    <a:pt x="430" y="344"/>
                  </a:cubicBezTo>
                  <a:cubicBezTo>
                    <a:pt x="436" y="339"/>
                    <a:pt x="449" y="330"/>
                    <a:pt x="449" y="330"/>
                  </a:cubicBezTo>
                  <a:cubicBezTo>
                    <a:pt x="461" y="330"/>
                    <a:pt x="461" y="330"/>
                    <a:pt x="461" y="330"/>
                  </a:cubicBezTo>
                  <a:cubicBezTo>
                    <a:pt x="477" y="316"/>
                    <a:pt x="477" y="316"/>
                    <a:pt x="477" y="316"/>
                  </a:cubicBezTo>
                  <a:cubicBezTo>
                    <a:pt x="477" y="316"/>
                    <a:pt x="486" y="326"/>
                    <a:pt x="490" y="326"/>
                  </a:cubicBezTo>
                  <a:cubicBezTo>
                    <a:pt x="494" y="326"/>
                    <a:pt x="512" y="321"/>
                    <a:pt x="512" y="321"/>
                  </a:cubicBezTo>
                  <a:cubicBezTo>
                    <a:pt x="512" y="321"/>
                    <a:pt x="517" y="300"/>
                    <a:pt x="524" y="299"/>
                  </a:cubicBezTo>
                  <a:cubicBezTo>
                    <a:pt x="531" y="298"/>
                    <a:pt x="539" y="311"/>
                    <a:pt x="539" y="311"/>
                  </a:cubicBezTo>
                  <a:cubicBezTo>
                    <a:pt x="560" y="308"/>
                    <a:pt x="560" y="308"/>
                    <a:pt x="560" y="308"/>
                  </a:cubicBezTo>
                  <a:cubicBezTo>
                    <a:pt x="560" y="308"/>
                    <a:pt x="566" y="324"/>
                    <a:pt x="586" y="319"/>
                  </a:cubicBezTo>
                  <a:cubicBezTo>
                    <a:pt x="606" y="314"/>
                    <a:pt x="610" y="303"/>
                    <a:pt x="610" y="303"/>
                  </a:cubicBezTo>
                  <a:cubicBezTo>
                    <a:pt x="610" y="303"/>
                    <a:pt x="614" y="289"/>
                    <a:pt x="606" y="281"/>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68" name="Freeform 129"/>
            <p:cNvSpPr>
              <a:spLocks/>
            </p:cNvSpPr>
            <p:nvPr/>
          </p:nvSpPr>
          <p:spPr bwMode="gray">
            <a:xfrm>
              <a:off x="4535488" y="3863975"/>
              <a:ext cx="200025" cy="260350"/>
            </a:xfrm>
            <a:custGeom>
              <a:avLst/>
              <a:gdLst>
                <a:gd name="T0" fmla="*/ 238 w 356"/>
                <a:gd name="T1" fmla="*/ 83 h 466"/>
                <a:gd name="T2" fmla="*/ 219 w 356"/>
                <a:gd name="T3" fmla="*/ 95 h 466"/>
                <a:gd name="T4" fmla="*/ 166 w 356"/>
                <a:gd name="T5" fmla="*/ 83 h 466"/>
                <a:gd name="T6" fmla="*/ 96 w 356"/>
                <a:gd name="T7" fmla="*/ 108 h 466"/>
                <a:gd name="T8" fmla="*/ 115 w 356"/>
                <a:gd name="T9" fmla="*/ 134 h 466"/>
                <a:gd name="T10" fmla="*/ 149 w 356"/>
                <a:gd name="T11" fmla="*/ 128 h 466"/>
                <a:gd name="T12" fmla="*/ 159 w 356"/>
                <a:gd name="T13" fmla="*/ 146 h 466"/>
                <a:gd name="T14" fmla="*/ 140 w 356"/>
                <a:gd name="T15" fmla="*/ 172 h 466"/>
                <a:gd name="T16" fmla="*/ 130 w 356"/>
                <a:gd name="T17" fmla="*/ 212 h 466"/>
                <a:gd name="T18" fmla="*/ 147 w 356"/>
                <a:gd name="T19" fmla="*/ 225 h 466"/>
                <a:gd name="T20" fmla="*/ 158 w 356"/>
                <a:gd name="T21" fmla="*/ 243 h 466"/>
                <a:gd name="T22" fmla="*/ 155 w 356"/>
                <a:gd name="T23" fmla="*/ 284 h 466"/>
                <a:gd name="T24" fmla="*/ 146 w 356"/>
                <a:gd name="T25" fmla="*/ 316 h 466"/>
                <a:gd name="T26" fmla="*/ 127 w 356"/>
                <a:gd name="T27" fmla="*/ 311 h 466"/>
                <a:gd name="T28" fmla="*/ 90 w 356"/>
                <a:gd name="T29" fmla="*/ 327 h 466"/>
                <a:gd name="T30" fmla="*/ 64 w 356"/>
                <a:gd name="T31" fmla="*/ 297 h 466"/>
                <a:gd name="T32" fmla="*/ 58 w 356"/>
                <a:gd name="T33" fmla="*/ 329 h 466"/>
                <a:gd name="T34" fmla="*/ 25 w 356"/>
                <a:gd name="T35" fmla="*/ 346 h 466"/>
                <a:gd name="T36" fmla="*/ 35 w 356"/>
                <a:gd name="T37" fmla="*/ 359 h 466"/>
                <a:gd name="T38" fmla="*/ 38 w 356"/>
                <a:gd name="T39" fmla="*/ 376 h 466"/>
                <a:gd name="T40" fmla="*/ 19 w 356"/>
                <a:gd name="T41" fmla="*/ 389 h 466"/>
                <a:gd name="T42" fmla="*/ 0 w 356"/>
                <a:gd name="T43" fmla="*/ 411 h 466"/>
                <a:gd name="T44" fmla="*/ 37 w 356"/>
                <a:gd name="T45" fmla="*/ 454 h 466"/>
                <a:gd name="T46" fmla="*/ 50 w 356"/>
                <a:gd name="T47" fmla="*/ 460 h 466"/>
                <a:gd name="T48" fmla="*/ 61 w 356"/>
                <a:gd name="T49" fmla="*/ 446 h 466"/>
                <a:gd name="T50" fmla="*/ 91 w 356"/>
                <a:gd name="T51" fmla="*/ 448 h 466"/>
                <a:gd name="T52" fmla="*/ 114 w 356"/>
                <a:gd name="T53" fmla="*/ 461 h 466"/>
                <a:gd name="T54" fmla="*/ 138 w 356"/>
                <a:gd name="T55" fmla="*/ 441 h 466"/>
                <a:gd name="T56" fmla="*/ 159 w 356"/>
                <a:gd name="T57" fmla="*/ 462 h 466"/>
                <a:gd name="T58" fmla="*/ 209 w 356"/>
                <a:gd name="T59" fmla="*/ 418 h 466"/>
                <a:gd name="T60" fmla="*/ 242 w 356"/>
                <a:gd name="T61" fmla="*/ 385 h 466"/>
                <a:gd name="T62" fmla="*/ 260 w 356"/>
                <a:gd name="T63" fmla="*/ 302 h 466"/>
                <a:gd name="T64" fmla="*/ 298 w 356"/>
                <a:gd name="T65" fmla="*/ 251 h 466"/>
                <a:gd name="T66" fmla="*/ 317 w 356"/>
                <a:gd name="T67" fmla="*/ 197 h 466"/>
                <a:gd name="T68" fmla="*/ 320 w 356"/>
                <a:gd name="T69" fmla="*/ 152 h 466"/>
                <a:gd name="T70" fmla="*/ 332 w 356"/>
                <a:gd name="T71" fmla="*/ 77 h 466"/>
                <a:gd name="T72" fmla="*/ 356 w 356"/>
                <a:gd name="T73" fmla="*/ 11 h 466"/>
                <a:gd name="T74" fmla="*/ 332 w 356"/>
                <a:gd name="T75" fmla="*/ 9 h 466"/>
                <a:gd name="T76" fmla="*/ 282 w 356"/>
                <a:gd name="T77" fmla="*/ 11 h 466"/>
                <a:gd name="T78" fmla="*/ 252 w 356"/>
                <a:gd name="T79" fmla="*/ 31 h 466"/>
                <a:gd name="T80" fmla="*/ 242 w 356"/>
                <a:gd name="T81" fmla="*/ 77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56" h="466">
                  <a:moveTo>
                    <a:pt x="242" y="77"/>
                  </a:moveTo>
                  <a:cubicBezTo>
                    <a:pt x="238" y="83"/>
                    <a:pt x="238" y="83"/>
                    <a:pt x="238" y="83"/>
                  </a:cubicBezTo>
                  <a:cubicBezTo>
                    <a:pt x="237" y="110"/>
                    <a:pt x="237" y="110"/>
                    <a:pt x="237" y="110"/>
                  </a:cubicBezTo>
                  <a:cubicBezTo>
                    <a:pt x="219" y="95"/>
                    <a:pt x="219" y="95"/>
                    <a:pt x="219" y="95"/>
                  </a:cubicBezTo>
                  <a:cubicBezTo>
                    <a:pt x="199" y="96"/>
                    <a:pt x="199" y="96"/>
                    <a:pt x="199" y="96"/>
                  </a:cubicBezTo>
                  <a:cubicBezTo>
                    <a:pt x="199" y="96"/>
                    <a:pt x="171" y="83"/>
                    <a:pt x="166" y="83"/>
                  </a:cubicBezTo>
                  <a:cubicBezTo>
                    <a:pt x="161" y="83"/>
                    <a:pt x="106" y="86"/>
                    <a:pt x="106" y="86"/>
                  </a:cubicBezTo>
                  <a:cubicBezTo>
                    <a:pt x="96" y="108"/>
                    <a:pt x="96" y="108"/>
                    <a:pt x="96" y="108"/>
                  </a:cubicBezTo>
                  <a:cubicBezTo>
                    <a:pt x="98" y="129"/>
                    <a:pt x="98" y="129"/>
                    <a:pt x="98" y="129"/>
                  </a:cubicBezTo>
                  <a:cubicBezTo>
                    <a:pt x="98" y="129"/>
                    <a:pt x="106" y="134"/>
                    <a:pt x="115" y="134"/>
                  </a:cubicBezTo>
                  <a:cubicBezTo>
                    <a:pt x="124" y="134"/>
                    <a:pt x="124" y="119"/>
                    <a:pt x="129" y="119"/>
                  </a:cubicBezTo>
                  <a:cubicBezTo>
                    <a:pt x="134" y="119"/>
                    <a:pt x="146" y="124"/>
                    <a:pt x="149" y="128"/>
                  </a:cubicBezTo>
                  <a:cubicBezTo>
                    <a:pt x="152" y="132"/>
                    <a:pt x="153" y="142"/>
                    <a:pt x="153" y="142"/>
                  </a:cubicBezTo>
                  <a:cubicBezTo>
                    <a:pt x="159" y="146"/>
                    <a:pt x="159" y="146"/>
                    <a:pt x="159" y="146"/>
                  </a:cubicBezTo>
                  <a:cubicBezTo>
                    <a:pt x="159" y="146"/>
                    <a:pt x="159" y="159"/>
                    <a:pt x="153" y="166"/>
                  </a:cubicBezTo>
                  <a:cubicBezTo>
                    <a:pt x="147" y="173"/>
                    <a:pt x="140" y="172"/>
                    <a:pt x="140" y="172"/>
                  </a:cubicBezTo>
                  <a:cubicBezTo>
                    <a:pt x="131" y="188"/>
                    <a:pt x="131" y="188"/>
                    <a:pt x="131" y="188"/>
                  </a:cubicBezTo>
                  <a:cubicBezTo>
                    <a:pt x="130" y="212"/>
                    <a:pt x="130" y="212"/>
                    <a:pt x="130" y="212"/>
                  </a:cubicBezTo>
                  <a:cubicBezTo>
                    <a:pt x="142" y="213"/>
                    <a:pt x="142" y="213"/>
                    <a:pt x="142" y="213"/>
                  </a:cubicBezTo>
                  <a:cubicBezTo>
                    <a:pt x="147" y="225"/>
                    <a:pt x="147" y="225"/>
                    <a:pt x="147" y="225"/>
                  </a:cubicBezTo>
                  <a:cubicBezTo>
                    <a:pt x="147" y="225"/>
                    <a:pt x="163" y="226"/>
                    <a:pt x="165" y="232"/>
                  </a:cubicBezTo>
                  <a:cubicBezTo>
                    <a:pt x="167" y="238"/>
                    <a:pt x="158" y="243"/>
                    <a:pt x="158" y="243"/>
                  </a:cubicBezTo>
                  <a:cubicBezTo>
                    <a:pt x="159" y="273"/>
                    <a:pt x="159" y="273"/>
                    <a:pt x="159" y="273"/>
                  </a:cubicBezTo>
                  <a:cubicBezTo>
                    <a:pt x="155" y="284"/>
                    <a:pt x="155" y="284"/>
                    <a:pt x="155" y="284"/>
                  </a:cubicBezTo>
                  <a:cubicBezTo>
                    <a:pt x="159" y="298"/>
                    <a:pt x="159" y="298"/>
                    <a:pt x="159" y="298"/>
                  </a:cubicBezTo>
                  <a:cubicBezTo>
                    <a:pt x="159" y="298"/>
                    <a:pt x="146" y="302"/>
                    <a:pt x="146" y="316"/>
                  </a:cubicBezTo>
                  <a:cubicBezTo>
                    <a:pt x="146" y="330"/>
                    <a:pt x="144" y="336"/>
                    <a:pt x="134" y="336"/>
                  </a:cubicBezTo>
                  <a:cubicBezTo>
                    <a:pt x="124" y="336"/>
                    <a:pt x="131" y="314"/>
                    <a:pt x="127" y="311"/>
                  </a:cubicBezTo>
                  <a:cubicBezTo>
                    <a:pt x="123" y="308"/>
                    <a:pt x="120" y="324"/>
                    <a:pt x="112" y="326"/>
                  </a:cubicBezTo>
                  <a:cubicBezTo>
                    <a:pt x="104" y="328"/>
                    <a:pt x="90" y="327"/>
                    <a:pt x="90" y="327"/>
                  </a:cubicBezTo>
                  <a:cubicBezTo>
                    <a:pt x="81" y="298"/>
                    <a:pt x="81" y="298"/>
                    <a:pt x="81" y="298"/>
                  </a:cubicBezTo>
                  <a:cubicBezTo>
                    <a:pt x="81" y="298"/>
                    <a:pt x="70" y="296"/>
                    <a:pt x="64" y="297"/>
                  </a:cubicBezTo>
                  <a:cubicBezTo>
                    <a:pt x="58" y="298"/>
                    <a:pt x="71" y="316"/>
                    <a:pt x="71" y="316"/>
                  </a:cubicBezTo>
                  <a:cubicBezTo>
                    <a:pt x="71" y="316"/>
                    <a:pt x="62" y="324"/>
                    <a:pt x="58" y="329"/>
                  </a:cubicBezTo>
                  <a:cubicBezTo>
                    <a:pt x="54" y="334"/>
                    <a:pt x="30" y="325"/>
                    <a:pt x="24" y="323"/>
                  </a:cubicBezTo>
                  <a:cubicBezTo>
                    <a:pt x="18" y="321"/>
                    <a:pt x="25" y="346"/>
                    <a:pt x="25" y="346"/>
                  </a:cubicBezTo>
                  <a:cubicBezTo>
                    <a:pt x="18" y="346"/>
                    <a:pt x="18" y="346"/>
                    <a:pt x="18" y="346"/>
                  </a:cubicBezTo>
                  <a:cubicBezTo>
                    <a:pt x="35" y="359"/>
                    <a:pt x="35" y="359"/>
                    <a:pt x="35" y="359"/>
                  </a:cubicBezTo>
                  <a:cubicBezTo>
                    <a:pt x="26" y="368"/>
                    <a:pt x="26" y="368"/>
                    <a:pt x="26" y="368"/>
                  </a:cubicBezTo>
                  <a:cubicBezTo>
                    <a:pt x="38" y="376"/>
                    <a:pt x="38" y="376"/>
                    <a:pt x="38" y="376"/>
                  </a:cubicBezTo>
                  <a:cubicBezTo>
                    <a:pt x="38" y="376"/>
                    <a:pt x="42" y="389"/>
                    <a:pt x="38" y="398"/>
                  </a:cubicBezTo>
                  <a:cubicBezTo>
                    <a:pt x="34" y="407"/>
                    <a:pt x="19" y="389"/>
                    <a:pt x="19" y="389"/>
                  </a:cubicBezTo>
                  <a:cubicBezTo>
                    <a:pt x="5" y="398"/>
                    <a:pt x="5" y="398"/>
                    <a:pt x="5" y="398"/>
                  </a:cubicBezTo>
                  <a:cubicBezTo>
                    <a:pt x="0" y="411"/>
                    <a:pt x="0" y="411"/>
                    <a:pt x="0" y="411"/>
                  </a:cubicBezTo>
                  <a:cubicBezTo>
                    <a:pt x="36" y="442"/>
                    <a:pt x="36" y="442"/>
                    <a:pt x="36" y="442"/>
                  </a:cubicBezTo>
                  <a:cubicBezTo>
                    <a:pt x="37" y="454"/>
                    <a:pt x="37" y="454"/>
                    <a:pt x="37" y="454"/>
                  </a:cubicBezTo>
                  <a:cubicBezTo>
                    <a:pt x="46" y="466"/>
                    <a:pt x="46" y="466"/>
                    <a:pt x="46" y="466"/>
                  </a:cubicBezTo>
                  <a:cubicBezTo>
                    <a:pt x="50" y="460"/>
                    <a:pt x="50" y="460"/>
                    <a:pt x="50" y="460"/>
                  </a:cubicBezTo>
                  <a:cubicBezTo>
                    <a:pt x="61" y="460"/>
                    <a:pt x="61" y="460"/>
                    <a:pt x="61" y="460"/>
                  </a:cubicBezTo>
                  <a:cubicBezTo>
                    <a:pt x="61" y="446"/>
                    <a:pt x="61" y="446"/>
                    <a:pt x="61" y="446"/>
                  </a:cubicBezTo>
                  <a:cubicBezTo>
                    <a:pt x="61" y="446"/>
                    <a:pt x="75" y="433"/>
                    <a:pt x="82" y="432"/>
                  </a:cubicBezTo>
                  <a:cubicBezTo>
                    <a:pt x="89" y="431"/>
                    <a:pt x="91" y="448"/>
                    <a:pt x="91" y="448"/>
                  </a:cubicBezTo>
                  <a:cubicBezTo>
                    <a:pt x="98" y="445"/>
                    <a:pt x="98" y="445"/>
                    <a:pt x="98" y="445"/>
                  </a:cubicBezTo>
                  <a:cubicBezTo>
                    <a:pt x="98" y="445"/>
                    <a:pt x="102" y="466"/>
                    <a:pt x="114" y="461"/>
                  </a:cubicBezTo>
                  <a:cubicBezTo>
                    <a:pt x="126" y="456"/>
                    <a:pt x="125" y="440"/>
                    <a:pt x="125" y="440"/>
                  </a:cubicBezTo>
                  <a:cubicBezTo>
                    <a:pt x="138" y="441"/>
                    <a:pt x="138" y="441"/>
                    <a:pt x="138" y="441"/>
                  </a:cubicBezTo>
                  <a:cubicBezTo>
                    <a:pt x="138" y="441"/>
                    <a:pt x="148" y="425"/>
                    <a:pt x="155" y="432"/>
                  </a:cubicBezTo>
                  <a:cubicBezTo>
                    <a:pt x="162" y="439"/>
                    <a:pt x="144" y="462"/>
                    <a:pt x="159" y="462"/>
                  </a:cubicBezTo>
                  <a:cubicBezTo>
                    <a:pt x="174" y="462"/>
                    <a:pt x="177" y="457"/>
                    <a:pt x="184" y="448"/>
                  </a:cubicBezTo>
                  <a:cubicBezTo>
                    <a:pt x="191" y="439"/>
                    <a:pt x="203" y="418"/>
                    <a:pt x="209" y="418"/>
                  </a:cubicBezTo>
                  <a:cubicBezTo>
                    <a:pt x="215" y="418"/>
                    <a:pt x="225" y="415"/>
                    <a:pt x="225" y="415"/>
                  </a:cubicBezTo>
                  <a:cubicBezTo>
                    <a:pt x="242" y="385"/>
                    <a:pt x="242" y="385"/>
                    <a:pt x="242" y="385"/>
                  </a:cubicBezTo>
                  <a:cubicBezTo>
                    <a:pt x="241" y="318"/>
                    <a:pt x="241" y="318"/>
                    <a:pt x="241" y="318"/>
                  </a:cubicBezTo>
                  <a:cubicBezTo>
                    <a:pt x="241" y="318"/>
                    <a:pt x="259" y="311"/>
                    <a:pt x="260" y="302"/>
                  </a:cubicBezTo>
                  <a:cubicBezTo>
                    <a:pt x="261" y="293"/>
                    <a:pt x="261" y="270"/>
                    <a:pt x="268" y="267"/>
                  </a:cubicBezTo>
                  <a:cubicBezTo>
                    <a:pt x="275" y="264"/>
                    <a:pt x="288" y="258"/>
                    <a:pt x="298" y="251"/>
                  </a:cubicBezTo>
                  <a:cubicBezTo>
                    <a:pt x="308" y="244"/>
                    <a:pt x="314" y="229"/>
                    <a:pt x="314" y="229"/>
                  </a:cubicBezTo>
                  <a:cubicBezTo>
                    <a:pt x="317" y="197"/>
                    <a:pt x="317" y="197"/>
                    <a:pt x="317" y="197"/>
                  </a:cubicBezTo>
                  <a:cubicBezTo>
                    <a:pt x="317" y="197"/>
                    <a:pt x="327" y="189"/>
                    <a:pt x="327" y="178"/>
                  </a:cubicBezTo>
                  <a:cubicBezTo>
                    <a:pt x="327" y="167"/>
                    <a:pt x="318" y="160"/>
                    <a:pt x="320" y="152"/>
                  </a:cubicBezTo>
                  <a:cubicBezTo>
                    <a:pt x="322" y="144"/>
                    <a:pt x="332" y="136"/>
                    <a:pt x="331" y="125"/>
                  </a:cubicBezTo>
                  <a:cubicBezTo>
                    <a:pt x="330" y="114"/>
                    <a:pt x="323" y="87"/>
                    <a:pt x="332" y="77"/>
                  </a:cubicBezTo>
                  <a:cubicBezTo>
                    <a:pt x="341" y="67"/>
                    <a:pt x="356" y="38"/>
                    <a:pt x="356" y="30"/>
                  </a:cubicBezTo>
                  <a:cubicBezTo>
                    <a:pt x="356" y="22"/>
                    <a:pt x="356" y="11"/>
                    <a:pt x="356" y="11"/>
                  </a:cubicBezTo>
                  <a:cubicBezTo>
                    <a:pt x="347" y="4"/>
                    <a:pt x="347" y="4"/>
                    <a:pt x="347" y="4"/>
                  </a:cubicBezTo>
                  <a:cubicBezTo>
                    <a:pt x="347" y="4"/>
                    <a:pt x="343" y="10"/>
                    <a:pt x="332" y="9"/>
                  </a:cubicBezTo>
                  <a:cubicBezTo>
                    <a:pt x="321" y="8"/>
                    <a:pt x="307" y="0"/>
                    <a:pt x="301" y="0"/>
                  </a:cubicBezTo>
                  <a:cubicBezTo>
                    <a:pt x="295" y="0"/>
                    <a:pt x="282" y="11"/>
                    <a:pt x="282" y="11"/>
                  </a:cubicBezTo>
                  <a:cubicBezTo>
                    <a:pt x="262" y="10"/>
                    <a:pt x="262" y="10"/>
                    <a:pt x="262" y="10"/>
                  </a:cubicBezTo>
                  <a:cubicBezTo>
                    <a:pt x="252" y="31"/>
                    <a:pt x="252" y="31"/>
                    <a:pt x="252" y="31"/>
                  </a:cubicBezTo>
                  <a:cubicBezTo>
                    <a:pt x="252" y="31"/>
                    <a:pt x="262" y="44"/>
                    <a:pt x="260" y="51"/>
                  </a:cubicBezTo>
                  <a:cubicBezTo>
                    <a:pt x="258" y="58"/>
                    <a:pt x="242" y="77"/>
                    <a:pt x="242" y="77"/>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69" name="Freeform 130"/>
            <p:cNvSpPr>
              <a:spLocks/>
            </p:cNvSpPr>
            <p:nvPr/>
          </p:nvSpPr>
          <p:spPr bwMode="gray">
            <a:xfrm>
              <a:off x="4818063" y="3281363"/>
              <a:ext cx="436562" cy="590550"/>
            </a:xfrm>
            <a:custGeom>
              <a:avLst/>
              <a:gdLst>
                <a:gd name="T0" fmla="*/ 569 w 781"/>
                <a:gd name="T1" fmla="*/ 46 h 1054"/>
                <a:gd name="T2" fmla="*/ 443 w 781"/>
                <a:gd name="T3" fmla="*/ 56 h 1054"/>
                <a:gd name="T4" fmla="*/ 143 w 781"/>
                <a:gd name="T5" fmla="*/ 56 h 1054"/>
                <a:gd name="T6" fmla="*/ 101 w 781"/>
                <a:gd name="T7" fmla="*/ 398 h 1054"/>
                <a:gd name="T8" fmla="*/ 41 w 781"/>
                <a:gd name="T9" fmla="*/ 434 h 1054"/>
                <a:gd name="T10" fmla="*/ 30 w 781"/>
                <a:gd name="T11" fmla="*/ 468 h 1054"/>
                <a:gd name="T12" fmla="*/ 15 w 781"/>
                <a:gd name="T13" fmla="*/ 504 h 1054"/>
                <a:gd name="T14" fmla="*/ 11 w 781"/>
                <a:gd name="T15" fmla="*/ 565 h 1054"/>
                <a:gd name="T16" fmla="*/ 42 w 781"/>
                <a:gd name="T17" fmla="*/ 598 h 1054"/>
                <a:gd name="T18" fmla="*/ 56 w 781"/>
                <a:gd name="T19" fmla="*/ 634 h 1054"/>
                <a:gd name="T20" fmla="*/ 93 w 781"/>
                <a:gd name="T21" fmla="*/ 714 h 1054"/>
                <a:gd name="T22" fmla="*/ 83 w 781"/>
                <a:gd name="T23" fmla="*/ 771 h 1054"/>
                <a:gd name="T24" fmla="*/ 116 w 781"/>
                <a:gd name="T25" fmla="*/ 797 h 1054"/>
                <a:gd name="T26" fmla="*/ 171 w 781"/>
                <a:gd name="T27" fmla="*/ 826 h 1054"/>
                <a:gd name="T28" fmla="*/ 208 w 781"/>
                <a:gd name="T29" fmla="*/ 878 h 1054"/>
                <a:gd name="T30" fmla="*/ 225 w 781"/>
                <a:gd name="T31" fmla="*/ 904 h 1054"/>
                <a:gd name="T32" fmla="*/ 256 w 781"/>
                <a:gd name="T33" fmla="*/ 932 h 1054"/>
                <a:gd name="T34" fmla="*/ 285 w 781"/>
                <a:gd name="T35" fmla="*/ 981 h 1054"/>
                <a:gd name="T36" fmla="*/ 333 w 781"/>
                <a:gd name="T37" fmla="*/ 994 h 1054"/>
                <a:gd name="T38" fmla="*/ 390 w 781"/>
                <a:gd name="T39" fmla="*/ 1017 h 1054"/>
                <a:gd name="T40" fmla="*/ 431 w 781"/>
                <a:gd name="T41" fmla="*/ 1049 h 1054"/>
                <a:gd name="T42" fmla="*/ 474 w 781"/>
                <a:gd name="T43" fmla="*/ 1037 h 1054"/>
                <a:gd name="T44" fmla="*/ 508 w 781"/>
                <a:gd name="T45" fmla="*/ 1039 h 1054"/>
                <a:gd name="T46" fmla="*/ 553 w 781"/>
                <a:gd name="T47" fmla="*/ 1040 h 1054"/>
                <a:gd name="T48" fmla="*/ 597 w 781"/>
                <a:gd name="T49" fmla="*/ 995 h 1054"/>
                <a:gd name="T50" fmla="*/ 669 w 781"/>
                <a:gd name="T51" fmla="*/ 976 h 1054"/>
                <a:gd name="T52" fmla="*/ 628 w 781"/>
                <a:gd name="T53" fmla="*/ 912 h 1054"/>
                <a:gd name="T54" fmla="*/ 610 w 781"/>
                <a:gd name="T55" fmla="*/ 882 h 1054"/>
                <a:gd name="T56" fmla="*/ 587 w 781"/>
                <a:gd name="T57" fmla="*/ 846 h 1054"/>
                <a:gd name="T58" fmla="*/ 542 w 781"/>
                <a:gd name="T59" fmla="*/ 802 h 1054"/>
                <a:gd name="T60" fmla="*/ 568 w 781"/>
                <a:gd name="T61" fmla="*/ 792 h 1054"/>
                <a:gd name="T62" fmla="*/ 580 w 781"/>
                <a:gd name="T63" fmla="*/ 719 h 1054"/>
                <a:gd name="T64" fmla="*/ 603 w 781"/>
                <a:gd name="T65" fmla="*/ 656 h 1054"/>
                <a:gd name="T66" fmla="*/ 621 w 781"/>
                <a:gd name="T67" fmla="*/ 631 h 1054"/>
                <a:gd name="T68" fmla="*/ 642 w 781"/>
                <a:gd name="T69" fmla="*/ 596 h 1054"/>
                <a:gd name="T70" fmla="*/ 677 w 781"/>
                <a:gd name="T71" fmla="*/ 555 h 1054"/>
                <a:gd name="T72" fmla="*/ 691 w 781"/>
                <a:gd name="T73" fmla="*/ 471 h 1054"/>
                <a:gd name="T74" fmla="*/ 696 w 781"/>
                <a:gd name="T75" fmla="*/ 414 h 1054"/>
                <a:gd name="T76" fmla="*/ 703 w 781"/>
                <a:gd name="T77" fmla="*/ 346 h 1054"/>
                <a:gd name="T78" fmla="*/ 733 w 781"/>
                <a:gd name="T79" fmla="*/ 321 h 1054"/>
                <a:gd name="T80" fmla="*/ 781 w 781"/>
                <a:gd name="T81" fmla="*/ 271 h 1054"/>
                <a:gd name="T82" fmla="*/ 722 w 781"/>
                <a:gd name="T83" fmla="*/ 228 h 1054"/>
                <a:gd name="T84" fmla="*/ 708 w 781"/>
                <a:gd name="T85" fmla="*/ 127 h 1054"/>
                <a:gd name="T86" fmla="*/ 696 w 781"/>
                <a:gd name="T87" fmla="*/ 84 h 1054"/>
                <a:gd name="T88" fmla="*/ 661 w 781"/>
                <a:gd name="T89" fmla="*/ 23 h 1054"/>
                <a:gd name="T90" fmla="*/ 618 w 781"/>
                <a:gd name="T91" fmla="*/ 15 h 10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81" h="1054">
                  <a:moveTo>
                    <a:pt x="601" y="16"/>
                  </a:moveTo>
                  <a:cubicBezTo>
                    <a:pt x="601" y="16"/>
                    <a:pt x="601" y="39"/>
                    <a:pt x="591" y="43"/>
                  </a:cubicBezTo>
                  <a:cubicBezTo>
                    <a:pt x="581" y="47"/>
                    <a:pt x="579" y="43"/>
                    <a:pt x="569" y="46"/>
                  </a:cubicBezTo>
                  <a:cubicBezTo>
                    <a:pt x="559" y="49"/>
                    <a:pt x="560" y="70"/>
                    <a:pt x="547" y="77"/>
                  </a:cubicBezTo>
                  <a:cubicBezTo>
                    <a:pt x="534" y="84"/>
                    <a:pt x="522" y="59"/>
                    <a:pt x="522" y="59"/>
                  </a:cubicBezTo>
                  <a:cubicBezTo>
                    <a:pt x="443" y="56"/>
                    <a:pt x="443" y="56"/>
                    <a:pt x="443" y="56"/>
                  </a:cubicBezTo>
                  <a:cubicBezTo>
                    <a:pt x="443" y="56"/>
                    <a:pt x="445" y="46"/>
                    <a:pt x="438" y="48"/>
                  </a:cubicBezTo>
                  <a:cubicBezTo>
                    <a:pt x="431" y="50"/>
                    <a:pt x="429" y="60"/>
                    <a:pt x="429" y="60"/>
                  </a:cubicBezTo>
                  <a:cubicBezTo>
                    <a:pt x="143" y="56"/>
                    <a:pt x="143" y="56"/>
                    <a:pt x="143" y="56"/>
                  </a:cubicBezTo>
                  <a:cubicBezTo>
                    <a:pt x="144" y="164"/>
                    <a:pt x="144" y="164"/>
                    <a:pt x="144" y="164"/>
                  </a:cubicBezTo>
                  <a:cubicBezTo>
                    <a:pt x="96" y="165"/>
                    <a:pt x="96" y="165"/>
                    <a:pt x="96" y="165"/>
                  </a:cubicBezTo>
                  <a:cubicBezTo>
                    <a:pt x="101" y="398"/>
                    <a:pt x="101" y="398"/>
                    <a:pt x="101" y="398"/>
                  </a:cubicBezTo>
                  <a:cubicBezTo>
                    <a:pt x="101" y="398"/>
                    <a:pt x="69" y="393"/>
                    <a:pt x="56" y="397"/>
                  </a:cubicBezTo>
                  <a:cubicBezTo>
                    <a:pt x="43" y="401"/>
                    <a:pt x="52" y="412"/>
                    <a:pt x="54" y="420"/>
                  </a:cubicBezTo>
                  <a:cubicBezTo>
                    <a:pt x="56" y="428"/>
                    <a:pt x="47" y="428"/>
                    <a:pt x="41" y="434"/>
                  </a:cubicBezTo>
                  <a:cubicBezTo>
                    <a:pt x="35" y="440"/>
                    <a:pt x="37" y="452"/>
                    <a:pt x="37" y="452"/>
                  </a:cubicBezTo>
                  <a:cubicBezTo>
                    <a:pt x="27" y="452"/>
                    <a:pt x="27" y="452"/>
                    <a:pt x="27" y="452"/>
                  </a:cubicBezTo>
                  <a:cubicBezTo>
                    <a:pt x="30" y="468"/>
                    <a:pt x="30" y="468"/>
                    <a:pt x="30" y="468"/>
                  </a:cubicBezTo>
                  <a:cubicBezTo>
                    <a:pt x="35" y="479"/>
                    <a:pt x="35" y="479"/>
                    <a:pt x="35" y="479"/>
                  </a:cubicBezTo>
                  <a:cubicBezTo>
                    <a:pt x="24" y="486"/>
                    <a:pt x="24" y="486"/>
                    <a:pt x="24" y="486"/>
                  </a:cubicBezTo>
                  <a:cubicBezTo>
                    <a:pt x="24" y="486"/>
                    <a:pt x="9" y="494"/>
                    <a:pt x="15" y="504"/>
                  </a:cubicBezTo>
                  <a:cubicBezTo>
                    <a:pt x="21" y="514"/>
                    <a:pt x="24" y="518"/>
                    <a:pt x="22" y="527"/>
                  </a:cubicBezTo>
                  <a:cubicBezTo>
                    <a:pt x="20" y="536"/>
                    <a:pt x="6" y="536"/>
                    <a:pt x="3" y="547"/>
                  </a:cubicBezTo>
                  <a:cubicBezTo>
                    <a:pt x="0" y="558"/>
                    <a:pt x="6" y="563"/>
                    <a:pt x="11" y="565"/>
                  </a:cubicBezTo>
                  <a:cubicBezTo>
                    <a:pt x="16" y="567"/>
                    <a:pt x="21" y="557"/>
                    <a:pt x="28" y="560"/>
                  </a:cubicBezTo>
                  <a:cubicBezTo>
                    <a:pt x="35" y="563"/>
                    <a:pt x="33" y="590"/>
                    <a:pt x="33" y="590"/>
                  </a:cubicBezTo>
                  <a:cubicBezTo>
                    <a:pt x="42" y="598"/>
                    <a:pt x="42" y="598"/>
                    <a:pt x="42" y="598"/>
                  </a:cubicBezTo>
                  <a:cubicBezTo>
                    <a:pt x="31" y="603"/>
                    <a:pt x="31" y="603"/>
                    <a:pt x="31" y="603"/>
                  </a:cubicBezTo>
                  <a:cubicBezTo>
                    <a:pt x="35" y="620"/>
                    <a:pt x="35" y="620"/>
                    <a:pt x="35" y="620"/>
                  </a:cubicBezTo>
                  <a:cubicBezTo>
                    <a:pt x="35" y="620"/>
                    <a:pt x="44" y="621"/>
                    <a:pt x="56" y="634"/>
                  </a:cubicBezTo>
                  <a:cubicBezTo>
                    <a:pt x="68" y="647"/>
                    <a:pt x="50" y="643"/>
                    <a:pt x="50" y="643"/>
                  </a:cubicBezTo>
                  <a:cubicBezTo>
                    <a:pt x="52" y="659"/>
                    <a:pt x="52" y="659"/>
                    <a:pt x="52" y="659"/>
                  </a:cubicBezTo>
                  <a:cubicBezTo>
                    <a:pt x="52" y="659"/>
                    <a:pt x="89" y="692"/>
                    <a:pt x="93" y="714"/>
                  </a:cubicBezTo>
                  <a:cubicBezTo>
                    <a:pt x="97" y="736"/>
                    <a:pt x="82" y="743"/>
                    <a:pt x="81" y="753"/>
                  </a:cubicBezTo>
                  <a:cubicBezTo>
                    <a:pt x="80" y="763"/>
                    <a:pt x="89" y="760"/>
                    <a:pt x="89" y="760"/>
                  </a:cubicBezTo>
                  <a:cubicBezTo>
                    <a:pt x="83" y="771"/>
                    <a:pt x="83" y="771"/>
                    <a:pt x="83" y="771"/>
                  </a:cubicBezTo>
                  <a:cubicBezTo>
                    <a:pt x="117" y="774"/>
                    <a:pt x="117" y="774"/>
                    <a:pt x="117" y="774"/>
                  </a:cubicBezTo>
                  <a:cubicBezTo>
                    <a:pt x="117" y="781"/>
                    <a:pt x="117" y="781"/>
                    <a:pt x="117" y="781"/>
                  </a:cubicBezTo>
                  <a:cubicBezTo>
                    <a:pt x="117" y="781"/>
                    <a:pt x="110" y="789"/>
                    <a:pt x="116" y="797"/>
                  </a:cubicBezTo>
                  <a:cubicBezTo>
                    <a:pt x="122" y="805"/>
                    <a:pt x="152" y="803"/>
                    <a:pt x="152" y="803"/>
                  </a:cubicBezTo>
                  <a:cubicBezTo>
                    <a:pt x="152" y="816"/>
                    <a:pt x="152" y="816"/>
                    <a:pt x="152" y="816"/>
                  </a:cubicBezTo>
                  <a:cubicBezTo>
                    <a:pt x="152" y="816"/>
                    <a:pt x="168" y="815"/>
                    <a:pt x="171" y="826"/>
                  </a:cubicBezTo>
                  <a:cubicBezTo>
                    <a:pt x="174" y="837"/>
                    <a:pt x="159" y="831"/>
                    <a:pt x="165" y="841"/>
                  </a:cubicBezTo>
                  <a:cubicBezTo>
                    <a:pt x="171" y="851"/>
                    <a:pt x="185" y="853"/>
                    <a:pt x="192" y="854"/>
                  </a:cubicBezTo>
                  <a:cubicBezTo>
                    <a:pt x="199" y="855"/>
                    <a:pt x="208" y="878"/>
                    <a:pt x="208" y="878"/>
                  </a:cubicBezTo>
                  <a:cubicBezTo>
                    <a:pt x="208" y="878"/>
                    <a:pt x="223" y="879"/>
                    <a:pt x="223" y="887"/>
                  </a:cubicBezTo>
                  <a:cubicBezTo>
                    <a:pt x="223" y="895"/>
                    <a:pt x="216" y="889"/>
                    <a:pt x="217" y="895"/>
                  </a:cubicBezTo>
                  <a:cubicBezTo>
                    <a:pt x="218" y="901"/>
                    <a:pt x="225" y="904"/>
                    <a:pt x="225" y="904"/>
                  </a:cubicBezTo>
                  <a:cubicBezTo>
                    <a:pt x="224" y="917"/>
                    <a:pt x="224" y="917"/>
                    <a:pt x="224" y="917"/>
                  </a:cubicBezTo>
                  <a:cubicBezTo>
                    <a:pt x="239" y="918"/>
                    <a:pt x="239" y="918"/>
                    <a:pt x="239" y="918"/>
                  </a:cubicBezTo>
                  <a:cubicBezTo>
                    <a:pt x="239" y="918"/>
                    <a:pt x="248" y="924"/>
                    <a:pt x="256" y="932"/>
                  </a:cubicBezTo>
                  <a:cubicBezTo>
                    <a:pt x="264" y="940"/>
                    <a:pt x="260" y="954"/>
                    <a:pt x="260" y="954"/>
                  </a:cubicBezTo>
                  <a:cubicBezTo>
                    <a:pt x="264" y="962"/>
                    <a:pt x="264" y="962"/>
                    <a:pt x="264" y="962"/>
                  </a:cubicBezTo>
                  <a:cubicBezTo>
                    <a:pt x="285" y="981"/>
                    <a:pt x="285" y="981"/>
                    <a:pt x="285" y="981"/>
                  </a:cubicBezTo>
                  <a:cubicBezTo>
                    <a:pt x="285" y="995"/>
                    <a:pt x="285" y="995"/>
                    <a:pt x="285" y="995"/>
                  </a:cubicBezTo>
                  <a:cubicBezTo>
                    <a:pt x="316" y="1010"/>
                    <a:pt x="316" y="1010"/>
                    <a:pt x="316" y="1010"/>
                  </a:cubicBezTo>
                  <a:cubicBezTo>
                    <a:pt x="316" y="1010"/>
                    <a:pt x="324" y="994"/>
                    <a:pt x="333" y="994"/>
                  </a:cubicBezTo>
                  <a:cubicBezTo>
                    <a:pt x="342" y="994"/>
                    <a:pt x="343" y="1006"/>
                    <a:pt x="354" y="1006"/>
                  </a:cubicBezTo>
                  <a:cubicBezTo>
                    <a:pt x="365" y="1006"/>
                    <a:pt x="364" y="988"/>
                    <a:pt x="371" y="988"/>
                  </a:cubicBezTo>
                  <a:cubicBezTo>
                    <a:pt x="378" y="988"/>
                    <a:pt x="382" y="1005"/>
                    <a:pt x="390" y="1017"/>
                  </a:cubicBezTo>
                  <a:cubicBezTo>
                    <a:pt x="398" y="1029"/>
                    <a:pt x="417" y="1033"/>
                    <a:pt x="417" y="1033"/>
                  </a:cubicBezTo>
                  <a:cubicBezTo>
                    <a:pt x="420" y="1047"/>
                    <a:pt x="420" y="1047"/>
                    <a:pt x="420" y="1047"/>
                  </a:cubicBezTo>
                  <a:cubicBezTo>
                    <a:pt x="431" y="1049"/>
                    <a:pt x="431" y="1049"/>
                    <a:pt x="431" y="1049"/>
                  </a:cubicBezTo>
                  <a:cubicBezTo>
                    <a:pt x="431" y="1049"/>
                    <a:pt x="442" y="1036"/>
                    <a:pt x="447" y="1036"/>
                  </a:cubicBezTo>
                  <a:cubicBezTo>
                    <a:pt x="452" y="1036"/>
                    <a:pt x="461" y="1043"/>
                    <a:pt x="467" y="1044"/>
                  </a:cubicBezTo>
                  <a:cubicBezTo>
                    <a:pt x="473" y="1045"/>
                    <a:pt x="474" y="1037"/>
                    <a:pt x="474" y="1037"/>
                  </a:cubicBezTo>
                  <a:cubicBezTo>
                    <a:pt x="481" y="1036"/>
                    <a:pt x="481" y="1036"/>
                    <a:pt x="481" y="1036"/>
                  </a:cubicBezTo>
                  <a:cubicBezTo>
                    <a:pt x="495" y="1054"/>
                    <a:pt x="495" y="1054"/>
                    <a:pt x="495" y="1054"/>
                  </a:cubicBezTo>
                  <a:cubicBezTo>
                    <a:pt x="508" y="1039"/>
                    <a:pt x="508" y="1039"/>
                    <a:pt x="508" y="1039"/>
                  </a:cubicBezTo>
                  <a:cubicBezTo>
                    <a:pt x="524" y="1040"/>
                    <a:pt x="524" y="1040"/>
                    <a:pt x="524" y="1040"/>
                  </a:cubicBezTo>
                  <a:cubicBezTo>
                    <a:pt x="524" y="1040"/>
                    <a:pt x="531" y="1032"/>
                    <a:pt x="536" y="1032"/>
                  </a:cubicBezTo>
                  <a:cubicBezTo>
                    <a:pt x="541" y="1032"/>
                    <a:pt x="540" y="1038"/>
                    <a:pt x="553" y="1040"/>
                  </a:cubicBezTo>
                  <a:cubicBezTo>
                    <a:pt x="566" y="1042"/>
                    <a:pt x="575" y="1015"/>
                    <a:pt x="575" y="1015"/>
                  </a:cubicBezTo>
                  <a:cubicBezTo>
                    <a:pt x="583" y="1015"/>
                    <a:pt x="583" y="1015"/>
                    <a:pt x="583" y="1015"/>
                  </a:cubicBezTo>
                  <a:cubicBezTo>
                    <a:pt x="597" y="995"/>
                    <a:pt x="597" y="995"/>
                    <a:pt x="597" y="995"/>
                  </a:cubicBezTo>
                  <a:cubicBezTo>
                    <a:pt x="657" y="994"/>
                    <a:pt x="657" y="994"/>
                    <a:pt x="657" y="994"/>
                  </a:cubicBezTo>
                  <a:cubicBezTo>
                    <a:pt x="670" y="986"/>
                    <a:pt x="670" y="986"/>
                    <a:pt x="670" y="986"/>
                  </a:cubicBezTo>
                  <a:cubicBezTo>
                    <a:pt x="669" y="976"/>
                    <a:pt x="669" y="976"/>
                    <a:pt x="669" y="976"/>
                  </a:cubicBezTo>
                  <a:cubicBezTo>
                    <a:pt x="669" y="976"/>
                    <a:pt x="670" y="962"/>
                    <a:pt x="665" y="954"/>
                  </a:cubicBezTo>
                  <a:cubicBezTo>
                    <a:pt x="660" y="946"/>
                    <a:pt x="650" y="955"/>
                    <a:pt x="640" y="947"/>
                  </a:cubicBezTo>
                  <a:cubicBezTo>
                    <a:pt x="630" y="939"/>
                    <a:pt x="628" y="912"/>
                    <a:pt x="628" y="912"/>
                  </a:cubicBezTo>
                  <a:cubicBezTo>
                    <a:pt x="621" y="908"/>
                    <a:pt x="621" y="908"/>
                    <a:pt x="621" y="908"/>
                  </a:cubicBezTo>
                  <a:cubicBezTo>
                    <a:pt x="619" y="883"/>
                    <a:pt x="619" y="883"/>
                    <a:pt x="619" y="883"/>
                  </a:cubicBezTo>
                  <a:cubicBezTo>
                    <a:pt x="610" y="882"/>
                    <a:pt x="610" y="882"/>
                    <a:pt x="610" y="882"/>
                  </a:cubicBezTo>
                  <a:cubicBezTo>
                    <a:pt x="607" y="869"/>
                    <a:pt x="607" y="869"/>
                    <a:pt x="607" y="869"/>
                  </a:cubicBezTo>
                  <a:cubicBezTo>
                    <a:pt x="607" y="869"/>
                    <a:pt x="596" y="871"/>
                    <a:pt x="592" y="866"/>
                  </a:cubicBezTo>
                  <a:cubicBezTo>
                    <a:pt x="588" y="861"/>
                    <a:pt x="587" y="846"/>
                    <a:pt x="587" y="846"/>
                  </a:cubicBezTo>
                  <a:cubicBezTo>
                    <a:pt x="587" y="846"/>
                    <a:pt x="570" y="831"/>
                    <a:pt x="562" y="827"/>
                  </a:cubicBezTo>
                  <a:cubicBezTo>
                    <a:pt x="554" y="823"/>
                    <a:pt x="538" y="829"/>
                    <a:pt x="535" y="824"/>
                  </a:cubicBezTo>
                  <a:cubicBezTo>
                    <a:pt x="532" y="819"/>
                    <a:pt x="542" y="802"/>
                    <a:pt x="542" y="802"/>
                  </a:cubicBezTo>
                  <a:cubicBezTo>
                    <a:pt x="540" y="786"/>
                    <a:pt x="540" y="786"/>
                    <a:pt x="540" y="786"/>
                  </a:cubicBezTo>
                  <a:cubicBezTo>
                    <a:pt x="563" y="787"/>
                    <a:pt x="563" y="787"/>
                    <a:pt x="563" y="787"/>
                  </a:cubicBezTo>
                  <a:cubicBezTo>
                    <a:pt x="568" y="792"/>
                    <a:pt x="568" y="792"/>
                    <a:pt x="568" y="792"/>
                  </a:cubicBezTo>
                  <a:cubicBezTo>
                    <a:pt x="568" y="792"/>
                    <a:pt x="575" y="787"/>
                    <a:pt x="582" y="782"/>
                  </a:cubicBezTo>
                  <a:cubicBezTo>
                    <a:pt x="589" y="777"/>
                    <a:pt x="586" y="746"/>
                    <a:pt x="586" y="746"/>
                  </a:cubicBezTo>
                  <a:cubicBezTo>
                    <a:pt x="586" y="746"/>
                    <a:pt x="579" y="727"/>
                    <a:pt x="580" y="719"/>
                  </a:cubicBezTo>
                  <a:cubicBezTo>
                    <a:pt x="581" y="711"/>
                    <a:pt x="596" y="700"/>
                    <a:pt x="597" y="697"/>
                  </a:cubicBezTo>
                  <a:cubicBezTo>
                    <a:pt x="598" y="694"/>
                    <a:pt x="592" y="683"/>
                    <a:pt x="592" y="676"/>
                  </a:cubicBezTo>
                  <a:cubicBezTo>
                    <a:pt x="592" y="669"/>
                    <a:pt x="598" y="656"/>
                    <a:pt x="603" y="656"/>
                  </a:cubicBezTo>
                  <a:cubicBezTo>
                    <a:pt x="608" y="656"/>
                    <a:pt x="610" y="667"/>
                    <a:pt x="610" y="667"/>
                  </a:cubicBezTo>
                  <a:cubicBezTo>
                    <a:pt x="610" y="667"/>
                    <a:pt x="616" y="670"/>
                    <a:pt x="622" y="662"/>
                  </a:cubicBezTo>
                  <a:cubicBezTo>
                    <a:pt x="628" y="654"/>
                    <a:pt x="621" y="631"/>
                    <a:pt x="621" y="631"/>
                  </a:cubicBezTo>
                  <a:cubicBezTo>
                    <a:pt x="628" y="620"/>
                    <a:pt x="628" y="620"/>
                    <a:pt x="628" y="620"/>
                  </a:cubicBezTo>
                  <a:cubicBezTo>
                    <a:pt x="626" y="605"/>
                    <a:pt x="626" y="605"/>
                    <a:pt x="626" y="605"/>
                  </a:cubicBezTo>
                  <a:cubicBezTo>
                    <a:pt x="626" y="605"/>
                    <a:pt x="637" y="601"/>
                    <a:pt x="642" y="596"/>
                  </a:cubicBezTo>
                  <a:cubicBezTo>
                    <a:pt x="647" y="591"/>
                    <a:pt x="642" y="581"/>
                    <a:pt x="643" y="576"/>
                  </a:cubicBezTo>
                  <a:cubicBezTo>
                    <a:pt x="644" y="571"/>
                    <a:pt x="655" y="557"/>
                    <a:pt x="655" y="557"/>
                  </a:cubicBezTo>
                  <a:cubicBezTo>
                    <a:pt x="677" y="555"/>
                    <a:pt x="677" y="555"/>
                    <a:pt x="677" y="555"/>
                  </a:cubicBezTo>
                  <a:cubicBezTo>
                    <a:pt x="677" y="555"/>
                    <a:pt x="675" y="537"/>
                    <a:pt x="675" y="529"/>
                  </a:cubicBezTo>
                  <a:cubicBezTo>
                    <a:pt x="675" y="521"/>
                    <a:pt x="691" y="501"/>
                    <a:pt x="691" y="501"/>
                  </a:cubicBezTo>
                  <a:cubicBezTo>
                    <a:pt x="691" y="471"/>
                    <a:pt x="691" y="471"/>
                    <a:pt x="691" y="471"/>
                  </a:cubicBezTo>
                  <a:cubicBezTo>
                    <a:pt x="689" y="438"/>
                    <a:pt x="689" y="438"/>
                    <a:pt x="689" y="438"/>
                  </a:cubicBezTo>
                  <a:cubicBezTo>
                    <a:pt x="689" y="438"/>
                    <a:pt x="683" y="436"/>
                    <a:pt x="684" y="428"/>
                  </a:cubicBezTo>
                  <a:cubicBezTo>
                    <a:pt x="685" y="420"/>
                    <a:pt x="696" y="421"/>
                    <a:pt x="696" y="414"/>
                  </a:cubicBezTo>
                  <a:cubicBezTo>
                    <a:pt x="696" y="407"/>
                    <a:pt x="697" y="397"/>
                    <a:pt x="697" y="397"/>
                  </a:cubicBezTo>
                  <a:cubicBezTo>
                    <a:pt x="697" y="397"/>
                    <a:pt x="709" y="395"/>
                    <a:pt x="709" y="377"/>
                  </a:cubicBezTo>
                  <a:cubicBezTo>
                    <a:pt x="709" y="359"/>
                    <a:pt x="703" y="349"/>
                    <a:pt x="703" y="346"/>
                  </a:cubicBezTo>
                  <a:cubicBezTo>
                    <a:pt x="703" y="343"/>
                    <a:pt x="714" y="338"/>
                    <a:pt x="714" y="338"/>
                  </a:cubicBezTo>
                  <a:cubicBezTo>
                    <a:pt x="714" y="328"/>
                    <a:pt x="714" y="328"/>
                    <a:pt x="714" y="328"/>
                  </a:cubicBezTo>
                  <a:cubicBezTo>
                    <a:pt x="714" y="328"/>
                    <a:pt x="732" y="328"/>
                    <a:pt x="733" y="321"/>
                  </a:cubicBezTo>
                  <a:cubicBezTo>
                    <a:pt x="734" y="314"/>
                    <a:pt x="734" y="306"/>
                    <a:pt x="734" y="306"/>
                  </a:cubicBezTo>
                  <a:cubicBezTo>
                    <a:pt x="734" y="306"/>
                    <a:pt x="761" y="304"/>
                    <a:pt x="770" y="296"/>
                  </a:cubicBezTo>
                  <a:cubicBezTo>
                    <a:pt x="775" y="292"/>
                    <a:pt x="779" y="280"/>
                    <a:pt x="781" y="271"/>
                  </a:cubicBezTo>
                  <a:cubicBezTo>
                    <a:pt x="756" y="256"/>
                    <a:pt x="756" y="256"/>
                    <a:pt x="756" y="256"/>
                  </a:cubicBezTo>
                  <a:cubicBezTo>
                    <a:pt x="756" y="256"/>
                    <a:pt x="753" y="240"/>
                    <a:pt x="747" y="236"/>
                  </a:cubicBezTo>
                  <a:cubicBezTo>
                    <a:pt x="741" y="232"/>
                    <a:pt x="726" y="242"/>
                    <a:pt x="722" y="228"/>
                  </a:cubicBezTo>
                  <a:cubicBezTo>
                    <a:pt x="718" y="214"/>
                    <a:pt x="717" y="176"/>
                    <a:pt x="717" y="176"/>
                  </a:cubicBezTo>
                  <a:cubicBezTo>
                    <a:pt x="710" y="174"/>
                    <a:pt x="710" y="174"/>
                    <a:pt x="710" y="174"/>
                  </a:cubicBezTo>
                  <a:cubicBezTo>
                    <a:pt x="710" y="174"/>
                    <a:pt x="708" y="132"/>
                    <a:pt x="708" y="127"/>
                  </a:cubicBezTo>
                  <a:cubicBezTo>
                    <a:pt x="708" y="122"/>
                    <a:pt x="703" y="111"/>
                    <a:pt x="703" y="111"/>
                  </a:cubicBezTo>
                  <a:cubicBezTo>
                    <a:pt x="715" y="108"/>
                    <a:pt x="715" y="108"/>
                    <a:pt x="715" y="108"/>
                  </a:cubicBezTo>
                  <a:cubicBezTo>
                    <a:pt x="715" y="108"/>
                    <a:pt x="697" y="93"/>
                    <a:pt x="696" y="84"/>
                  </a:cubicBezTo>
                  <a:cubicBezTo>
                    <a:pt x="695" y="75"/>
                    <a:pt x="701" y="59"/>
                    <a:pt x="693" y="53"/>
                  </a:cubicBezTo>
                  <a:cubicBezTo>
                    <a:pt x="685" y="47"/>
                    <a:pt x="674" y="39"/>
                    <a:pt x="674" y="39"/>
                  </a:cubicBezTo>
                  <a:cubicBezTo>
                    <a:pt x="674" y="39"/>
                    <a:pt x="665" y="27"/>
                    <a:pt x="661" y="23"/>
                  </a:cubicBezTo>
                  <a:cubicBezTo>
                    <a:pt x="657" y="19"/>
                    <a:pt x="656" y="26"/>
                    <a:pt x="650" y="22"/>
                  </a:cubicBezTo>
                  <a:cubicBezTo>
                    <a:pt x="646" y="19"/>
                    <a:pt x="639" y="10"/>
                    <a:pt x="634" y="0"/>
                  </a:cubicBezTo>
                  <a:cubicBezTo>
                    <a:pt x="618" y="15"/>
                    <a:pt x="618" y="15"/>
                    <a:pt x="618" y="15"/>
                  </a:cubicBezTo>
                  <a:lnTo>
                    <a:pt x="601" y="16"/>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70" name="Freeform 131"/>
            <p:cNvSpPr>
              <a:spLocks noEditPoints="1"/>
            </p:cNvSpPr>
            <p:nvPr/>
          </p:nvSpPr>
          <p:spPr bwMode="gray">
            <a:xfrm>
              <a:off x="7754938" y="2216150"/>
              <a:ext cx="111125" cy="444500"/>
            </a:xfrm>
            <a:custGeom>
              <a:avLst/>
              <a:gdLst>
                <a:gd name="T0" fmla="*/ 0 w 199"/>
                <a:gd name="T1" fmla="*/ 794 h 794"/>
                <a:gd name="T2" fmla="*/ 9 w 199"/>
                <a:gd name="T3" fmla="*/ 791 h 794"/>
                <a:gd name="T4" fmla="*/ 25 w 199"/>
                <a:gd name="T5" fmla="*/ 764 h 794"/>
                <a:gd name="T6" fmla="*/ 12 w 199"/>
                <a:gd name="T7" fmla="*/ 755 h 794"/>
                <a:gd name="T8" fmla="*/ 0 w 199"/>
                <a:gd name="T9" fmla="*/ 794 h 794"/>
                <a:gd name="T10" fmla="*/ 76 w 199"/>
                <a:gd name="T11" fmla="*/ 712 h 794"/>
                <a:gd name="T12" fmla="*/ 49 w 199"/>
                <a:gd name="T13" fmla="*/ 708 h 794"/>
                <a:gd name="T14" fmla="*/ 36 w 199"/>
                <a:gd name="T15" fmla="*/ 755 h 794"/>
                <a:gd name="T16" fmla="*/ 43 w 199"/>
                <a:gd name="T17" fmla="*/ 757 h 794"/>
                <a:gd name="T18" fmla="*/ 55 w 199"/>
                <a:gd name="T19" fmla="*/ 733 h 794"/>
                <a:gd name="T20" fmla="*/ 88 w 199"/>
                <a:gd name="T21" fmla="*/ 715 h 794"/>
                <a:gd name="T22" fmla="*/ 79 w 199"/>
                <a:gd name="T23" fmla="*/ 699 h 794"/>
                <a:gd name="T24" fmla="*/ 76 w 199"/>
                <a:gd name="T25" fmla="*/ 712 h 794"/>
                <a:gd name="T26" fmla="*/ 128 w 199"/>
                <a:gd name="T27" fmla="*/ 672 h 794"/>
                <a:gd name="T28" fmla="*/ 117 w 199"/>
                <a:gd name="T29" fmla="*/ 697 h 794"/>
                <a:gd name="T30" fmla="*/ 128 w 199"/>
                <a:gd name="T31" fmla="*/ 672 h 794"/>
                <a:gd name="T32" fmla="*/ 189 w 199"/>
                <a:gd name="T33" fmla="*/ 423 h 794"/>
                <a:gd name="T34" fmla="*/ 177 w 199"/>
                <a:gd name="T35" fmla="*/ 434 h 794"/>
                <a:gd name="T36" fmla="*/ 185 w 199"/>
                <a:gd name="T37" fmla="*/ 449 h 794"/>
                <a:gd name="T38" fmla="*/ 173 w 199"/>
                <a:gd name="T39" fmla="*/ 449 h 794"/>
                <a:gd name="T40" fmla="*/ 173 w 199"/>
                <a:gd name="T41" fmla="*/ 469 h 794"/>
                <a:gd name="T42" fmla="*/ 189 w 199"/>
                <a:gd name="T43" fmla="*/ 467 h 794"/>
                <a:gd name="T44" fmla="*/ 198 w 199"/>
                <a:gd name="T45" fmla="*/ 456 h 794"/>
                <a:gd name="T46" fmla="*/ 189 w 199"/>
                <a:gd name="T47" fmla="*/ 437 h 794"/>
                <a:gd name="T48" fmla="*/ 199 w 199"/>
                <a:gd name="T49" fmla="*/ 435 h 794"/>
                <a:gd name="T50" fmla="*/ 189 w 199"/>
                <a:gd name="T51" fmla="*/ 423 h 794"/>
                <a:gd name="T52" fmla="*/ 184 w 199"/>
                <a:gd name="T53" fmla="*/ 513 h 794"/>
                <a:gd name="T54" fmla="*/ 195 w 199"/>
                <a:gd name="T55" fmla="*/ 499 h 794"/>
                <a:gd name="T56" fmla="*/ 178 w 199"/>
                <a:gd name="T57" fmla="*/ 485 h 794"/>
                <a:gd name="T58" fmla="*/ 184 w 199"/>
                <a:gd name="T59" fmla="*/ 513 h 794"/>
                <a:gd name="T60" fmla="*/ 170 w 199"/>
                <a:gd name="T61" fmla="*/ 636 h 794"/>
                <a:gd name="T62" fmla="*/ 171 w 199"/>
                <a:gd name="T63" fmla="*/ 615 h 794"/>
                <a:gd name="T64" fmla="*/ 162 w 199"/>
                <a:gd name="T65" fmla="*/ 632 h 794"/>
                <a:gd name="T66" fmla="*/ 170 w 199"/>
                <a:gd name="T67" fmla="*/ 636 h 794"/>
                <a:gd name="T68" fmla="*/ 169 w 199"/>
                <a:gd name="T69" fmla="*/ 573 h 794"/>
                <a:gd name="T70" fmla="*/ 181 w 199"/>
                <a:gd name="T71" fmla="*/ 571 h 794"/>
                <a:gd name="T72" fmla="*/ 169 w 199"/>
                <a:gd name="T73" fmla="*/ 559 h 794"/>
                <a:gd name="T74" fmla="*/ 169 w 199"/>
                <a:gd name="T75" fmla="*/ 573 h 794"/>
                <a:gd name="T76" fmla="*/ 82 w 199"/>
                <a:gd name="T77" fmla="*/ 14 h 794"/>
                <a:gd name="T78" fmla="*/ 94 w 199"/>
                <a:gd name="T79" fmla="*/ 38 h 794"/>
                <a:gd name="T80" fmla="*/ 114 w 199"/>
                <a:gd name="T81" fmla="*/ 14 h 794"/>
                <a:gd name="T82" fmla="*/ 106 w 199"/>
                <a:gd name="T83" fmla="*/ 0 h 794"/>
                <a:gd name="T84" fmla="*/ 82 w 199"/>
                <a:gd name="T85" fmla="*/ 14 h 7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9" h="794">
                  <a:moveTo>
                    <a:pt x="0" y="794"/>
                  </a:moveTo>
                  <a:cubicBezTo>
                    <a:pt x="9" y="791"/>
                    <a:pt x="9" y="791"/>
                    <a:pt x="9" y="791"/>
                  </a:cubicBezTo>
                  <a:cubicBezTo>
                    <a:pt x="25" y="764"/>
                    <a:pt x="25" y="764"/>
                    <a:pt x="25" y="764"/>
                  </a:cubicBezTo>
                  <a:cubicBezTo>
                    <a:pt x="12" y="755"/>
                    <a:pt x="12" y="755"/>
                    <a:pt x="12" y="755"/>
                  </a:cubicBezTo>
                  <a:lnTo>
                    <a:pt x="0" y="794"/>
                  </a:lnTo>
                  <a:close/>
                  <a:moveTo>
                    <a:pt x="76" y="712"/>
                  </a:moveTo>
                  <a:cubicBezTo>
                    <a:pt x="49" y="708"/>
                    <a:pt x="49" y="708"/>
                    <a:pt x="49" y="708"/>
                  </a:cubicBezTo>
                  <a:cubicBezTo>
                    <a:pt x="36" y="755"/>
                    <a:pt x="36" y="755"/>
                    <a:pt x="36" y="755"/>
                  </a:cubicBezTo>
                  <a:cubicBezTo>
                    <a:pt x="43" y="757"/>
                    <a:pt x="43" y="757"/>
                    <a:pt x="43" y="757"/>
                  </a:cubicBezTo>
                  <a:cubicBezTo>
                    <a:pt x="55" y="733"/>
                    <a:pt x="55" y="733"/>
                    <a:pt x="55" y="733"/>
                  </a:cubicBezTo>
                  <a:cubicBezTo>
                    <a:pt x="88" y="715"/>
                    <a:pt x="88" y="715"/>
                    <a:pt x="88" y="715"/>
                  </a:cubicBezTo>
                  <a:cubicBezTo>
                    <a:pt x="79" y="699"/>
                    <a:pt x="79" y="699"/>
                    <a:pt x="79" y="699"/>
                  </a:cubicBezTo>
                  <a:lnTo>
                    <a:pt x="76" y="712"/>
                  </a:lnTo>
                  <a:close/>
                  <a:moveTo>
                    <a:pt x="128" y="672"/>
                  </a:moveTo>
                  <a:cubicBezTo>
                    <a:pt x="119" y="670"/>
                    <a:pt x="109" y="694"/>
                    <a:pt x="117" y="697"/>
                  </a:cubicBezTo>
                  <a:cubicBezTo>
                    <a:pt x="128" y="701"/>
                    <a:pt x="138" y="675"/>
                    <a:pt x="128" y="672"/>
                  </a:cubicBezTo>
                  <a:close/>
                  <a:moveTo>
                    <a:pt x="189" y="423"/>
                  </a:moveTo>
                  <a:cubicBezTo>
                    <a:pt x="177" y="434"/>
                    <a:pt x="177" y="434"/>
                    <a:pt x="177" y="434"/>
                  </a:cubicBezTo>
                  <a:cubicBezTo>
                    <a:pt x="185" y="449"/>
                    <a:pt x="185" y="449"/>
                    <a:pt x="185" y="449"/>
                  </a:cubicBezTo>
                  <a:cubicBezTo>
                    <a:pt x="173" y="449"/>
                    <a:pt x="173" y="449"/>
                    <a:pt x="173" y="449"/>
                  </a:cubicBezTo>
                  <a:cubicBezTo>
                    <a:pt x="173" y="469"/>
                    <a:pt x="173" y="469"/>
                    <a:pt x="173" y="469"/>
                  </a:cubicBezTo>
                  <a:cubicBezTo>
                    <a:pt x="189" y="467"/>
                    <a:pt x="189" y="467"/>
                    <a:pt x="189" y="467"/>
                  </a:cubicBezTo>
                  <a:cubicBezTo>
                    <a:pt x="198" y="456"/>
                    <a:pt x="198" y="456"/>
                    <a:pt x="198" y="456"/>
                  </a:cubicBezTo>
                  <a:cubicBezTo>
                    <a:pt x="189" y="437"/>
                    <a:pt x="189" y="437"/>
                    <a:pt x="189" y="437"/>
                  </a:cubicBezTo>
                  <a:cubicBezTo>
                    <a:pt x="199" y="435"/>
                    <a:pt x="199" y="435"/>
                    <a:pt x="199" y="435"/>
                  </a:cubicBezTo>
                  <a:lnTo>
                    <a:pt x="189" y="423"/>
                  </a:lnTo>
                  <a:close/>
                  <a:moveTo>
                    <a:pt x="184" y="513"/>
                  </a:moveTo>
                  <a:cubicBezTo>
                    <a:pt x="195" y="499"/>
                    <a:pt x="195" y="499"/>
                    <a:pt x="195" y="499"/>
                  </a:cubicBezTo>
                  <a:cubicBezTo>
                    <a:pt x="178" y="485"/>
                    <a:pt x="178" y="485"/>
                    <a:pt x="178" y="485"/>
                  </a:cubicBezTo>
                  <a:lnTo>
                    <a:pt x="184" y="513"/>
                  </a:lnTo>
                  <a:close/>
                  <a:moveTo>
                    <a:pt x="170" y="636"/>
                  </a:moveTo>
                  <a:cubicBezTo>
                    <a:pt x="171" y="615"/>
                    <a:pt x="171" y="615"/>
                    <a:pt x="171" y="615"/>
                  </a:cubicBezTo>
                  <a:cubicBezTo>
                    <a:pt x="162" y="632"/>
                    <a:pt x="162" y="632"/>
                    <a:pt x="162" y="632"/>
                  </a:cubicBezTo>
                  <a:lnTo>
                    <a:pt x="170" y="636"/>
                  </a:lnTo>
                  <a:close/>
                  <a:moveTo>
                    <a:pt x="169" y="573"/>
                  </a:moveTo>
                  <a:cubicBezTo>
                    <a:pt x="181" y="571"/>
                    <a:pt x="181" y="571"/>
                    <a:pt x="181" y="571"/>
                  </a:cubicBezTo>
                  <a:cubicBezTo>
                    <a:pt x="169" y="559"/>
                    <a:pt x="169" y="559"/>
                    <a:pt x="169" y="559"/>
                  </a:cubicBezTo>
                  <a:lnTo>
                    <a:pt x="169" y="573"/>
                  </a:lnTo>
                  <a:close/>
                  <a:moveTo>
                    <a:pt x="82" y="14"/>
                  </a:moveTo>
                  <a:cubicBezTo>
                    <a:pt x="94" y="38"/>
                    <a:pt x="94" y="38"/>
                    <a:pt x="94" y="38"/>
                  </a:cubicBezTo>
                  <a:cubicBezTo>
                    <a:pt x="114" y="14"/>
                    <a:pt x="114" y="14"/>
                    <a:pt x="114" y="14"/>
                  </a:cubicBezTo>
                  <a:cubicBezTo>
                    <a:pt x="106" y="0"/>
                    <a:pt x="106" y="0"/>
                    <a:pt x="106" y="0"/>
                  </a:cubicBezTo>
                  <a:lnTo>
                    <a:pt x="82" y="14"/>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71" name="Freeform 132"/>
            <p:cNvSpPr>
              <a:spLocks noEditPoints="1"/>
            </p:cNvSpPr>
            <p:nvPr/>
          </p:nvSpPr>
          <p:spPr bwMode="gray">
            <a:xfrm>
              <a:off x="7159625" y="3451225"/>
              <a:ext cx="41275" cy="30163"/>
            </a:xfrm>
            <a:custGeom>
              <a:avLst/>
              <a:gdLst>
                <a:gd name="T0" fmla="*/ 16 w 76"/>
                <a:gd name="T1" fmla="*/ 34 h 52"/>
                <a:gd name="T2" fmla="*/ 11 w 76"/>
                <a:gd name="T3" fmla="*/ 52 h 52"/>
                <a:gd name="T4" fmla="*/ 16 w 76"/>
                <a:gd name="T5" fmla="*/ 34 h 52"/>
                <a:gd name="T6" fmla="*/ 35 w 76"/>
                <a:gd name="T7" fmla="*/ 8 h 52"/>
                <a:gd name="T8" fmla="*/ 47 w 76"/>
                <a:gd name="T9" fmla="*/ 26 h 52"/>
                <a:gd name="T10" fmla="*/ 58 w 76"/>
                <a:gd name="T11" fmla="*/ 21 h 52"/>
                <a:gd name="T12" fmla="*/ 35 w 76"/>
                <a:gd name="T13" fmla="*/ 8 h 52"/>
                <a:gd name="T14" fmla="*/ 71 w 76"/>
                <a:gd name="T15" fmla="*/ 32 h 52"/>
                <a:gd name="T16" fmla="*/ 58 w 76"/>
                <a:gd name="T17" fmla="*/ 42 h 52"/>
                <a:gd name="T18" fmla="*/ 71 w 76"/>
                <a:gd name="T19" fmla="*/ 3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52">
                  <a:moveTo>
                    <a:pt x="16" y="34"/>
                  </a:moveTo>
                  <a:cubicBezTo>
                    <a:pt x="0" y="34"/>
                    <a:pt x="11" y="52"/>
                    <a:pt x="11" y="52"/>
                  </a:cubicBezTo>
                  <a:cubicBezTo>
                    <a:pt x="23" y="52"/>
                    <a:pt x="32" y="34"/>
                    <a:pt x="16" y="34"/>
                  </a:cubicBezTo>
                  <a:close/>
                  <a:moveTo>
                    <a:pt x="35" y="8"/>
                  </a:moveTo>
                  <a:cubicBezTo>
                    <a:pt x="28" y="16"/>
                    <a:pt x="47" y="26"/>
                    <a:pt x="47" y="26"/>
                  </a:cubicBezTo>
                  <a:cubicBezTo>
                    <a:pt x="58" y="21"/>
                    <a:pt x="58" y="21"/>
                    <a:pt x="58" y="21"/>
                  </a:cubicBezTo>
                  <a:cubicBezTo>
                    <a:pt x="58" y="21"/>
                    <a:pt x="41" y="0"/>
                    <a:pt x="35" y="8"/>
                  </a:cubicBezTo>
                  <a:close/>
                  <a:moveTo>
                    <a:pt x="71" y="32"/>
                  </a:moveTo>
                  <a:cubicBezTo>
                    <a:pt x="66" y="26"/>
                    <a:pt x="51" y="38"/>
                    <a:pt x="58" y="42"/>
                  </a:cubicBezTo>
                  <a:cubicBezTo>
                    <a:pt x="68" y="48"/>
                    <a:pt x="76" y="37"/>
                    <a:pt x="71" y="32"/>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72" name="Freeform 133"/>
            <p:cNvSpPr>
              <a:spLocks noEditPoints="1"/>
            </p:cNvSpPr>
            <p:nvPr/>
          </p:nvSpPr>
          <p:spPr bwMode="gray">
            <a:xfrm>
              <a:off x="7443788" y="2603500"/>
              <a:ext cx="331787" cy="644525"/>
            </a:xfrm>
            <a:custGeom>
              <a:avLst/>
              <a:gdLst>
                <a:gd name="T0" fmla="*/ 529 w 591"/>
                <a:gd name="T1" fmla="*/ 401 h 1153"/>
                <a:gd name="T2" fmla="*/ 547 w 591"/>
                <a:gd name="T3" fmla="*/ 349 h 1153"/>
                <a:gd name="T4" fmla="*/ 492 w 591"/>
                <a:gd name="T5" fmla="*/ 276 h 1153"/>
                <a:gd name="T6" fmla="*/ 448 w 591"/>
                <a:gd name="T7" fmla="*/ 241 h 1153"/>
                <a:gd name="T8" fmla="*/ 441 w 591"/>
                <a:gd name="T9" fmla="*/ 258 h 1153"/>
                <a:gd name="T10" fmla="*/ 418 w 591"/>
                <a:gd name="T11" fmla="*/ 264 h 1153"/>
                <a:gd name="T12" fmla="*/ 456 w 591"/>
                <a:gd name="T13" fmla="*/ 373 h 1153"/>
                <a:gd name="T14" fmla="*/ 443 w 591"/>
                <a:gd name="T15" fmla="*/ 450 h 1153"/>
                <a:gd name="T16" fmla="*/ 383 w 591"/>
                <a:gd name="T17" fmla="*/ 448 h 1153"/>
                <a:gd name="T18" fmla="*/ 367 w 591"/>
                <a:gd name="T19" fmla="*/ 514 h 1153"/>
                <a:gd name="T20" fmla="*/ 259 w 591"/>
                <a:gd name="T21" fmla="*/ 546 h 1153"/>
                <a:gd name="T22" fmla="*/ 179 w 591"/>
                <a:gd name="T23" fmla="*/ 601 h 1153"/>
                <a:gd name="T24" fmla="*/ 241 w 591"/>
                <a:gd name="T25" fmla="*/ 607 h 1153"/>
                <a:gd name="T26" fmla="*/ 331 w 591"/>
                <a:gd name="T27" fmla="*/ 584 h 1153"/>
                <a:gd name="T28" fmla="*/ 407 w 591"/>
                <a:gd name="T29" fmla="*/ 654 h 1153"/>
                <a:gd name="T30" fmla="*/ 415 w 591"/>
                <a:gd name="T31" fmla="*/ 583 h 1153"/>
                <a:gd name="T32" fmla="*/ 464 w 591"/>
                <a:gd name="T33" fmla="*/ 585 h 1153"/>
                <a:gd name="T34" fmla="*/ 528 w 591"/>
                <a:gd name="T35" fmla="*/ 556 h 1153"/>
                <a:gd name="T36" fmla="*/ 578 w 591"/>
                <a:gd name="T37" fmla="*/ 538 h 1153"/>
                <a:gd name="T38" fmla="*/ 299 w 591"/>
                <a:gd name="T39" fmla="*/ 628 h 1153"/>
                <a:gd name="T40" fmla="*/ 276 w 591"/>
                <a:gd name="T41" fmla="*/ 674 h 1153"/>
                <a:gd name="T42" fmla="*/ 358 w 591"/>
                <a:gd name="T43" fmla="*/ 638 h 1153"/>
                <a:gd name="T44" fmla="*/ 256 w 591"/>
                <a:gd name="T45" fmla="*/ 689 h 1153"/>
                <a:gd name="T46" fmla="*/ 184 w 591"/>
                <a:gd name="T47" fmla="*/ 634 h 1153"/>
                <a:gd name="T48" fmla="*/ 174 w 591"/>
                <a:gd name="T49" fmla="*/ 687 h 1153"/>
                <a:gd name="T50" fmla="*/ 182 w 591"/>
                <a:gd name="T51" fmla="*/ 727 h 1153"/>
                <a:gd name="T52" fmla="*/ 233 w 591"/>
                <a:gd name="T53" fmla="*/ 780 h 1153"/>
                <a:gd name="T54" fmla="*/ 172 w 591"/>
                <a:gd name="T55" fmla="*/ 718 h 1153"/>
                <a:gd name="T56" fmla="*/ 432 w 591"/>
                <a:gd name="T57" fmla="*/ 423 h 1153"/>
                <a:gd name="T58" fmla="*/ 411 w 591"/>
                <a:gd name="T59" fmla="*/ 400 h 1153"/>
                <a:gd name="T60" fmla="*/ 374 w 591"/>
                <a:gd name="T61" fmla="*/ 72 h 1153"/>
                <a:gd name="T62" fmla="*/ 354 w 591"/>
                <a:gd name="T63" fmla="*/ 123 h 1153"/>
                <a:gd name="T64" fmla="*/ 390 w 591"/>
                <a:gd name="T65" fmla="*/ 198 h 1153"/>
                <a:gd name="T66" fmla="*/ 437 w 591"/>
                <a:gd name="T67" fmla="*/ 205 h 1153"/>
                <a:gd name="T68" fmla="*/ 409 w 591"/>
                <a:gd name="T69" fmla="*/ 179 h 1153"/>
                <a:gd name="T70" fmla="*/ 557 w 591"/>
                <a:gd name="T71" fmla="*/ 147 h 1153"/>
                <a:gd name="T72" fmla="*/ 523 w 591"/>
                <a:gd name="T73" fmla="*/ 96 h 1153"/>
                <a:gd name="T74" fmla="*/ 194 w 591"/>
                <a:gd name="T75" fmla="*/ 984 h 1153"/>
                <a:gd name="T76" fmla="*/ 208 w 591"/>
                <a:gd name="T77" fmla="*/ 933 h 1153"/>
                <a:gd name="T78" fmla="*/ 208 w 591"/>
                <a:gd name="T79" fmla="*/ 933 h 1153"/>
                <a:gd name="T80" fmla="*/ 230 w 591"/>
                <a:gd name="T81" fmla="*/ 810 h 1153"/>
                <a:gd name="T82" fmla="*/ 252 w 591"/>
                <a:gd name="T83" fmla="*/ 792 h 1153"/>
                <a:gd name="T84" fmla="*/ 252 w 591"/>
                <a:gd name="T85" fmla="*/ 792 h 1153"/>
                <a:gd name="T86" fmla="*/ 32 w 591"/>
                <a:gd name="T87" fmla="*/ 1144 h 1153"/>
                <a:gd name="T88" fmla="*/ 90 w 591"/>
                <a:gd name="T89" fmla="*/ 1125 h 1153"/>
                <a:gd name="T90" fmla="*/ 16 w 591"/>
                <a:gd name="T91" fmla="*/ 1134 h 1153"/>
                <a:gd name="T92" fmla="*/ 184 w 591"/>
                <a:gd name="T93" fmla="*/ 1008 h 1153"/>
                <a:gd name="T94" fmla="*/ 198 w 591"/>
                <a:gd name="T95" fmla="*/ 1014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91" h="1153">
                  <a:moveTo>
                    <a:pt x="591" y="531"/>
                  </a:moveTo>
                  <a:cubicBezTo>
                    <a:pt x="591" y="531"/>
                    <a:pt x="559" y="513"/>
                    <a:pt x="560" y="499"/>
                  </a:cubicBezTo>
                  <a:cubicBezTo>
                    <a:pt x="561" y="485"/>
                    <a:pt x="562" y="459"/>
                    <a:pt x="556" y="447"/>
                  </a:cubicBezTo>
                  <a:cubicBezTo>
                    <a:pt x="550" y="435"/>
                    <a:pt x="526" y="418"/>
                    <a:pt x="529" y="401"/>
                  </a:cubicBezTo>
                  <a:cubicBezTo>
                    <a:pt x="532" y="384"/>
                    <a:pt x="548" y="389"/>
                    <a:pt x="548" y="389"/>
                  </a:cubicBezTo>
                  <a:cubicBezTo>
                    <a:pt x="545" y="362"/>
                    <a:pt x="545" y="362"/>
                    <a:pt x="545" y="362"/>
                  </a:cubicBezTo>
                  <a:cubicBezTo>
                    <a:pt x="537" y="356"/>
                    <a:pt x="537" y="356"/>
                    <a:pt x="537" y="356"/>
                  </a:cubicBezTo>
                  <a:cubicBezTo>
                    <a:pt x="547" y="349"/>
                    <a:pt x="547" y="349"/>
                    <a:pt x="547" y="349"/>
                  </a:cubicBezTo>
                  <a:cubicBezTo>
                    <a:pt x="547" y="349"/>
                    <a:pt x="542" y="331"/>
                    <a:pt x="538" y="321"/>
                  </a:cubicBezTo>
                  <a:cubicBezTo>
                    <a:pt x="534" y="311"/>
                    <a:pt x="520" y="303"/>
                    <a:pt x="520" y="303"/>
                  </a:cubicBezTo>
                  <a:cubicBezTo>
                    <a:pt x="516" y="290"/>
                    <a:pt x="516" y="290"/>
                    <a:pt x="516" y="290"/>
                  </a:cubicBezTo>
                  <a:cubicBezTo>
                    <a:pt x="516" y="290"/>
                    <a:pt x="501" y="283"/>
                    <a:pt x="492" y="276"/>
                  </a:cubicBezTo>
                  <a:cubicBezTo>
                    <a:pt x="483" y="269"/>
                    <a:pt x="468" y="253"/>
                    <a:pt x="468" y="244"/>
                  </a:cubicBezTo>
                  <a:cubicBezTo>
                    <a:pt x="468" y="235"/>
                    <a:pt x="465" y="231"/>
                    <a:pt x="465" y="231"/>
                  </a:cubicBezTo>
                  <a:cubicBezTo>
                    <a:pt x="465" y="231"/>
                    <a:pt x="442" y="214"/>
                    <a:pt x="439" y="226"/>
                  </a:cubicBezTo>
                  <a:cubicBezTo>
                    <a:pt x="436" y="238"/>
                    <a:pt x="448" y="241"/>
                    <a:pt x="448" y="241"/>
                  </a:cubicBezTo>
                  <a:cubicBezTo>
                    <a:pt x="455" y="237"/>
                    <a:pt x="455" y="237"/>
                    <a:pt x="455" y="237"/>
                  </a:cubicBezTo>
                  <a:cubicBezTo>
                    <a:pt x="455" y="237"/>
                    <a:pt x="463" y="256"/>
                    <a:pt x="459" y="256"/>
                  </a:cubicBezTo>
                  <a:cubicBezTo>
                    <a:pt x="455" y="256"/>
                    <a:pt x="450" y="249"/>
                    <a:pt x="450" y="249"/>
                  </a:cubicBezTo>
                  <a:cubicBezTo>
                    <a:pt x="441" y="258"/>
                    <a:pt x="441" y="258"/>
                    <a:pt x="441" y="258"/>
                  </a:cubicBezTo>
                  <a:cubicBezTo>
                    <a:pt x="428" y="237"/>
                    <a:pt x="428" y="237"/>
                    <a:pt x="428" y="237"/>
                  </a:cubicBezTo>
                  <a:cubicBezTo>
                    <a:pt x="416" y="237"/>
                    <a:pt x="416" y="237"/>
                    <a:pt x="416" y="237"/>
                  </a:cubicBezTo>
                  <a:cubicBezTo>
                    <a:pt x="430" y="261"/>
                    <a:pt x="430" y="261"/>
                    <a:pt x="430" y="261"/>
                  </a:cubicBezTo>
                  <a:cubicBezTo>
                    <a:pt x="418" y="264"/>
                    <a:pt x="418" y="264"/>
                    <a:pt x="418" y="264"/>
                  </a:cubicBezTo>
                  <a:cubicBezTo>
                    <a:pt x="437" y="296"/>
                    <a:pt x="437" y="296"/>
                    <a:pt x="437" y="296"/>
                  </a:cubicBezTo>
                  <a:cubicBezTo>
                    <a:pt x="430" y="304"/>
                    <a:pt x="430" y="304"/>
                    <a:pt x="430" y="304"/>
                  </a:cubicBezTo>
                  <a:cubicBezTo>
                    <a:pt x="430" y="304"/>
                    <a:pt x="466" y="322"/>
                    <a:pt x="464" y="337"/>
                  </a:cubicBezTo>
                  <a:cubicBezTo>
                    <a:pt x="462" y="352"/>
                    <a:pt x="456" y="373"/>
                    <a:pt x="456" y="373"/>
                  </a:cubicBezTo>
                  <a:cubicBezTo>
                    <a:pt x="454" y="391"/>
                    <a:pt x="454" y="391"/>
                    <a:pt x="454" y="391"/>
                  </a:cubicBezTo>
                  <a:cubicBezTo>
                    <a:pt x="454" y="391"/>
                    <a:pt x="475" y="404"/>
                    <a:pt x="465" y="411"/>
                  </a:cubicBezTo>
                  <a:cubicBezTo>
                    <a:pt x="455" y="418"/>
                    <a:pt x="447" y="414"/>
                    <a:pt x="447" y="414"/>
                  </a:cubicBezTo>
                  <a:cubicBezTo>
                    <a:pt x="447" y="414"/>
                    <a:pt x="454" y="444"/>
                    <a:pt x="443" y="450"/>
                  </a:cubicBezTo>
                  <a:cubicBezTo>
                    <a:pt x="432" y="456"/>
                    <a:pt x="409" y="464"/>
                    <a:pt x="409" y="464"/>
                  </a:cubicBezTo>
                  <a:cubicBezTo>
                    <a:pt x="409" y="473"/>
                    <a:pt x="409" y="473"/>
                    <a:pt x="409" y="473"/>
                  </a:cubicBezTo>
                  <a:cubicBezTo>
                    <a:pt x="409" y="473"/>
                    <a:pt x="398" y="477"/>
                    <a:pt x="389" y="467"/>
                  </a:cubicBezTo>
                  <a:cubicBezTo>
                    <a:pt x="380" y="457"/>
                    <a:pt x="383" y="448"/>
                    <a:pt x="383" y="448"/>
                  </a:cubicBezTo>
                  <a:cubicBezTo>
                    <a:pt x="386" y="435"/>
                    <a:pt x="386" y="435"/>
                    <a:pt x="386" y="435"/>
                  </a:cubicBezTo>
                  <a:cubicBezTo>
                    <a:pt x="386" y="435"/>
                    <a:pt x="360" y="440"/>
                    <a:pt x="364" y="450"/>
                  </a:cubicBezTo>
                  <a:cubicBezTo>
                    <a:pt x="368" y="460"/>
                    <a:pt x="381" y="474"/>
                    <a:pt x="379" y="481"/>
                  </a:cubicBezTo>
                  <a:cubicBezTo>
                    <a:pt x="377" y="488"/>
                    <a:pt x="363" y="504"/>
                    <a:pt x="367" y="514"/>
                  </a:cubicBezTo>
                  <a:cubicBezTo>
                    <a:pt x="371" y="524"/>
                    <a:pt x="384" y="539"/>
                    <a:pt x="374" y="540"/>
                  </a:cubicBezTo>
                  <a:cubicBezTo>
                    <a:pt x="364" y="541"/>
                    <a:pt x="338" y="529"/>
                    <a:pt x="329" y="530"/>
                  </a:cubicBezTo>
                  <a:cubicBezTo>
                    <a:pt x="320" y="531"/>
                    <a:pt x="281" y="546"/>
                    <a:pt x="278" y="546"/>
                  </a:cubicBezTo>
                  <a:cubicBezTo>
                    <a:pt x="275" y="546"/>
                    <a:pt x="259" y="546"/>
                    <a:pt x="259" y="546"/>
                  </a:cubicBezTo>
                  <a:cubicBezTo>
                    <a:pt x="251" y="538"/>
                    <a:pt x="251" y="538"/>
                    <a:pt x="251" y="538"/>
                  </a:cubicBezTo>
                  <a:cubicBezTo>
                    <a:pt x="229" y="555"/>
                    <a:pt x="229" y="555"/>
                    <a:pt x="229" y="555"/>
                  </a:cubicBezTo>
                  <a:cubicBezTo>
                    <a:pt x="229" y="555"/>
                    <a:pt x="202" y="600"/>
                    <a:pt x="198" y="600"/>
                  </a:cubicBezTo>
                  <a:cubicBezTo>
                    <a:pt x="194" y="600"/>
                    <a:pt x="179" y="601"/>
                    <a:pt x="179" y="601"/>
                  </a:cubicBezTo>
                  <a:cubicBezTo>
                    <a:pt x="179" y="601"/>
                    <a:pt x="184" y="625"/>
                    <a:pt x="191" y="625"/>
                  </a:cubicBezTo>
                  <a:cubicBezTo>
                    <a:pt x="198" y="625"/>
                    <a:pt x="210" y="621"/>
                    <a:pt x="210" y="621"/>
                  </a:cubicBezTo>
                  <a:cubicBezTo>
                    <a:pt x="210" y="621"/>
                    <a:pt x="229" y="632"/>
                    <a:pt x="234" y="630"/>
                  </a:cubicBezTo>
                  <a:cubicBezTo>
                    <a:pt x="239" y="628"/>
                    <a:pt x="241" y="607"/>
                    <a:pt x="241" y="607"/>
                  </a:cubicBezTo>
                  <a:cubicBezTo>
                    <a:pt x="256" y="615"/>
                    <a:pt x="256" y="615"/>
                    <a:pt x="256" y="615"/>
                  </a:cubicBezTo>
                  <a:cubicBezTo>
                    <a:pt x="256" y="615"/>
                    <a:pt x="290" y="598"/>
                    <a:pt x="295" y="595"/>
                  </a:cubicBezTo>
                  <a:cubicBezTo>
                    <a:pt x="300" y="592"/>
                    <a:pt x="313" y="601"/>
                    <a:pt x="321" y="600"/>
                  </a:cubicBezTo>
                  <a:cubicBezTo>
                    <a:pt x="329" y="599"/>
                    <a:pt x="314" y="584"/>
                    <a:pt x="331" y="584"/>
                  </a:cubicBezTo>
                  <a:cubicBezTo>
                    <a:pt x="348" y="584"/>
                    <a:pt x="352" y="593"/>
                    <a:pt x="352" y="593"/>
                  </a:cubicBezTo>
                  <a:cubicBezTo>
                    <a:pt x="352" y="593"/>
                    <a:pt x="372" y="580"/>
                    <a:pt x="376" y="588"/>
                  </a:cubicBezTo>
                  <a:cubicBezTo>
                    <a:pt x="380" y="596"/>
                    <a:pt x="367" y="615"/>
                    <a:pt x="367" y="615"/>
                  </a:cubicBezTo>
                  <a:cubicBezTo>
                    <a:pt x="367" y="615"/>
                    <a:pt x="387" y="654"/>
                    <a:pt x="407" y="654"/>
                  </a:cubicBezTo>
                  <a:cubicBezTo>
                    <a:pt x="427" y="654"/>
                    <a:pt x="425" y="616"/>
                    <a:pt x="425" y="616"/>
                  </a:cubicBezTo>
                  <a:cubicBezTo>
                    <a:pt x="447" y="612"/>
                    <a:pt x="447" y="612"/>
                    <a:pt x="447" y="612"/>
                  </a:cubicBezTo>
                  <a:cubicBezTo>
                    <a:pt x="447" y="612"/>
                    <a:pt x="430" y="592"/>
                    <a:pt x="427" y="591"/>
                  </a:cubicBezTo>
                  <a:cubicBezTo>
                    <a:pt x="424" y="590"/>
                    <a:pt x="415" y="583"/>
                    <a:pt x="415" y="583"/>
                  </a:cubicBezTo>
                  <a:cubicBezTo>
                    <a:pt x="426" y="568"/>
                    <a:pt x="426" y="568"/>
                    <a:pt x="426" y="568"/>
                  </a:cubicBezTo>
                  <a:cubicBezTo>
                    <a:pt x="435" y="567"/>
                    <a:pt x="429" y="581"/>
                    <a:pt x="439" y="581"/>
                  </a:cubicBezTo>
                  <a:cubicBezTo>
                    <a:pt x="449" y="581"/>
                    <a:pt x="452" y="594"/>
                    <a:pt x="452" y="594"/>
                  </a:cubicBezTo>
                  <a:cubicBezTo>
                    <a:pt x="464" y="585"/>
                    <a:pt x="464" y="585"/>
                    <a:pt x="464" y="585"/>
                  </a:cubicBezTo>
                  <a:cubicBezTo>
                    <a:pt x="464" y="585"/>
                    <a:pt x="479" y="593"/>
                    <a:pt x="494" y="589"/>
                  </a:cubicBezTo>
                  <a:cubicBezTo>
                    <a:pt x="509" y="585"/>
                    <a:pt x="491" y="564"/>
                    <a:pt x="508" y="566"/>
                  </a:cubicBezTo>
                  <a:cubicBezTo>
                    <a:pt x="525" y="568"/>
                    <a:pt x="516" y="596"/>
                    <a:pt x="527" y="590"/>
                  </a:cubicBezTo>
                  <a:cubicBezTo>
                    <a:pt x="538" y="584"/>
                    <a:pt x="520" y="561"/>
                    <a:pt x="528" y="556"/>
                  </a:cubicBezTo>
                  <a:cubicBezTo>
                    <a:pt x="536" y="551"/>
                    <a:pt x="541" y="553"/>
                    <a:pt x="541" y="553"/>
                  </a:cubicBezTo>
                  <a:cubicBezTo>
                    <a:pt x="541" y="553"/>
                    <a:pt x="543" y="522"/>
                    <a:pt x="555" y="534"/>
                  </a:cubicBezTo>
                  <a:cubicBezTo>
                    <a:pt x="567" y="546"/>
                    <a:pt x="548" y="571"/>
                    <a:pt x="568" y="570"/>
                  </a:cubicBezTo>
                  <a:cubicBezTo>
                    <a:pt x="588" y="569"/>
                    <a:pt x="578" y="538"/>
                    <a:pt x="578" y="538"/>
                  </a:cubicBezTo>
                  <a:lnTo>
                    <a:pt x="591" y="531"/>
                  </a:lnTo>
                  <a:close/>
                  <a:moveTo>
                    <a:pt x="338" y="618"/>
                  </a:moveTo>
                  <a:cubicBezTo>
                    <a:pt x="338" y="618"/>
                    <a:pt x="321" y="605"/>
                    <a:pt x="312" y="606"/>
                  </a:cubicBezTo>
                  <a:cubicBezTo>
                    <a:pt x="292" y="608"/>
                    <a:pt x="299" y="628"/>
                    <a:pt x="299" y="628"/>
                  </a:cubicBezTo>
                  <a:cubicBezTo>
                    <a:pt x="299" y="628"/>
                    <a:pt x="282" y="622"/>
                    <a:pt x="272" y="624"/>
                  </a:cubicBezTo>
                  <a:cubicBezTo>
                    <a:pt x="262" y="626"/>
                    <a:pt x="269" y="648"/>
                    <a:pt x="269" y="648"/>
                  </a:cubicBezTo>
                  <a:cubicBezTo>
                    <a:pt x="257" y="659"/>
                    <a:pt x="257" y="659"/>
                    <a:pt x="257" y="659"/>
                  </a:cubicBezTo>
                  <a:cubicBezTo>
                    <a:pt x="257" y="659"/>
                    <a:pt x="270" y="667"/>
                    <a:pt x="276" y="674"/>
                  </a:cubicBezTo>
                  <a:cubicBezTo>
                    <a:pt x="282" y="681"/>
                    <a:pt x="305" y="695"/>
                    <a:pt x="305" y="695"/>
                  </a:cubicBezTo>
                  <a:cubicBezTo>
                    <a:pt x="305" y="695"/>
                    <a:pt x="299" y="664"/>
                    <a:pt x="314" y="654"/>
                  </a:cubicBezTo>
                  <a:cubicBezTo>
                    <a:pt x="329" y="644"/>
                    <a:pt x="351" y="672"/>
                    <a:pt x="351" y="672"/>
                  </a:cubicBezTo>
                  <a:cubicBezTo>
                    <a:pt x="351" y="672"/>
                    <a:pt x="356" y="650"/>
                    <a:pt x="358" y="638"/>
                  </a:cubicBezTo>
                  <a:cubicBezTo>
                    <a:pt x="360" y="626"/>
                    <a:pt x="351" y="615"/>
                    <a:pt x="351" y="615"/>
                  </a:cubicBezTo>
                  <a:lnTo>
                    <a:pt x="338" y="618"/>
                  </a:lnTo>
                  <a:close/>
                  <a:moveTo>
                    <a:pt x="241" y="709"/>
                  </a:moveTo>
                  <a:cubicBezTo>
                    <a:pt x="241" y="698"/>
                    <a:pt x="256" y="689"/>
                    <a:pt x="256" y="689"/>
                  </a:cubicBezTo>
                  <a:cubicBezTo>
                    <a:pt x="255" y="677"/>
                    <a:pt x="232" y="662"/>
                    <a:pt x="232" y="662"/>
                  </a:cubicBezTo>
                  <a:cubicBezTo>
                    <a:pt x="232" y="662"/>
                    <a:pt x="231" y="652"/>
                    <a:pt x="224" y="649"/>
                  </a:cubicBezTo>
                  <a:cubicBezTo>
                    <a:pt x="217" y="646"/>
                    <a:pt x="212" y="648"/>
                    <a:pt x="212" y="648"/>
                  </a:cubicBezTo>
                  <a:cubicBezTo>
                    <a:pt x="212" y="648"/>
                    <a:pt x="191" y="634"/>
                    <a:pt x="184" y="634"/>
                  </a:cubicBezTo>
                  <a:cubicBezTo>
                    <a:pt x="177" y="634"/>
                    <a:pt x="168" y="646"/>
                    <a:pt x="168" y="646"/>
                  </a:cubicBezTo>
                  <a:cubicBezTo>
                    <a:pt x="143" y="660"/>
                    <a:pt x="143" y="660"/>
                    <a:pt x="143" y="660"/>
                  </a:cubicBezTo>
                  <a:cubicBezTo>
                    <a:pt x="162" y="693"/>
                    <a:pt x="162" y="693"/>
                    <a:pt x="162" y="693"/>
                  </a:cubicBezTo>
                  <a:cubicBezTo>
                    <a:pt x="174" y="687"/>
                    <a:pt x="174" y="687"/>
                    <a:pt x="174" y="687"/>
                  </a:cubicBezTo>
                  <a:cubicBezTo>
                    <a:pt x="174" y="687"/>
                    <a:pt x="167" y="668"/>
                    <a:pt x="175" y="672"/>
                  </a:cubicBezTo>
                  <a:cubicBezTo>
                    <a:pt x="183" y="676"/>
                    <a:pt x="195" y="697"/>
                    <a:pt x="195" y="697"/>
                  </a:cubicBezTo>
                  <a:cubicBezTo>
                    <a:pt x="194" y="722"/>
                    <a:pt x="194" y="722"/>
                    <a:pt x="194" y="722"/>
                  </a:cubicBezTo>
                  <a:cubicBezTo>
                    <a:pt x="182" y="727"/>
                    <a:pt x="182" y="727"/>
                    <a:pt x="182" y="727"/>
                  </a:cubicBezTo>
                  <a:cubicBezTo>
                    <a:pt x="182" y="727"/>
                    <a:pt x="193" y="774"/>
                    <a:pt x="203" y="776"/>
                  </a:cubicBezTo>
                  <a:cubicBezTo>
                    <a:pt x="213" y="778"/>
                    <a:pt x="211" y="746"/>
                    <a:pt x="211" y="746"/>
                  </a:cubicBezTo>
                  <a:cubicBezTo>
                    <a:pt x="232" y="753"/>
                    <a:pt x="232" y="753"/>
                    <a:pt x="232" y="753"/>
                  </a:cubicBezTo>
                  <a:cubicBezTo>
                    <a:pt x="232" y="753"/>
                    <a:pt x="229" y="780"/>
                    <a:pt x="233" y="780"/>
                  </a:cubicBezTo>
                  <a:cubicBezTo>
                    <a:pt x="237" y="780"/>
                    <a:pt x="251" y="756"/>
                    <a:pt x="251" y="756"/>
                  </a:cubicBezTo>
                  <a:cubicBezTo>
                    <a:pt x="251" y="756"/>
                    <a:pt x="241" y="720"/>
                    <a:pt x="241" y="709"/>
                  </a:cubicBezTo>
                  <a:close/>
                  <a:moveTo>
                    <a:pt x="183" y="693"/>
                  </a:moveTo>
                  <a:cubicBezTo>
                    <a:pt x="172" y="718"/>
                    <a:pt x="172" y="718"/>
                    <a:pt x="172" y="718"/>
                  </a:cubicBezTo>
                  <a:cubicBezTo>
                    <a:pt x="184" y="715"/>
                    <a:pt x="184" y="715"/>
                    <a:pt x="184" y="715"/>
                  </a:cubicBezTo>
                  <a:lnTo>
                    <a:pt x="183" y="693"/>
                  </a:lnTo>
                  <a:close/>
                  <a:moveTo>
                    <a:pt x="424" y="424"/>
                  </a:moveTo>
                  <a:cubicBezTo>
                    <a:pt x="432" y="423"/>
                    <a:pt x="432" y="423"/>
                    <a:pt x="432" y="423"/>
                  </a:cubicBezTo>
                  <a:cubicBezTo>
                    <a:pt x="431" y="407"/>
                    <a:pt x="431" y="407"/>
                    <a:pt x="431" y="407"/>
                  </a:cubicBezTo>
                  <a:cubicBezTo>
                    <a:pt x="425" y="405"/>
                    <a:pt x="425" y="405"/>
                    <a:pt x="425" y="405"/>
                  </a:cubicBezTo>
                  <a:cubicBezTo>
                    <a:pt x="415" y="392"/>
                    <a:pt x="415" y="392"/>
                    <a:pt x="415" y="392"/>
                  </a:cubicBezTo>
                  <a:cubicBezTo>
                    <a:pt x="411" y="400"/>
                    <a:pt x="411" y="400"/>
                    <a:pt x="411" y="400"/>
                  </a:cubicBezTo>
                  <a:cubicBezTo>
                    <a:pt x="419" y="409"/>
                    <a:pt x="419" y="409"/>
                    <a:pt x="419" y="409"/>
                  </a:cubicBezTo>
                  <a:lnTo>
                    <a:pt x="424" y="424"/>
                  </a:lnTo>
                  <a:close/>
                  <a:moveTo>
                    <a:pt x="372" y="57"/>
                  </a:moveTo>
                  <a:cubicBezTo>
                    <a:pt x="374" y="72"/>
                    <a:pt x="374" y="72"/>
                    <a:pt x="374" y="72"/>
                  </a:cubicBezTo>
                  <a:cubicBezTo>
                    <a:pt x="374" y="72"/>
                    <a:pt x="391" y="83"/>
                    <a:pt x="391" y="90"/>
                  </a:cubicBezTo>
                  <a:cubicBezTo>
                    <a:pt x="391" y="97"/>
                    <a:pt x="384" y="110"/>
                    <a:pt x="384" y="110"/>
                  </a:cubicBezTo>
                  <a:cubicBezTo>
                    <a:pt x="384" y="110"/>
                    <a:pt x="402" y="132"/>
                    <a:pt x="397" y="133"/>
                  </a:cubicBezTo>
                  <a:cubicBezTo>
                    <a:pt x="391" y="134"/>
                    <a:pt x="359" y="125"/>
                    <a:pt x="354" y="123"/>
                  </a:cubicBezTo>
                  <a:cubicBezTo>
                    <a:pt x="348" y="122"/>
                    <a:pt x="369" y="143"/>
                    <a:pt x="369" y="143"/>
                  </a:cubicBezTo>
                  <a:cubicBezTo>
                    <a:pt x="352" y="161"/>
                    <a:pt x="352" y="161"/>
                    <a:pt x="352" y="161"/>
                  </a:cubicBezTo>
                  <a:cubicBezTo>
                    <a:pt x="352" y="161"/>
                    <a:pt x="358" y="173"/>
                    <a:pt x="361" y="179"/>
                  </a:cubicBezTo>
                  <a:cubicBezTo>
                    <a:pt x="363" y="184"/>
                    <a:pt x="390" y="198"/>
                    <a:pt x="390" y="198"/>
                  </a:cubicBezTo>
                  <a:cubicBezTo>
                    <a:pt x="390" y="198"/>
                    <a:pt x="381" y="231"/>
                    <a:pt x="404" y="230"/>
                  </a:cubicBezTo>
                  <a:cubicBezTo>
                    <a:pt x="414" y="229"/>
                    <a:pt x="398" y="211"/>
                    <a:pt x="410" y="211"/>
                  </a:cubicBezTo>
                  <a:cubicBezTo>
                    <a:pt x="423" y="211"/>
                    <a:pt x="433" y="211"/>
                    <a:pt x="433" y="211"/>
                  </a:cubicBezTo>
                  <a:cubicBezTo>
                    <a:pt x="437" y="205"/>
                    <a:pt x="437" y="205"/>
                    <a:pt x="437" y="205"/>
                  </a:cubicBezTo>
                  <a:cubicBezTo>
                    <a:pt x="412" y="189"/>
                    <a:pt x="412" y="189"/>
                    <a:pt x="412" y="189"/>
                  </a:cubicBezTo>
                  <a:cubicBezTo>
                    <a:pt x="399" y="189"/>
                    <a:pt x="399" y="189"/>
                    <a:pt x="399" y="189"/>
                  </a:cubicBezTo>
                  <a:cubicBezTo>
                    <a:pt x="399" y="189"/>
                    <a:pt x="365" y="176"/>
                    <a:pt x="381" y="169"/>
                  </a:cubicBezTo>
                  <a:cubicBezTo>
                    <a:pt x="398" y="162"/>
                    <a:pt x="409" y="179"/>
                    <a:pt x="409" y="179"/>
                  </a:cubicBezTo>
                  <a:cubicBezTo>
                    <a:pt x="409" y="179"/>
                    <a:pt x="423" y="168"/>
                    <a:pt x="433" y="166"/>
                  </a:cubicBezTo>
                  <a:cubicBezTo>
                    <a:pt x="442" y="165"/>
                    <a:pt x="513" y="202"/>
                    <a:pt x="519" y="198"/>
                  </a:cubicBezTo>
                  <a:cubicBezTo>
                    <a:pt x="524" y="194"/>
                    <a:pt x="505" y="155"/>
                    <a:pt x="523" y="148"/>
                  </a:cubicBezTo>
                  <a:cubicBezTo>
                    <a:pt x="541" y="141"/>
                    <a:pt x="539" y="157"/>
                    <a:pt x="557" y="147"/>
                  </a:cubicBezTo>
                  <a:cubicBezTo>
                    <a:pt x="575" y="137"/>
                    <a:pt x="578" y="130"/>
                    <a:pt x="578" y="130"/>
                  </a:cubicBezTo>
                  <a:cubicBezTo>
                    <a:pt x="542" y="107"/>
                    <a:pt x="542" y="107"/>
                    <a:pt x="542" y="107"/>
                  </a:cubicBezTo>
                  <a:cubicBezTo>
                    <a:pt x="542" y="107"/>
                    <a:pt x="542" y="83"/>
                    <a:pt x="535" y="78"/>
                  </a:cubicBezTo>
                  <a:cubicBezTo>
                    <a:pt x="528" y="72"/>
                    <a:pt x="523" y="96"/>
                    <a:pt x="523" y="96"/>
                  </a:cubicBezTo>
                  <a:cubicBezTo>
                    <a:pt x="523" y="96"/>
                    <a:pt x="455" y="80"/>
                    <a:pt x="440" y="69"/>
                  </a:cubicBezTo>
                  <a:cubicBezTo>
                    <a:pt x="424" y="58"/>
                    <a:pt x="350" y="0"/>
                    <a:pt x="340" y="11"/>
                  </a:cubicBezTo>
                  <a:cubicBezTo>
                    <a:pt x="330" y="22"/>
                    <a:pt x="372" y="57"/>
                    <a:pt x="372" y="57"/>
                  </a:cubicBezTo>
                  <a:close/>
                  <a:moveTo>
                    <a:pt x="194" y="984"/>
                  </a:moveTo>
                  <a:cubicBezTo>
                    <a:pt x="209" y="984"/>
                    <a:pt x="209" y="984"/>
                    <a:pt x="209" y="984"/>
                  </a:cubicBezTo>
                  <a:cubicBezTo>
                    <a:pt x="192" y="972"/>
                    <a:pt x="192" y="972"/>
                    <a:pt x="192" y="972"/>
                  </a:cubicBezTo>
                  <a:lnTo>
                    <a:pt x="194" y="984"/>
                  </a:lnTo>
                  <a:close/>
                  <a:moveTo>
                    <a:pt x="208" y="933"/>
                  </a:moveTo>
                  <a:cubicBezTo>
                    <a:pt x="210" y="942"/>
                    <a:pt x="214" y="942"/>
                    <a:pt x="214" y="942"/>
                  </a:cubicBezTo>
                  <a:cubicBezTo>
                    <a:pt x="224" y="944"/>
                    <a:pt x="225" y="934"/>
                    <a:pt x="225" y="934"/>
                  </a:cubicBezTo>
                  <a:cubicBezTo>
                    <a:pt x="225" y="934"/>
                    <a:pt x="240" y="933"/>
                    <a:pt x="233" y="922"/>
                  </a:cubicBezTo>
                  <a:cubicBezTo>
                    <a:pt x="226" y="912"/>
                    <a:pt x="205" y="924"/>
                    <a:pt x="208" y="933"/>
                  </a:cubicBezTo>
                  <a:close/>
                  <a:moveTo>
                    <a:pt x="214" y="956"/>
                  </a:moveTo>
                  <a:cubicBezTo>
                    <a:pt x="204" y="952"/>
                    <a:pt x="205" y="961"/>
                    <a:pt x="205" y="961"/>
                  </a:cubicBezTo>
                  <a:cubicBezTo>
                    <a:pt x="220" y="968"/>
                    <a:pt x="225" y="960"/>
                    <a:pt x="214" y="956"/>
                  </a:cubicBezTo>
                  <a:close/>
                  <a:moveTo>
                    <a:pt x="230" y="810"/>
                  </a:moveTo>
                  <a:cubicBezTo>
                    <a:pt x="230" y="814"/>
                    <a:pt x="217" y="820"/>
                    <a:pt x="217" y="820"/>
                  </a:cubicBezTo>
                  <a:cubicBezTo>
                    <a:pt x="234" y="829"/>
                    <a:pt x="234" y="829"/>
                    <a:pt x="234" y="829"/>
                  </a:cubicBezTo>
                  <a:cubicBezTo>
                    <a:pt x="234" y="829"/>
                    <a:pt x="230" y="806"/>
                    <a:pt x="230" y="810"/>
                  </a:cubicBezTo>
                  <a:close/>
                  <a:moveTo>
                    <a:pt x="252" y="792"/>
                  </a:moveTo>
                  <a:cubicBezTo>
                    <a:pt x="252" y="796"/>
                    <a:pt x="248" y="805"/>
                    <a:pt x="248" y="805"/>
                  </a:cubicBezTo>
                  <a:cubicBezTo>
                    <a:pt x="257" y="825"/>
                    <a:pt x="257" y="825"/>
                    <a:pt x="257" y="825"/>
                  </a:cubicBezTo>
                  <a:cubicBezTo>
                    <a:pt x="258" y="814"/>
                    <a:pt x="258" y="814"/>
                    <a:pt x="258" y="814"/>
                  </a:cubicBezTo>
                  <a:cubicBezTo>
                    <a:pt x="258" y="814"/>
                    <a:pt x="252" y="788"/>
                    <a:pt x="252" y="792"/>
                  </a:cubicBezTo>
                  <a:close/>
                  <a:moveTo>
                    <a:pt x="32" y="1144"/>
                  </a:moveTo>
                  <a:cubicBezTo>
                    <a:pt x="36" y="1144"/>
                    <a:pt x="54" y="1138"/>
                    <a:pt x="54" y="1138"/>
                  </a:cubicBezTo>
                  <a:cubicBezTo>
                    <a:pt x="36" y="1129"/>
                    <a:pt x="36" y="1129"/>
                    <a:pt x="36" y="1129"/>
                  </a:cubicBezTo>
                  <a:cubicBezTo>
                    <a:pt x="36" y="1129"/>
                    <a:pt x="28" y="1144"/>
                    <a:pt x="32" y="1144"/>
                  </a:cubicBezTo>
                  <a:close/>
                  <a:moveTo>
                    <a:pt x="81" y="1117"/>
                  </a:moveTo>
                  <a:cubicBezTo>
                    <a:pt x="72" y="1100"/>
                    <a:pt x="72" y="1100"/>
                    <a:pt x="72" y="1100"/>
                  </a:cubicBezTo>
                  <a:cubicBezTo>
                    <a:pt x="72" y="1110"/>
                    <a:pt x="72" y="1110"/>
                    <a:pt x="72" y="1110"/>
                  </a:cubicBezTo>
                  <a:cubicBezTo>
                    <a:pt x="70" y="1126"/>
                    <a:pt x="85" y="1133"/>
                    <a:pt x="90" y="1125"/>
                  </a:cubicBezTo>
                  <a:cubicBezTo>
                    <a:pt x="96" y="1117"/>
                    <a:pt x="81" y="1117"/>
                    <a:pt x="81" y="1117"/>
                  </a:cubicBezTo>
                  <a:close/>
                  <a:moveTo>
                    <a:pt x="16" y="1134"/>
                  </a:moveTo>
                  <a:cubicBezTo>
                    <a:pt x="0" y="1133"/>
                    <a:pt x="9" y="1150"/>
                    <a:pt x="9" y="1150"/>
                  </a:cubicBezTo>
                  <a:cubicBezTo>
                    <a:pt x="21" y="1153"/>
                    <a:pt x="32" y="1136"/>
                    <a:pt x="16" y="1134"/>
                  </a:cubicBezTo>
                  <a:close/>
                  <a:moveTo>
                    <a:pt x="118" y="1033"/>
                  </a:moveTo>
                  <a:cubicBezTo>
                    <a:pt x="118" y="1041"/>
                    <a:pt x="129" y="1041"/>
                    <a:pt x="129" y="1041"/>
                  </a:cubicBezTo>
                  <a:cubicBezTo>
                    <a:pt x="136" y="1029"/>
                    <a:pt x="118" y="1025"/>
                    <a:pt x="118" y="1033"/>
                  </a:cubicBezTo>
                  <a:close/>
                  <a:moveTo>
                    <a:pt x="184" y="1008"/>
                  </a:moveTo>
                  <a:cubicBezTo>
                    <a:pt x="174" y="1018"/>
                    <a:pt x="165" y="1050"/>
                    <a:pt x="165" y="1050"/>
                  </a:cubicBezTo>
                  <a:cubicBezTo>
                    <a:pt x="178" y="1053"/>
                    <a:pt x="178" y="1053"/>
                    <a:pt x="178" y="1053"/>
                  </a:cubicBezTo>
                  <a:cubicBezTo>
                    <a:pt x="178" y="1053"/>
                    <a:pt x="190" y="1032"/>
                    <a:pt x="186" y="1032"/>
                  </a:cubicBezTo>
                  <a:cubicBezTo>
                    <a:pt x="182" y="1032"/>
                    <a:pt x="198" y="1014"/>
                    <a:pt x="198" y="1014"/>
                  </a:cubicBezTo>
                  <a:cubicBezTo>
                    <a:pt x="198" y="1014"/>
                    <a:pt x="193" y="997"/>
                    <a:pt x="184" y="1008"/>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73" name="Freeform 134"/>
            <p:cNvSpPr>
              <a:spLocks noEditPoints="1"/>
            </p:cNvSpPr>
            <p:nvPr/>
          </p:nvSpPr>
          <p:spPr bwMode="gray">
            <a:xfrm>
              <a:off x="4724400" y="1662113"/>
              <a:ext cx="3382962" cy="1076325"/>
            </a:xfrm>
            <a:custGeom>
              <a:avLst/>
              <a:gdLst>
                <a:gd name="T0" fmla="*/ 1604 w 6045"/>
                <a:gd name="T1" fmla="*/ 319 h 1923"/>
                <a:gd name="T2" fmla="*/ 1125 w 6045"/>
                <a:gd name="T3" fmla="*/ 38 h 1923"/>
                <a:gd name="T4" fmla="*/ 1119 w 6045"/>
                <a:gd name="T5" fmla="*/ 335 h 1923"/>
                <a:gd name="T6" fmla="*/ 1136 w 6045"/>
                <a:gd name="T7" fmla="*/ 227 h 1923"/>
                <a:gd name="T8" fmla="*/ 1032 w 6045"/>
                <a:gd name="T9" fmla="*/ 349 h 1923"/>
                <a:gd name="T10" fmla="*/ 4026 w 6045"/>
                <a:gd name="T11" fmla="*/ 259 h 1923"/>
                <a:gd name="T12" fmla="*/ 2394 w 6045"/>
                <a:gd name="T13" fmla="*/ 103 h 1923"/>
                <a:gd name="T14" fmla="*/ 3618 w 6045"/>
                <a:gd name="T15" fmla="*/ 235 h 1923"/>
                <a:gd name="T16" fmla="*/ 113 w 6045"/>
                <a:gd name="T17" fmla="*/ 1236 h 1923"/>
                <a:gd name="T18" fmla="*/ 755 w 6045"/>
                <a:gd name="T19" fmla="*/ 45 h 1923"/>
                <a:gd name="T20" fmla="*/ 5033 w 6045"/>
                <a:gd name="T21" fmla="*/ 1361 h 1923"/>
                <a:gd name="T22" fmla="*/ 5193 w 6045"/>
                <a:gd name="T23" fmla="*/ 1629 h 1923"/>
                <a:gd name="T24" fmla="*/ 5935 w 6045"/>
                <a:gd name="T25" fmla="*/ 632 h 1923"/>
                <a:gd name="T26" fmla="*/ 5061 w 6045"/>
                <a:gd name="T27" fmla="*/ 515 h 1923"/>
                <a:gd name="T28" fmla="*/ 4321 w 6045"/>
                <a:gd name="T29" fmla="*/ 409 h 1923"/>
                <a:gd name="T30" fmla="*/ 3936 w 6045"/>
                <a:gd name="T31" fmla="*/ 365 h 1923"/>
                <a:gd name="T32" fmla="*/ 3577 w 6045"/>
                <a:gd name="T33" fmla="*/ 386 h 1923"/>
                <a:gd name="T34" fmla="*/ 3251 w 6045"/>
                <a:gd name="T35" fmla="*/ 351 h 1923"/>
                <a:gd name="T36" fmla="*/ 2915 w 6045"/>
                <a:gd name="T37" fmla="*/ 313 h 1923"/>
                <a:gd name="T38" fmla="*/ 2906 w 6045"/>
                <a:gd name="T39" fmla="*/ 254 h 1923"/>
                <a:gd name="T40" fmla="*/ 2423 w 6045"/>
                <a:gd name="T41" fmla="*/ 210 h 1923"/>
                <a:gd name="T42" fmla="*/ 2038 w 6045"/>
                <a:gd name="T43" fmla="*/ 402 h 1923"/>
                <a:gd name="T44" fmla="*/ 1740 w 6045"/>
                <a:gd name="T45" fmla="*/ 389 h 1923"/>
                <a:gd name="T46" fmla="*/ 1845 w 6045"/>
                <a:gd name="T47" fmla="*/ 542 h 1923"/>
                <a:gd name="T48" fmla="*/ 1684 w 6045"/>
                <a:gd name="T49" fmla="*/ 417 h 1923"/>
                <a:gd name="T50" fmla="*/ 1499 w 6045"/>
                <a:gd name="T51" fmla="*/ 522 h 1923"/>
                <a:gd name="T52" fmla="*/ 1060 w 6045"/>
                <a:gd name="T53" fmla="*/ 545 h 1923"/>
                <a:gd name="T54" fmla="*/ 795 w 6045"/>
                <a:gd name="T55" fmla="*/ 644 h 1923"/>
                <a:gd name="T56" fmla="*/ 508 w 6045"/>
                <a:gd name="T57" fmla="*/ 670 h 1923"/>
                <a:gd name="T58" fmla="*/ 357 w 6045"/>
                <a:gd name="T59" fmla="*/ 475 h 1923"/>
                <a:gd name="T60" fmla="*/ 323 w 6045"/>
                <a:gd name="T61" fmla="*/ 703 h 1923"/>
                <a:gd name="T62" fmla="*/ 303 w 6045"/>
                <a:gd name="T63" fmla="*/ 980 h 1923"/>
                <a:gd name="T64" fmla="*/ 382 w 6045"/>
                <a:gd name="T65" fmla="*/ 1163 h 1923"/>
                <a:gd name="T66" fmla="*/ 538 w 6045"/>
                <a:gd name="T67" fmla="*/ 1342 h 1923"/>
                <a:gd name="T68" fmla="*/ 827 w 6045"/>
                <a:gd name="T69" fmla="*/ 1472 h 1923"/>
                <a:gd name="T70" fmla="*/ 752 w 6045"/>
                <a:gd name="T71" fmla="*/ 1694 h 1923"/>
                <a:gd name="T72" fmla="*/ 1214 w 6045"/>
                <a:gd name="T73" fmla="*/ 1892 h 1923"/>
                <a:gd name="T74" fmla="*/ 1231 w 6045"/>
                <a:gd name="T75" fmla="*/ 1631 h 1923"/>
                <a:gd name="T76" fmla="*/ 1419 w 6045"/>
                <a:gd name="T77" fmla="*/ 1396 h 1923"/>
                <a:gd name="T78" fmla="*/ 1765 w 6045"/>
                <a:gd name="T79" fmla="*/ 1244 h 1923"/>
                <a:gd name="T80" fmla="*/ 2222 w 6045"/>
                <a:gd name="T81" fmla="*/ 1256 h 1923"/>
                <a:gd name="T82" fmla="*/ 2847 w 6045"/>
                <a:gd name="T83" fmla="*/ 1496 h 1923"/>
                <a:gd name="T84" fmla="*/ 3152 w 6045"/>
                <a:gd name="T85" fmla="*/ 1456 h 1923"/>
                <a:gd name="T86" fmla="*/ 3428 w 6045"/>
                <a:gd name="T87" fmla="*/ 1441 h 1923"/>
                <a:gd name="T88" fmla="*/ 3929 w 6045"/>
                <a:gd name="T89" fmla="*/ 1447 h 1923"/>
                <a:gd name="T90" fmla="*/ 4174 w 6045"/>
                <a:gd name="T91" fmla="*/ 1268 h 1923"/>
                <a:gd name="T92" fmla="*/ 4630 w 6045"/>
                <a:gd name="T93" fmla="*/ 1533 h 1923"/>
                <a:gd name="T94" fmla="*/ 4843 w 6045"/>
                <a:gd name="T95" fmla="*/ 1667 h 1923"/>
                <a:gd name="T96" fmla="*/ 4985 w 6045"/>
                <a:gd name="T97" fmla="*/ 1754 h 1923"/>
                <a:gd name="T98" fmla="*/ 4903 w 6045"/>
                <a:gd name="T99" fmla="*/ 1298 h 1923"/>
                <a:gd name="T100" fmla="*/ 4580 w 6045"/>
                <a:gd name="T101" fmla="*/ 1205 h 1923"/>
                <a:gd name="T102" fmla="*/ 4885 w 6045"/>
                <a:gd name="T103" fmla="*/ 977 h 1923"/>
                <a:gd name="T104" fmla="*/ 5110 w 6045"/>
                <a:gd name="T105" fmla="*/ 890 h 1923"/>
                <a:gd name="T106" fmla="*/ 5374 w 6045"/>
                <a:gd name="T107" fmla="*/ 897 h 1923"/>
                <a:gd name="T108" fmla="*/ 5630 w 6045"/>
                <a:gd name="T109" fmla="*/ 1386 h 1923"/>
                <a:gd name="T110" fmla="*/ 5463 w 6045"/>
                <a:gd name="T111" fmla="*/ 992 h 1923"/>
                <a:gd name="T112" fmla="*/ 5791 w 6045"/>
                <a:gd name="T113" fmla="*/ 813 h 1923"/>
                <a:gd name="T114" fmla="*/ 5719 w 6045"/>
                <a:gd name="T115" fmla="*/ 660 h 1923"/>
                <a:gd name="T116" fmla="*/ 3494 w 6045"/>
                <a:gd name="T117" fmla="*/ 1368 h 1923"/>
                <a:gd name="T118" fmla="*/ 3579 w 6045"/>
                <a:gd name="T119" fmla="*/ 1259 h 1923"/>
                <a:gd name="T120" fmla="*/ 943 w 6045"/>
                <a:gd name="T121" fmla="*/ 537 h 1923"/>
                <a:gd name="T122" fmla="*/ 924 w 6045"/>
                <a:gd name="T123" fmla="*/ 25 h 19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045" h="1923">
                  <a:moveTo>
                    <a:pt x="1866" y="364"/>
                  </a:moveTo>
                  <a:cubicBezTo>
                    <a:pt x="1845" y="359"/>
                    <a:pt x="1845" y="359"/>
                    <a:pt x="1845" y="359"/>
                  </a:cubicBezTo>
                  <a:cubicBezTo>
                    <a:pt x="1828" y="373"/>
                    <a:pt x="1828" y="373"/>
                    <a:pt x="1828" y="373"/>
                  </a:cubicBezTo>
                  <a:cubicBezTo>
                    <a:pt x="1854" y="380"/>
                    <a:pt x="1854" y="380"/>
                    <a:pt x="1854" y="380"/>
                  </a:cubicBezTo>
                  <a:lnTo>
                    <a:pt x="1866" y="364"/>
                  </a:lnTo>
                  <a:close/>
                  <a:moveTo>
                    <a:pt x="1894" y="346"/>
                  </a:moveTo>
                  <a:cubicBezTo>
                    <a:pt x="1869" y="329"/>
                    <a:pt x="1876" y="352"/>
                    <a:pt x="1876" y="352"/>
                  </a:cubicBezTo>
                  <a:cubicBezTo>
                    <a:pt x="1901" y="362"/>
                    <a:pt x="1919" y="363"/>
                    <a:pt x="1894" y="346"/>
                  </a:cubicBezTo>
                  <a:close/>
                  <a:moveTo>
                    <a:pt x="1138" y="13"/>
                  </a:moveTo>
                  <a:cubicBezTo>
                    <a:pt x="1148" y="11"/>
                    <a:pt x="1162" y="1"/>
                    <a:pt x="1155" y="1"/>
                  </a:cubicBezTo>
                  <a:cubicBezTo>
                    <a:pt x="1148" y="1"/>
                    <a:pt x="1100" y="1"/>
                    <a:pt x="1100" y="1"/>
                  </a:cubicBezTo>
                  <a:cubicBezTo>
                    <a:pt x="1097" y="10"/>
                    <a:pt x="1097" y="10"/>
                    <a:pt x="1097" y="10"/>
                  </a:cubicBezTo>
                  <a:cubicBezTo>
                    <a:pt x="1124" y="7"/>
                    <a:pt x="1124" y="7"/>
                    <a:pt x="1124" y="7"/>
                  </a:cubicBezTo>
                  <a:cubicBezTo>
                    <a:pt x="1124" y="7"/>
                    <a:pt x="1128" y="14"/>
                    <a:pt x="1138" y="13"/>
                  </a:cubicBezTo>
                  <a:close/>
                  <a:moveTo>
                    <a:pt x="1163" y="39"/>
                  </a:moveTo>
                  <a:cubicBezTo>
                    <a:pt x="1168" y="39"/>
                    <a:pt x="1176" y="34"/>
                    <a:pt x="1176" y="34"/>
                  </a:cubicBezTo>
                  <a:cubicBezTo>
                    <a:pt x="1176" y="34"/>
                    <a:pt x="1203" y="42"/>
                    <a:pt x="1210" y="35"/>
                  </a:cubicBezTo>
                  <a:cubicBezTo>
                    <a:pt x="1217" y="28"/>
                    <a:pt x="1211" y="17"/>
                    <a:pt x="1189" y="17"/>
                  </a:cubicBezTo>
                  <a:cubicBezTo>
                    <a:pt x="1166" y="17"/>
                    <a:pt x="1145" y="34"/>
                    <a:pt x="1145" y="34"/>
                  </a:cubicBezTo>
                  <a:cubicBezTo>
                    <a:pt x="1149" y="39"/>
                    <a:pt x="1159" y="39"/>
                    <a:pt x="1163" y="39"/>
                  </a:cubicBezTo>
                  <a:close/>
                  <a:moveTo>
                    <a:pt x="1590" y="341"/>
                  </a:moveTo>
                  <a:cubicBezTo>
                    <a:pt x="1623" y="333"/>
                    <a:pt x="1612" y="323"/>
                    <a:pt x="1604" y="319"/>
                  </a:cubicBezTo>
                  <a:cubicBezTo>
                    <a:pt x="1596" y="315"/>
                    <a:pt x="1566" y="319"/>
                    <a:pt x="1566" y="319"/>
                  </a:cubicBezTo>
                  <a:cubicBezTo>
                    <a:pt x="1566" y="319"/>
                    <a:pt x="1572" y="345"/>
                    <a:pt x="1590" y="341"/>
                  </a:cubicBezTo>
                  <a:close/>
                  <a:moveTo>
                    <a:pt x="1062" y="20"/>
                  </a:moveTo>
                  <a:cubicBezTo>
                    <a:pt x="1034" y="17"/>
                    <a:pt x="1034" y="17"/>
                    <a:pt x="1034" y="17"/>
                  </a:cubicBezTo>
                  <a:cubicBezTo>
                    <a:pt x="1041" y="25"/>
                    <a:pt x="1041" y="25"/>
                    <a:pt x="1041" y="25"/>
                  </a:cubicBezTo>
                  <a:lnTo>
                    <a:pt x="1062" y="20"/>
                  </a:lnTo>
                  <a:close/>
                  <a:moveTo>
                    <a:pt x="1264" y="465"/>
                  </a:moveTo>
                  <a:cubicBezTo>
                    <a:pt x="1259" y="473"/>
                    <a:pt x="1324" y="507"/>
                    <a:pt x="1330" y="491"/>
                  </a:cubicBezTo>
                  <a:cubicBezTo>
                    <a:pt x="1336" y="475"/>
                    <a:pt x="1270" y="455"/>
                    <a:pt x="1264" y="465"/>
                  </a:cubicBezTo>
                  <a:close/>
                  <a:moveTo>
                    <a:pt x="2074" y="83"/>
                  </a:moveTo>
                  <a:cubicBezTo>
                    <a:pt x="2084" y="73"/>
                    <a:pt x="2084" y="73"/>
                    <a:pt x="2084" y="73"/>
                  </a:cubicBezTo>
                  <a:cubicBezTo>
                    <a:pt x="2024" y="73"/>
                    <a:pt x="2024" y="73"/>
                    <a:pt x="2024" y="73"/>
                  </a:cubicBezTo>
                  <a:lnTo>
                    <a:pt x="2074" y="83"/>
                  </a:lnTo>
                  <a:close/>
                  <a:moveTo>
                    <a:pt x="1044" y="68"/>
                  </a:moveTo>
                  <a:cubicBezTo>
                    <a:pt x="1090" y="66"/>
                    <a:pt x="1090" y="66"/>
                    <a:pt x="1090" y="66"/>
                  </a:cubicBezTo>
                  <a:cubicBezTo>
                    <a:pt x="1075" y="56"/>
                    <a:pt x="1075" y="56"/>
                    <a:pt x="1075" y="56"/>
                  </a:cubicBezTo>
                  <a:lnTo>
                    <a:pt x="1044" y="68"/>
                  </a:lnTo>
                  <a:close/>
                  <a:moveTo>
                    <a:pt x="1051" y="39"/>
                  </a:moveTo>
                  <a:cubicBezTo>
                    <a:pt x="1064" y="48"/>
                    <a:pt x="1066" y="52"/>
                    <a:pt x="1066" y="52"/>
                  </a:cubicBezTo>
                  <a:cubicBezTo>
                    <a:pt x="1083" y="44"/>
                    <a:pt x="1083" y="44"/>
                    <a:pt x="1083" y="44"/>
                  </a:cubicBezTo>
                  <a:cubicBezTo>
                    <a:pt x="1083" y="44"/>
                    <a:pt x="1076" y="49"/>
                    <a:pt x="1090" y="49"/>
                  </a:cubicBezTo>
                  <a:cubicBezTo>
                    <a:pt x="1104" y="49"/>
                    <a:pt x="1125" y="38"/>
                    <a:pt x="1125" y="38"/>
                  </a:cubicBezTo>
                  <a:cubicBezTo>
                    <a:pt x="1089" y="32"/>
                    <a:pt x="1089" y="32"/>
                    <a:pt x="1089" y="32"/>
                  </a:cubicBezTo>
                  <a:cubicBezTo>
                    <a:pt x="1079" y="38"/>
                    <a:pt x="1079" y="38"/>
                    <a:pt x="1079" y="38"/>
                  </a:cubicBezTo>
                  <a:cubicBezTo>
                    <a:pt x="1079" y="38"/>
                    <a:pt x="1065" y="32"/>
                    <a:pt x="1061" y="34"/>
                  </a:cubicBezTo>
                  <a:cubicBezTo>
                    <a:pt x="1057" y="35"/>
                    <a:pt x="1051" y="39"/>
                    <a:pt x="1051" y="39"/>
                  </a:cubicBezTo>
                  <a:close/>
                  <a:moveTo>
                    <a:pt x="1113" y="23"/>
                  </a:moveTo>
                  <a:cubicBezTo>
                    <a:pt x="1071" y="23"/>
                    <a:pt x="1071" y="23"/>
                    <a:pt x="1071" y="23"/>
                  </a:cubicBezTo>
                  <a:cubicBezTo>
                    <a:pt x="1106" y="31"/>
                    <a:pt x="1106" y="31"/>
                    <a:pt x="1106" y="31"/>
                  </a:cubicBezTo>
                  <a:lnTo>
                    <a:pt x="1113" y="23"/>
                  </a:lnTo>
                  <a:close/>
                  <a:moveTo>
                    <a:pt x="1032" y="349"/>
                  </a:moveTo>
                  <a:cubicBezTo>
                    <a:pt x="1002" y="354"/>
                    <a:pt x="1002" y="354"/>
                    <a:pt x="1002" y="354"/>
                  </a:cubicBezTo>
                  <a:cubicBezTo>
                    <a:pt x="1011" y="366"/>
                    <a:pt x="1011" y="366"/>
                    <a:pt x="1011" y="366"/>
                  </a:cubicBezTo>
                  <a:cubicBezTo>
                    <a:pt x="1030" y="357"/>
                    <a:pt x="1030" y="357"/>
                    <a:pt x="1030" y="357"/>
                  </a:cubicBezTo>
                  <a:cubicBezTo>
                    <a:pt x="1020" y="373"/>
                    <a:pt x="1020" y="373"/>
                    <a:pt x="1020" y="373"/>
                  </a:cubicBezTo>
                  <a:cubicBezTo>
                    <a:pt x="1020" y="373"/>
                    <a:pt x="992" y="379"/>
                    <a:pt x="994" y="390"/>
                  </a:cubicBezTo>
                  <a:cubicBezTo>
                    <a:pt x="996" y="401"/>
                    <a:pt x="1023" y="405"/>
                    <a:pt x="1035" y="405"/>
                  </a:cubicBezTo>
                  <a:cubicBezTo>
                    <a:pt x="1048" y="405"/>
                    <a:pt x="1065" y="408"/>
                    <a:pt x="1076" y="414"/>
                  </a:cubicBezTo>
                  <a:cubicBezTo>
                    <a:pt x="1086" y="420"/>
                    <a:pt x="1085" y="437"/>
                    <a:pt x="1088" y="438"/>
                  </a:cubicBezTo>
                  <a:cubicBezTo>
                    <a:pt x="1091" y="440"/>
                    <a:pt x="1140" y="447"/>
                    <a:pt x="1140" y="447"/>
                  </a:cubicBezTo>
                  <a:cubicBezTo>
                    <a:pt x="1214" y="443"/>
                    <a:pt x="1214" y="443"/>
                    <a:pt x="1214" y="443"/>
                  </a:cubicBezTo>
                  <a:cubicBezTo>
                    <a:pt x="1214" y="443"/>
                    <a:pt x="1154" y="437"/>
                    <a:pt x="1138" y="411"/>
                  </a:cubicBezTo>
                  <a:cubicBezTo>
                    <a:pt x="1122" y="385"/>
                    <a:pt x="1106" y="385"/>
                    <a:pt x="1122" y="361"/>
                  </a:cubicBezTo>
                  <a:cubicBezTo>
                    <a:pt x="1138" y="337"/>
                    <a:pt x="1119" y="335"/>
                    <a:pt x="1119" y="335"/>
                  </a:cubicBezTo>
                  <a:cubicBezTo>
                    <a:pt x="1146" y="331"/>
                    <a:pt x="1146" y="331"/>
                    <a:pt x="1146" y="331"/>
                  </a:cubicBezTo>
                  <a:cubicBezTo>
                    <a:pt x="1135" y="319"/>
                    <a:pt x="1135" y="319"/>
                    <a:pt x="1135" y="319"/>
                  </a:cubicBezTo>
                  <a:cubicBezTo>
                    <a:pt x="1158" y="322"/>
                    <a:pt x="1158" y="322"/>
                    <a:pt x="1158" y="322"/>
                  </a:cubicBezTo>
                  <a:cubicBezTo>
                    <a:pt x="1145" y="314"/>
                    <a:pt x="1145" y="314"/>
                    <a:pt x="1145" y="314"/>
                  </a:cubicBezTo>
                  <a:cubicBezTo>
                    <a:pt x="1161" y="316"/>
                    <a:pt x="1161" y="316"/>
                    <a:pt x="1161" y="316"/>
                  </a:cubicBezTo>
                  <a:cubicBezTo>
                    <a:pt x="1165" y="306"/>
                    <a:pt x="1165" y="306"/>
                    <a:pt x="1165" y="306"/>
                  </a:cubicBezTo>
                  <a:cubicBezTo>
                    <a:pt x="1151" y="299"/>
                    <a:pt x="1151" y="299"/>
                    <a:pt x="1151" y="299"/>
                  </a:cubicBezTo>
                  <a:cubicBezTo>
                    <a:pt x="1151" y="299"/>
                    <a:pt x="1178" y="303"/>
                    <a:pt x="1182" y="299"/>
                  </a:cubicBezTo>
                  <a:cubicBezTo>
                    <a:pt x="1186" y="295"/>
                    <a:pt x="1171" y="285"/>
                    <a:pt x="1171" y="285"/>
                  </a:cubicBezTo>
                  <a:cubicBezTo>
                    <a:pt x="1193" y="287"/>
                    <a:pt x="1193" y="287"/>
                    <a:pt x="1193" y="287"/>
                  </a:cubicBezTo>
                  <a:cubicBezTo>
                    <a:pt x="1191" y="268"/>
                    <a:pt x="1191" y="268"/>
                    <a:pt x="1191" y="268"/>
                  </a:cubicBezTo>
                  <a:cubicBezTo>
                    <a:pt x="1191" y="268"/>
                    <a:pt x="1205" y="279"/>
                    <a:pt x="1223" y="271"/>
                  </a:cubicBezTo>
                  <a:cubicBezTo>
                    <a:pt x="1242" y="264"/>
                    <a:pt x="1254" y="250"/>
                    <a:pt x="1254" y="250"/>
                  </a:cubicBezTo>
                  <a:cubicBezTo>
                    <a:pt x="1254" y="250"/>
                    <a:pt x="1399" y="229"/>
                    <a:pt x="1420" y="220"/>
                  </a:cubicBezTo>
                  <a:cubicBezTo>
                    <a:pt x="1442" y="210"/>
                    <a:pt x="1463" y="195"/>
                    <a:pt x="1430" y="184"/>
                  </a:cubicBezTo>
                  <a:cubicBezTo>
                    <a:pt x="1397" y="172"/>
                    <a:pt x="1363" y="188"/>
                    <a:pt x="1348" y="194"/>
                  </a:cubicBezTo>
                  <a:cubicBezTo>
                    <a:pt x="1334" y="200"/>
                    <a:pt x="1290" y="215"/>
                    <a:pt x="1270" y="212"/>
                  </a:cubicBezTo>
                  <a:cubicBezTo>
                    <a:pt x="1249" y="210"/>
                    <a:pt x="1218" y="206"/>
                    <a:pt x="1218" y="206"/>
                  </a:cubicBezTo>
                  <a:cubicBezTo>
                    <a:pt x="1207" y="223"/>
                    <a:pt x="1207" y="223"/>
                    <a:pt x="1207" y="223"/>
                  </a:cubicBezTo>
                  <a:cubicBezTo>
                    <a:pt x="1190" y="214"/>
                    <a:pt x="1190" y="214"/>
                    <a:pt x="1190" y="214"/>
                  </a:cubicBezTo>
                  <a:cubicBezTo>
                    <a:pt x="1155" y="228"/>
                    <a:pt x="1155" y="228"/>
                    <a:pt x="1155" y="228"/>
                  </a:cubicBezTo>
                  <a:cubicBezTo>
                    <a:pt x="1136" y="227"/>
                    <a:pt x="1136" y="227"/>
                    <a:pt x="1136" y="227"/>
                  </a:cubicBezTo>
                  <a:cubicBezTo>
                    <a:pt x="1117" y="242"/>
                    <a:pt x="1117" y="242"/>
                    <a:pt x="1117" y="242"/>
                  </a:cubicBezTo>
                  <a:cubicBezTo>
                    <a:pt x="1131" y="247"/>
                    <a:pt x="1131" y="247"/>
                    <a:pt x="1131" y="247"/>
                  </a:cubicBezTo>
                  <a:cubicBezTo>
                    <a:pt x="1098" y="248"/>
                    <a:pt x="1098" y="248"/>
                    <a:pt x="1098" y="248"/>
                  </a:cubicBezTo>
                  <a:cubicBezTo>
                    <a:pt x="1079" y="254"/>
                    <a:pt x="1079" y="254"/>
                    <a:pt x="1079" y="254"/>
                  </a:cubicBezTo>
                  <a:cubicBezTo>
                    <a:pt x="1080" y="263"/>
                    <a:pt x="1080" y="263"/>
                    <a:pt x="1080" y="263"/>
                  </a:cubicBezTo>
                  <a:cubicBezTo>
                    <a:pt x="1097" y="254"/>
                    <a:pt x="1097" y="254"/>
                    <a:pt x="1097" y="254"/>
                  </a:cubicBezTo>
                  <a:cubicBezTo>
                    <a:pt x="1098" y="263"/>
                    <a:pt x="1098" y="263"/>
                    <a:pt x="1098" y="263"/>
                  </a:cubicBezTo>
                  <a:cubicBezTo>
                    <a:pt x="1117" y="265"/>
                    <a:pt x="1117" y="265"/>
                    <a:pt x="1117" y="265"/>
                  </a:cubicBezTo>
                  <a:cubicBezTo>
                    <a:pt x="1111" y="273"/>
                    <a:pt x="1111" y="273"/>
                    <a:pt x="1111" y="273"/>
                  </a:cubicBezTo>
                  <a:cubicBezTo>
                    <a:pt x="1085" y="273"/>
                    <a:pt x="1085" y="273"/>
                    <a:pt x="1085" y="273"/>
                  </a:cubicBezTo>
                  <a:cubicBezTo>
                    <a:pt x="1081" y="282"/>
                    <a:pt x="1081" y="282"/>
                    <a:pt x="1081" y="282"/>
                  </a:cubicBezTo>
                  <a:cubicBezTo>
                    <a:pt x="1099" y="285"/>
                    <a:pt x="1099" y="285"/>
                    <a:pt x="1099" y="285"/>
                  </a:cubicBezTo>
                  <a:cubicBezTo>
                    <a:pt x="1068" y="287"/>
                    <a:pt x="1068" y="287"/>
                    <a:pt x="1068" y="287"/>
                  </a:cubicBezTo>
                  <a:cubicBezTo>
                    <a:pt x="1090" y="293"/>
                    <a:pt x="1090" y="293"/>
                    <a:pt x="1090" y="293"/>
                  </a:cubicBezTo>
                  <a:cubicBezTo>
                    <a:pt x="1061" y="295"/>
                    <a:pt x="1061" y="295"/>
                    <a:pt x="1061" y="295"/>
                  </a:cubicBezTo>
                  <a:cubicBezTo>
                    <a:pt x="1059" y="309"/>
                    <a:pt x="1059" y="309"/>
                    <a:pt x="1059" y="309"/>
                  </a:cubicBezTo>
                  <a:cubicBezTo>
                    <a:pt x="1039" y="316"/>
                    <a:pt x="1039" y="316"/>
                    <a:pt x="1039" y="316"/>
                  </a:cubicBezTo>
                  <a:cubicBezTo>
                    <a:pt x="1046" y="326"/>
                    <a:pt x="1046" y="326"/>
                    <a:pt x="1046" y="326"/>
                  </a:cubicBezTo>
                  <a:cubicBezTo>
                    <a:pt x="1073" y="314"/>
                    <a:pt x="1073" y="314"/>
                    <a:pt x="1073" y="314"/>
                  </a:cubicBezTo>
                  <a:cubicBezTo>
                    <a:pt x="1062" y="332"/>
                    <a:pt x="1062" y="332"/>
                    <a:pt x="1062" y="332"/>
                  </a:cubicBezTo>
                  <a:cubicBezTo>
                    <a:pt x="1062" y="332"/>
                    <a:pt x="1041" y="327"/>
                    <a:pt x="1033" y="334"/>
                  </a:cubicBezTo>
                  <a:cubicBezTo>
                    <a:pt x="1026" y="341"/>
                    <a:pt x="1032" y="349"/>
                    <a:pt x="1032" y="349"/>
                  </a:cubicBezTo>
                  <a:close/>
                  <a:moveTo>
                    <a:pt x="3856" y="331"/>
                  </a:moveTo>
                  <a:cubicBezTo>
                    <a:pt x="3904" y="325"/>
                    <a:pt x="3904" y="325"/>
                    <a:pt x="3904" y="325"/>
                  </a:cubicBezTo>
                  <a:cubicBezTo>
                    <a:pt x="3976" y="335"/>
                    <a:pt x="3976" y="335"/>
                    <a:pt x="3976" y="335"/>
                  </a:cubicBezTo>
                  <a:cubicBezTo>
                    <a:pt x="3976" y="335"/>
                    <a:pt x="3954" y="311"/>
                    <a:pt x="3938" y="307"/>
                  </a:cubicBezTo>
                  <a:cubicBezTo>
                    <a:pt x="3922" y="303"/>
                    <a:pt x="3866" y="311"/>
                    <a:pt x="3866" y="311"/>
                  </a:cubicBezTo>
                  <a:lnTo>
                    <a:pt x="3856" y="331"/>
                  </a:lnTo>
                  <a:close/>
                  <a:moveTo>
                    <a:pt x="3858" y="253"/>
                  </a:moveTo>
                  <a:cubicBezTo>
                    <a:pt x="3896" y="257"/>
                    <a:pt x="3896" y="257"/>
                    <a:pt x="3896" y="257"/>
                  </a:cubicBezTo>
                  <a:cubicBezTo>
                    <a:pt x="3906" y="247"/>
                    <a:pt x="3904" y="235"/>
                    <a:pt x="3886" y="235"/>
                  </a:cubicBezTo>
                  <a:cubicBezTo>
                    <a:pt x="3868" y="235"/>
                    <a:pt x="3808" y="221"/>
                    <a:pt x="3816" y="233"/>
                  </a:cubicBezTo>
                  <a:cubicBezTo>
                    <a:pt x="3824" y="245"/>
                    <a:pt x="3858" y="253"/>
                    <a:pt x="3858" y="253"/>
                  </a:cubicBezTo>
                  <a:close/>
                  <a:moveTo>
                    <a:pt x="3818" y="289"/>
                  </a:moveTo>
                  <a:cubicBezTo>
                    <a:pt x="3792" y="315"/>
                    <a:pt x="3848" y="313"/>
                    <a:pt x="3856" y="303"/>
                  </a:cubicBezTo>
                  <a:cubicBezTo>
                    <a:pt x="3864" y="293"/>
                    <a:pt x="3825" y="282"/>
                    <a:pt x="3818" y="289"/>
                  </a:cubicBezTo>
                  <a:close/>
                  <a:moveTo>
                    <a:pt x="2050" y="65"/>
                  </a:moveTo>
                  <a:cubicBezTo>
                    <a:pt x="2050" y="65"/>
                    <a:pt x="2106" y="69"/>
                    <a:pt x="2118" y="65"/>
                  </a:cubicBezTo>
                  <a:cubicBezTo>
                    <a:pt x="2130" y="61"/>
                    <a:pt x="2172" y="65"/>
                    <a:pt x="2164" y="49"/>
                  </a:cubicBezTo>
                  <a:cubicBezTo>
                    <a:pt x="2156" y="33"/>
                    <a:pt x="2082" y="11"/>
                    <a:pt x="2082" y="11"/>
                  </a:cubicBezTo>
                  <a:cubicBezTo>
                    <a:pt x="2082" y="11"/>
                    <a:pt x="2026" y="1"/>
                    <a:pt x="2024" y="21"/>
                  </a:cubicBezTo>
                  <a:cubicBezTo>
                    <a:pt x="2022" y="41"/>
                    <a:pt x="2050" y="65"/>
                    <a:pt x="2050" y="65"/>
                  </a:cubicBezTo>
                  <a:close/>
                  <a:moveTo>
                    <a:pt x="4094" y="273"/>
                  </a:moveTo>
                  <a:cubicBezTo>
                    <a:pt x="4122" y="259"/>
                    <a:pt x="4026" y="259"/>
                    <a:pt x="4026" y="259"/>
                  </a:cubicBezTo>
                  <a:cubicBezTo>
                    <a:pt x="4026" y="259"/>
                    <a:pt x="4006" y="241"/>
                    <a:pt x="3998" y="241"/>
                  </a:cubicBezTo>
                  <a:cubicBezTo>
                    <a:pt x="3990" y="241"/>
                    <a:pt x="3966" y="245"/>
                    <a:pt x="3966" y="245"/>
                  </a:cubicBezTo>
                  <a:cubicBezTo>
                    <a:pt x="3942" y="243"/>
                    <a:pt x="3942" y="243"/>
                    <a:pt x="3942" y="243"/>
                  </a:cubicBezTo>
                  <a:cubicBezTo>
                    <a:pt x="3966" y="259"/>
                    <a:pt x="3966" y="259"/>
                    <a:pt x="3966" y="259"/>
                  </a:cubicBezTo>
                  <a:cubicBezTo>
                    <a:pt x="3966" y="259"/>
                    <a:pt x="4066" y="287"/>
                    <a:pt x="4094" y="273"/>
                  </a:cubicBezTo>
                  <a:close/>
                  <a:moveTo>
                    <a:pt x="5070" y="495"/>
                  </a:moveTo>
                  <a:cubicBezTo>
                    <a:pt x="5078" y="485"/>
                    <a:pt x="5004" y="475"/>
                    <a:pt x="5004" y="475"/>
                  </a:cubicBezTo>
                  <a:cubicBezTo>
                    <a:pt x="5004" y="483"/>
                    <a:pt x="5062" y="505"/>
                    <a:pt x="5070" y="495"/>
                  </a:cubicBezTo>
                  <a:close/>
                  <a:moveTo>
                    <a:pt x="2112" y="81"/>
                  </a:moveTo>
                  <a:cubicBezTo>
                    <a:pt x="2112" y="89"/>
                    <a:pt x="2178" y="95"/>
                    <a:pt x="2178" y="95"/>
                  </a:cubicBezTo>
                  <a:cubicBezTo>
                    <a:pt x="2212" y="91"/>
                    <a:pt x="2212" y="91"/>
                    <a:pt x="2212" y="91"/>
                  </a:cubicBezTo>
                  <a:cubicBezTo>
                    <a:pt x="2250" y="105"/>
                    <a:pt x="2250" y="105"/>
                    <a:pt x="2250" y="105"/>
                  </a:cubicBezTo>
                  <a:cubicBezTo>
                    <a:pt x="2292" y="103"/>
                    <a:pt x="2292" y="103"/>
                    <a:pt x="2292" y="103"/>
                  </a:cubicBezTo>
                  <a:cubicBezTo>
                    <a:pt x="2286" y="85"/>
                    <a:pt x="2268" y="59"/>
                    <a:pt x="2250" y="61"/>
                  </a:cubicBezTo>
                  <a:cubicBezTo>
                    <a:pt x="2232" y="63"/>
                    <a:pt x="2214" y="75"/>
                    <a:pt x="2214" y="75"/>
                  </a:cubicBezTo>
                  <a:cubicBezTo>
                    <a:pt x="2200" y="59"/>
                    <a:pt x="2200" y="59"/>
                    <a:pt x="2200" y="59"/>
                  </a:cubicBezTo>
                  <a:cubicBezTo>
                    <a:pt x="2200" y="59"/>
                    <a:pt x="2112" y="73"/>
                    <a:pt x="2112" y="81"/>
                  </a:cubicBezTo>
                  <a:close/>
                  <a:moveTo>
                    <a:pt x="2392" y="133"/>
                  </a:moveTo>
                  <a:cubicBezTo>
                    <a:pt x="2498" y="127"/>
                    <a:pt x="2498" y="127"/>
                    <a:pt x="2498" y="127"/>
                  </a:cubicBezTo>
                  <a:cubicBezTo>
                    <a:pt x="2470" y="111"/>
                    <a:pt x="2470" y="111"/>
                    <a:pt x="2470" y="111"/>
                  </a:cubicBezTo>
                  <a:cubicBezTo>
                    <a:pt x="2470" y="111"/>
                    <a:pt x="2432" y="91"/>
                    <a:pt x="2422" y="91"/>
                  </a:cubicBezTo>
                  <a:cubicBezTo>
                    <a:pt x="2412" y="91"/>
                    <a:pt x="2394" y="103"/>
                    <a:pt x="2394" y="103"/>
                  </a:cubicBezTo>
                  <a:cubicBezTo>
                    <a:pt x="2394" y="103"/>
                    <a:pt x="2388" y="75"/>
                    <a:pt x="2366" y="75"/>
                  </a:cubicBezTo>
                  <a:cubicBezTo>
                    <a:pt x="2344" y="75"/>
                    <a:pt x="2332" y="141"/>
                    <a:pt x="2332" y="141"/>
                  </a:cubicBezTo>
                  <a:cubicBezTo>
                    <a:pt x="2348" y="149"/>
                    <a:pt x="2348" y="149"/>
                    <a:pt x="2348" y="149"/>
                  </a:cubicBezTo>
                  <a:cubicBezTo>
                    <a:pt x="2366" y="145"/>
                    <a:pt x="2392" y="133"/>
                    <a:pt x="2392" y="133"/>
                  </a:cubicBezTo>
                  <a:close/>
                  <a:moveTo>
                    <a:pt x="3752" y="279"/>
                  </a:moveTo>
                  <a:cubicBezTo>
                    <a:pt x="3762" y="261"/>
                    <a:pt x="3762" y="261"/>
                    <a:pt x="3762" y="261"/>
                  </a:cubicBezTo>
                  <a:cubicBezTo>
                    <a:pt x="3762" y="261"/>
                    <a:pt x="3788" y="261"/>
                    <a:pt x="3798" y="261"/>
                  </a:cubicBezTo>
                  <a:cubicBezTo>
                    <a:pt x="3808" y="261"/>
                    <a:pt x="3838" y="259"/>
                    <a:pt x="3838" y="259"/>
                  </a:cubicBezTo>
                  <a:cubicBezTo>
                    <a:pt x="3796" y="239"/>
                    <a:pt x="3796" y="239"/>
                    <a:pt x="3796" y="239"/>
                  </a:cubicBezTo>
                  <a:cubicBezTo>
                    <a:pt x="3804" y="225"/>
                    <a:pt x="3804" y="225"/>
                    <a:pt x="3804" y="225"/>
                  </a:cubicBezTo>
                  <a:cubicBezTo>
                    <a:pt x="3744" y="213"/>
                    <a:pt x="3744" y="213"/>
                    <a:pt x="3744" y="213"/>
                  </a:cubicBezTo>
                  <a:cubicBezTo>
                    <a:pt x="3754" y="231"/>
                    <a:pt x="3754" y="231"/>
                    <a:pt x="3754" y="231"/>
                  </a:cubicBezTo>
                  <a:cubicBezTo>
                    <a:pt x="3754" y="231"/>
                    <a:pt x="3632" y="191"/>
                    <a:pt x="3634" y="221"/>
                  </a:cubicBezTo>
                  <a:cubicBezTo>
                    <a:pt x="3636" y="251"/>
                    <a:pt x="3752" y="279"/>
                    <a:pt x="3752" y="279"/>
                  </a:cubicBezTo>
                  <a:close/>
                  <a:moveTo>
                    <a:pt x="2882" y="289"/>
                  </a:moveTo>
                  <a:cubicBezTo>
                    <a:pt x="2914" y="295"/>
                    <a:pt x="2914" y="295"/>
                    <a:pt x="2914" y="295"/>
                  </a:cubicBezTo>
                  <a:cubicBezTo>
                    <a:pt x="2934" y="297"/>
                    <a:pt x="2954" y="285"/>
                    <a:pt x="2924" y="279"/>
                  </a:cubicBezTo>
                  <a:cubicBezTo>
                    <a:pt x="2894" y="273"/>
                    <a:pt x="2882" y="289"/>
                    <a:pt x="2882" y="289"/>
                  </a:cubicBezTo>
                  <a:close/>
                  <a:moveTo>
                    <a:pt x="3618" y="235"/>
                  </a:moveTo>
                  <a:cubicBezTo>
                    <a:pt x="3582" y="223"/>
                    <a:pt x="3582" y="223"/>
                    <a:pt x="3582" y="223"/>
                  </a:cubicBezTo>
                  <a:cubicBezTo>
                    <a:pt x="3598" y="245"/>
                    <a:pt x="3598" y="245"/>
                    <a:pt x="3598" y="245"/>
                  </a:cubicBezTo>
                  <a:lnTo>
                    <a:pt x="3618" y="235"/>
                  </a:lnTo>
                  <a:close/>
                  <a:moveTo>
                    <a:pt x="5328" y="443"/>
                  </a:moveTo>
                  <a:cubicBezTo>
                    <a:pt x="5340" y="439"/>
                    <a:pt x="5358" y="437"/>
                    <a:pt x="5384" y="437"/>
                  </a:cubicBezTo>
                  <a:cubicBezTo>
                    <a:pt x="5410" y="437"/>
                    <a:pt x="5414" y="421"/>
                    <a:pt x="5396" y="419"/>
                  </a:cubicBezTo>
                  <a:cubicBezTo>
                    <a:pt x="5378" y="417"/>
                    <a:pt x="5346" y="405"/>
                    <a:pt x="5334" y="405"/>
                  </a:cubicBezTo>
                  <a:cubicBezTo>
                    <a:pt x="5322" y="405"/>
                    <a:pt x="5294" y="405"/>
                    <a:pt x="5294" y="427"/>
                  </a:cubicBezTo>
                  <a:cubicBezTo>
                    <a:pt x="5294" y="451"/>
                    <a:pt x="5316" y="447"/>
                    <a:pt x="5328" y="443"/>
                  </a:cubicBezTo>
                  <a:close/>
                  <a:moveTo>
                    <a:pt x="111" y="1194"/>
                  </a:moveTo>
                  <a:cubicBezTo>
                    <a:pt x="103" y="1195"/>
                    <a:pt x="79" y="1198"/>
                    <a:pt x="79" y="1198"/>
                  </a:cubicBezTo>
                  <a:cubicBezTo>
                    <a:pt x="77" y="1192"/>
                    <a:pt x="77" y="1192"/>
                    <a:pt x="77" y="1192"/>
                  </a:cubicBezTo>
                  <a:cubicBezTo>
                    <a:pt x="69" y="1193"/>
                    <a:pt x="69" y="1193"/>
                    <a:pt x="69" y="1193"/>
                  </a:cubicBezTo>
                  <a:cubicBezTo>
                    <a:pt x="66" y="1187"/>
                    <a:pt x="66" y="1187"/>
                    <a:pt x="66" y="1187"/>
                  </a:cubicBezTo>
                  <a:cubicBezTo>
                    <a:pt x="61" y="1187"/>
                    <a:pt x="61" y="1187"/>
                    <a:pt x="61" y="1187"/>
                  </a:cubicBezTo>
                  <a:cubicBezTo>
                    <a:pt x="61" y="1192"/>
                    <a:pt x="53" y="1201"/>
                    <a:pt x="53" y="1201"/>
                  </a:cubicBezTo>
                  <a:cubicBezTo>
                    <a:pt x="53" y="1201"/>
                    <a:pt x="12" y="1196"/>
                    <a:pt x="6" y="1203"/>
                  </a:cubicBezTo>
                  <a:cubicBezTo>
                    <a:pt x="0" y="1210"/>
                    <a:pt x="13" y="1219"/>
                    <a:pt x="13" y="1219"/>
                  </a:cubicBezTo>
                  <a:cubicBezTo>
                    <a:pt x="8" y="1228"/>
                    <a:pt x="8" y="1228"/>
                    <a:pt x="8" y="1228"/>
                  </a:cubicBezTo>
                  <a:cubicBezTo>
                    <a:pt x="8" y="1227"/>
                    <a:pt x="8" y="1227"/>
                    <a:pt x="8" y="1227"/>
                  </a:cubicBezTo>
                  <a:cubicBezTo>
                    <a:pt x="13" y="1232"/>
                    <a:pt x="13" y="1232"/>
                    <a:pt x="13" y="1232"/>
                  </a:cubicBezTo>
                  <a:cubicBezTo>
                    <a:pt x="13" y="1232"/>
                    <a:pt x="25" y="1227"/>
                    <a:pt x="34" y="1229"/>
                  </a:cubicBezTo>
                  <a:cubicBezTo>
                    <a:pt x="43" y="1231"/>
                    <a:pt x="51" y="1236"/>
                    <a:pt x="51" y="1236"/>
                  </a:cubicBezTo>
                  <a:cubicBezTo>
                    <a:pt x="51" y="1236"/>
                    <a:pt x="82" y="1234"/>
                    <a:pt x="90" y="1235"/>
                  </a:cubicBezTo>
                  <a:cubicBezTo>
                    <a:pt x="98" y="1236"/>
                    <a:pt x="113" y="1236"/>
                    <a:pt x="113" y="1236"/>
                  </a:cubicBezTo>
                  <a:cubicBezTo>
                    <a:pt x="113" y="1236"/>
                    <a:pt x="109" y="1230"/>
                    <a:pt x="117" y="1231"/>
                  </a:cubicBezTo>
                  <a:cubicBezTo>
                    <a:pt x="112" y="1221"/>
                    <a:pt x="112" y="1221"/>
                    <a:pt x="112" y="1221"/>
                  </a:cubicBezTo>
                  <a:cubicBezTo>
                    <a:pt x="112" y="1221"/>
                    <a:pt x="120" y="1214"/>
                    <a:pt x="121" y="1209"/>
                  </a:cubicBezTo>
                  <a:cubicBezTo>
                    <a:pt x="122" y="1204"/>
                    <a:pt x="119" y="1193"/>
                    <a:pt x="111" y="1194"/>
                  </a:cubicBezTo>
                  <a:close/>
                  <a:moveTo>
                    <a:pt x="698" y="59"/>
                  </a:moveTo>
                  <a:cubicBezTo>
                    <a:pt x="712" y="49"/>
                    <a:pt x="712" y="49"/>
                    <a:pt x="712" y="49"/>
                  </a:cubicBezTo>
                  <a:cubicBezTo>
                    <a:pt x="712" y="49"/>
                    <a:pt x="677" y="42"/>
                    <a:pt x="698" y="59"/>
                  </a:cubicBezTo>
                  <a:close/>
                  <a:moveTo>
                    <a:pt x="664" y="48"/>
                  </a:moveTo>
                  <a:cubicBezTo>
                    <a:pt x="720" y="35"/>
                    <a:pt x="720" y="35"/>
                    <a:pt x="720" y="35"/>
                  </a:cubicBezTo>
                  <a:cubicBezTo>
                    <a:pt x="702" y="30"/>
                    <a:pt x="702" y="30"/>
                    <a:pt x="702" y="30"/>
                  </a:cubicBezTo>
                  <a:cubicBezTo>
                    <a:pt x="668" y="38"/>
                    <a:pt x="668" y="38"/>
                    <a:pt x="668" y="38"/>
                  </a:cubicBezTo>
                  <a:cubicBezTo>
                    <a:pt x="634" y="37"/>
                    <a:pt x="634" y="37"/>
                    <a:pt x="634" y="37"/>
                  </a:cubicBezTo>
                  <a:cubicBezTo>
                    <a:pt x="650" y="44"/>
                    <a:pt x="650" y="44"/>
                    <a:pt x="650" y="44"/>
                  </a:cubicBezTo>
                  <a:lnTo>
                    <a:pt x="664" y="48"/>
                  </a:lnTo>
                  <a:close/>
                  <a:moveTo>
                    <a:pt x="754" y="61"/>
                  </a:moveTo>
                  <a:cubicBezTo>
                    <a:pt x="757" y="51"/>
                    <a:pt x="757" y="51"/>
                    <a:pt x="757" y="51"/>
                  </a:cubicBezTo>
                  <a:cubicBezTo>
                    <a:pt x="774" y="51"/>
                    <a:pt x="774" y="51"/>
                    <a:pt x="774" y="51"/>
                  </a:cubicBezTo>
                  <a:cubicBezTo>
                    <a:pt x="779" y="45"/>
                    <a:pt x="779" y="45"/>
                    <a:pt x="779" y="45"/>
                  </a:cubicBezTo>
                  <a:cubicBezTo>
                    <a:pt x="779" y="45"/>
                    <a:pt x="806" y="48"/>
                    <a:pt x="816" y="42"/>
                  </a:cubicBezTo>
                  <a:cubicBezTo>
                    <a:pt x="826" y="37"/>
                    <a:pt x="791" y="37"/>
                    <a:pt x="791" y="37"/>
                  </a:cubicBezTo>
                  <a:cubicBezTo>
                    <a:pt x="791" y="37"/>
                    <a:pt x="791" y="27"/>
                    <a:pt x="774" y="27"/>
                  </a:cubicBezTo>
                  <a:cubicBezTo>
                    <a:pt x="757" y="27"/>
                    <a:pt x="755" y="45"/>
                    <a:pt x="755" y="45"/>
                  </a:cubicBezTo>
                  <a:cubicBezTo>
                    <a:pt x="755" y="45"/>
                    <a:pt x="719" y="51"/>
                    <a:pt x="722" y="56"/>
                  </a:cubicBezTo>
                  <a:cubicBezTo>
                    <a:pt x="724" y="62"/>
                    <a:pt x="754" y="61"/>
                    <a:pt x="754" y="61"/>
                  </a:cubicBezTo>
                  <a:close/>
                  <a:moveTo>
                    <a:pt x="786" y="53"/>
                  </a:moveTo>
                  <a:cubicBezTo>
                    <a:pt x="776" y="59"/>
                    <a:pt x="776" y="59"/>
                    <a:pt x="776" y="59"/>
                  </a:cubicBezTo>
                  <a:cubicBezTo>
                    <a:pt x="789" y="66"/>
                    <a:pt x="789" y="66"/>
                    <a:pt x="789" y="66"/>
                  </a:cubicBezTo>
                  <a:cubicBezTo>
                    <a:pt x="802" y="72"/>
                    <a:pt x="802" y="72"/>
                    <a:pt x="802" y="72"/>
                  </a:cubicBezTo>
                  <a:cubicBezTo>
                    <a:pt x="834" y="69"/>
                    <a:pt x="834" y="69"/>
                    <a:pt x="834" y="69"/>
                  </a:cubicBezTo>
                  <a:cubicBezTo>
                    <a:pt x="833" y="61"/>
                    <a:pt x="833" y="61"/>
                    <a:pt x="833" y="61"/>
                  </a:cubicBezTo>
                  <a:cubicBezTo>
                    <a:pt x="810" y="61"/>
                    <a:pt x="810" y="61"/>
                    <a:pt x="810" y="61"/>
                  </a:cubicBezTo>
                  <a:lnTo>
                    <a:pt x="786" y="53"/>
                  </a:lnTo>
                  <a:close/>
                  <a:moveTo>
                    <a:pt x="5213" y="1622"/>
                  </a:moveTo>
                  <a:cubicBezTo>
                    <a:pt x="5191" y="1599"/>
                    <a:pt x="5191" y="1599"/>
                    <a:pt x="5191" y="1599"/>
                  </a:cubicBezTo>
                  <a:cubicBezTo>
                    <a:pt x="5191" y="1599"/>
                    <a:pt x="5169" y="1593"/>
                    <a:pt x="5156" y="1575"/>
                  </a:cubicBezTo>
                  <a:cubicBezTo>
                    <a:pt x="5144" y="1557"/>
                    <a:pt x="5136" y="1516"/>
                    <a:pt x="5136" y="1516"/>
                  </a:cubicBezTo>
                  <a:cubicBezTo>
                    <a:pt x="5136" y="1516"/>
                    <a:pt x="5112" y="1502"/>
                    <a:pt x="5125" y="1495"/>
                  </a:cubicBezTo>
                  <a:cubicBezTo>
                    <a:pt x="5137" y="1488"/>
                    <a:pt x="5213" y="1526"/>
                    <a:pt x="5213" y="1526"/>
                  </a:cubicBezTo>
                  <a:cubicBezTo>
                    <a:pt x="5163" y="1489"/>
                    <a:pt x="5163" y="1489"/>
                    <a:pt x="5163" y="1489"/>
                  </a:cubicBezTo>
                  <a:cubicBezTo>
                    <a:pt x="5163" y="1489"/>
                    <a:pt x="5144" y="1459"/>
                    <a:pt x="5134" y="1452"/>
                  </a:cubicBezTo>
                  <a:cubicBezTo>
                    <a:pt x="5125" y="1445"/>
                    <a:pt x="5109" y="1435"/>
                    <a:pt x="5109" y="1435"/>
                  </a:cubicBezTo>
                  <a:cubicBezTo>
                    <a:pt x="5057" y="1379"/>
                    <a:pt x="5057" y="1379"/>
                    <a:pt x="5057" y="1379"/>
                  </a:cubicBezTo>
                  <a:cubicBezTo>
                    <a:pt x="5040" y="1380"/>
                    <a:pt x="5040" y="1380"/>
                    <a:pt x="5040" y="1380"/>
                  </a:cubicBezTo>
                  <a:cubicBezTo>
                    <a:pt x="5033" y="1361"/>
                    <a:pt x="5033" y="1361"/>
                    <a:pt x="5033" y="1361"/>
                  </a:cubicBezTo>
                  <a:cubicBezTo>
                    <a:pt x="5033" y="1361"/>
                    <a:pt x="5023" y="1363"/>
                    <a:pt x="5011" y="1351"/>
                  </a:cubicBezTo>
                  <a:cubicBezTo>
                    <a:pt x="4999" y="1338"/>
                    <a:pt x="5003" y="1322"/>
                    <a:pt x="5003" y="1322"/>
                  </a:cubicBezTo>
                  <a:cubicBezTo>
                    <a:pt x="4983" y="1297"/>
                    <a:pt x="4983" y="1297"/>
                    <a:pt x="4983" y="1297"/>
                  </a:cubicBezTo>
                  <a:cubicBezTo>
                    <a:pt x="4969" y="1298"/>
                    <a:pt x="4969" y="1298"/>
                    <a:pt x="4969" y="1298"/>
                  </a:cubicBezTo>
                  <a:cubicBezTo>
                    <a:pt x="4960" y="1279"/>
                    <a:pt x="4960" y="1279"/>
                    <a:pt x="4960" y="1279"/>
                  </a:cubicBezTo>
                  <a:cubicBezTo>
                    <a:pt x="4933" y="1259"/>
                    <a:pt x="4933" y="1259"/>
                    <a:pt x="4933" y="1259"/>
                  </a:cubicBezTo>
                  <a:cubicBezTo>
                    <a:pt x="4925" y="1243"/>
                    <a:pt x="4925" y="1243"/>
                    <a:pt x="4925" y="1243"/>
                  </a:cubicBezTo>
                  <a:cubicBezTo>
                    <a:pt x="4925" y="1243"/>
                    <a:pt x="4907" y="1230"/>
                    <a:pt x="4900" y="1235"/>
                  </a:cubicBezTo>
                  <a:cubicBezTo>
                    <a:pt x="4893" y="1239"/>
                    <a:pt x="4939" y="1272"/>
                    <a:pt x="4933" y="1275"/>
                  </a:cubicBezTo>
                  <a:cubicBezTo>
                    <a:pt x="4928" y="1277"/>
                    <a:pt x="4915" y="1262"/>
                    <a:pt x="4913" y="1277"/>
                  </a:cubicBezTo>
                  <a:cubicBezTo>
                    <a:pt x="4910" y="1293"/>
                    <a:pt x="4939" y="1322"/>
                    <a:pt x="4939" y="1322"/>
                  </a:cubicBezTo>
                  <a:cubicBezTo>
                    <a:pt x="4939" y="1322"/>
                    <a:pt x="4946" y="1340"/>
                    <a:pt x="4953" y="1347"/>
                  </a:cubicBezTo>
                  <a:cubicBezTo>
                    <a:pt x="4960" y="1354"/>
                    <a:pt x="5007" y="1384"/>
                    <a:pt x="5018" y="1398"/>
                  </a:cubicBezTo>
                  <a:cubicBezTo>
                    <a:pt x="5029" y="1412"/>
                    <a:pt x="5028" y="1434"/>
                    <a:pt x="5041" y="1445"/>
                  </a:cubicBezTo>
                  <a:cubicBezTo>
                    <a:pt x="5055" y="1456"/>
                    <a:pt x="5087" y="1512"/>
                    <a:pt x="5087" y="1512"/>
                  </a:cubicBezTo>
                  <a:cubicBezTo>
                    <a:pt x="5087" y="1512"/>
                    <a:pt x="5093" y="1535"/>
                    <a:pt x="5100" y="1535"/>
                  </a:cubicBezTo>
                  <a:cubicBezTo>
                    <a:pt x="5107" y="1535"/>
                    <a:pt x="5120" y="1545"/>
                    <a:pt x="5127" y="1555"/>
                  </a:cubicBezTo>
                  <a:cubicBezTo>
                    <a:pt x="5134" y="1564"/>
                    <a:pt x="5134" y="1584"/>
                    <a:pt x="5134" y="1584"/>
                  </a:cubicBezTo>
                  <a:cubicBezTo>
                    <a:pt x="5162" y="1607"/>
                    <a:pt x="5162" y="1607"/>
                    <a:pt x="5162" y="1607"/>
                  </a:cubicBezTo>
                  <a:cubicBezTo>
                    <a:pt x="5172" y="1643"/>
                    <a:pt x="5172" y="1643"/>
                    <a:pt x="5172" y="1643"/>
                  </a:cubicBezTo>
                  <a:cubicBezTo>
                    <a:pt x="5198" y="1671"/>
                    <a:pt x="5198" y="1671"/>
                    <a:pt x="5198" y="1671"/>
                  </a:cubicBezTo>
                  <a:cubicBezTo>
                    <a:pt x="5198" y="1671"/>
                    <a:pt x="5184" y="1632"/>
                    <a:pt x="5193" y="1629"/>
                  </a:cubicBezTo>
                  <a:cubicBezTo>
                    <a:pt x="5201" y="1627"/>
                    <a:pt x="5205" y="1636"/>
                    <a:pt x="5205" y="1636"/>
                  </a:cubicBezTo>
                  <a:cubicBezTo>
                    <a:pt x="5226" y="1636"/>
                    <a:pt x="5226" y="1636"/>
                    <a:pt x="5226" y="1636"/>
                  </a:cubicBezTo>
                  <a:cubicBezTo>
                    <a:pt x="5248" y="1663"/>
                    <a:pt x="5248" y="1663"/>
                    <a:pt x="5248" y="1663"/>
                  </a:cubicBezTo>
                  <a:cubicBezTo>
                    <a:pt x="5249" y="1646"/>
                    <a:pt x="5249" y="1646"/>
                    <a:pt x="5249" y="1646"/>
                  </a:cubicBezTo>
                  <a:cubicBezTo>
                    <a:pt x="5229" y="1621"/>
                    <a:pt x="5229" y="1621"/>
                    <a:pt x="5229" y="1621"/>
                  </a:cubicBezTo>
                  <a:lnTo>
                    <a:pt x="5213" y="1622"/>
                  </a:lnTo>
                  <a:close/>
                  <a:moveTo>
                    <a:pt x="899" y="58"/>
                  </a:moveTo>
                  <a:cubicBezTo>
                    <a:pt x="905" y="46"/>
                    <a:pt x="905" y="46"/>
                    <a:pt x="905" y="46"/>
                  </a:cubicBezTo>
                  <a:cubicBezTo>
                    <a:pt x="876" y="42"/>
                    <a:pt x="876" y="42"/>
                    <a:pt x="876" y="42"/>
                  </a:cubicBezTo>
                  <a:cubicBezTo>
                    <a:pt x="861" y="52"/>
                    <a:pt x="861" y="52"/>
                    <a:pt x="861" y="52"/>
                  </a:cubicBezTo>
                  <a:cubicBezTo>
                    <a:pt x="864" y="61"/>
                    <a:pt x="864" y="61"/>
                    <a:pt x="864" y="61"/>
                  </a:cubicBezTo>
                  <a:lnTo>
                    <a:pt x="899" y="58"/>
                  </a:lnTo>
                  <a:close/>
                  <a:moveTo>
                    <a:pt x="771" y="1607"/>
                  </a:moveTo>
                  <a:cubicBezTo>
                    <a:pt x="771" y="1607"/>
                    <a:pt x="773" y="1608"/>
                    <a:pt x="774" y="1608"/>
                  </a:cubicBezTo>
                  <a:cubicBezTo>
                    <a:pt x="773" y="1608"/>
                    <a:pt x="771" y="1607"/>
                    <a:pt x="771" y="1607"/>
                  </a:cubicBezTo>
                  <a:close/>
                  <a:moveTo>
                    <a:pt x="771" y="1607"/>
                  </a:moveTo>
                  <a:cubicBezTo>
                    <a:pt x="770" y="1607"/>
                    <a:pt x="770" y="1607"/>
                    <a:pt x="770" y="1607"/>
                  </a:cubicBezTo>
                  <a:cubicBezTo>
                    <a:pt x="770" y="1607"/>
                    <a:pt x="770" y="1607"/>
                    <a:pt x="771" y="1607"/>
                  </a:cubicBezTo>
                  <a:close/>
                  <a:moveTo>
                    <a:pt x="6034" y="664"/>
                  </a:moveTo>
                  <a:cubicBezTo>
                    <a:pt x="6023" y="650"/>
                    <a:pt x="5993" y="645"/>
                    <a:pt x="5993" y="645"/>
                  </a:cubicBezTo>
                  <a:cubicBezTo>
                    <a:pt x="5962" y="631"/>
                    <a:pt x="5962" y="631"/>
                    <a:pt x="5962" y="631"/>
                  </a:cubicBezTo>
                  <a:cubicBezTo>
                    <a:pt x="5935" y="632"/>
                    <a:pt x="5935" y="632"/>
                    <a:pt x="5935" y="632"/>
                  </a:cubicBezTo>
                  <a:cubicBezTo>
                    <a:pt x="5915" y="619"/>
                    <a:pt x="5915" y="619"/>
                    <a:pt x="5915" y="619"/>
                  </a:cubicBezTo>
                  <a:cubicBezTo>
                    <a:pt x="5854" y="615"/>
                    <a:pt x="5854" y="615"/>
                    <a:pt x="5854" y="615"/>
                  </a:cubicBezTo>
                  <a:cubicBezTo>
                    <a:pt x="5829" y="603"/>
                    <a:pt x="5829" y="603"/>
                    <a:pt x="5829" y="603"/>
                  </a:cubicBezTo>
                  <a:cubicBezTo>
                    <a:pt x="5805" y="605"/>
                    <a:pt x="5805" y="605"/>
                    <a:pt x="5805" y="605"/>
                  </a:cubicBezTo>
                  <a:cubicBezTo>
                    <a:pt x="5838" y="630"/>
                    <a:pt x="5838" y="630"/>
                    <a:pt x="5838" y="630"/>
                  </a:cubicBezTo>
                  <a:cubicBezTo>
                    <a:pt x="5874" y="646"/>
                    <a:pt x="5874" y="646"/>
                    <a:pt x="5874" y="646"/>
                  </a:cubicBezTo>
                  <a:cubicBezTo>
                    <a:pt x="5874" y="646"/>
                    <a:pt x="5834" y="652"/>
                    <a:pt x="5822" y="642"/>
                  </a:cubicBezTo>
                  <a:cubicBezTo>
                    <a:pt x="5810" y="632"/>
                    <a:pt x="5809" y="610"/>
                    <a:pt x="5756" y="592"/>
                  </a:cubicBezTo>
                  <a:cubicBezTo>
                    <a:pt x="5703" y="574"/>
                    <a:pt x="5687" y="567"/>
                    <a:pt x="5633" y="558"/>
                  </a:cubicBezTo>
                  <a:cubicBezTo>
                    <a:pt x="5579" y="549"/>
                    <a:pt x="5466" y="523"/>
                    <a:pt x="5412" y="510"/>
                  </a:cubicBezTo>
                  <a:cubicBezTo>
                    <a:pt x="5358" y="497"/>
                    <a:pt x="5297" y="488"/>
                    <a:pt x="5297" y="488"/>
                  </a:cubicBezTo>
                  <a:cubicBezTo>
                    <a:pt x="5175" y="490"/>
                    <a:pt x="5175" y="490"/>
                    <a:pt x="5175" y="490"/>
                  </a:cubicBezTo>
                  <a:cubicBezTo>
                    <a:pt x="5166" y="478"/>
                    <a:pt x="5166" y="478"/>
                    <a:pt x="5166" y="478"/>
                  </a:cubicBezTo>
                  <a:cubicBezTo>
                    <a:pt x="5135" y="480"/>
                    <a:pt x="5135" y="480"/>
                    <a:pt x="5135" y="480"/>
                  </a:cubicBezTo>
                  <a:cubicBezTo>
                    <a:pt x="5124" y="472"/>
                    <a:pt x="5124" y="472"/>
                    <a:pt x="5124" y="472"/>
                  </a:cubicBezTo>
                  <a:cubicBezTo>
                    <a:pt x="5088" y="471"/>
                    <a:pt x="5088" y="471"/>
                    <a:pt x="5088" y="471"/>
                  </a:cubicBezTo>
                  <a:cubicBezTo>
                    <a:pt x="5105" y="483"/>
                    <a:pt x="5105" y="483"/>
                    <a:pt x="5105" y="483"/>
                  </a:cubicBezTo>
                  <a:cubicBezTo>
                    <a:pt x="5100" y="497"/>
                    <a:pt x="5100" y="497"/>
                    <a:pt x="5100" y="497"/>
                  </a:cubicBezTo>
                  <a:cubicBezTo>
                    <a:pt x="5100" y="497"/>
                    <a:pt x="5199" y="520"/>
                    <a:pt x="5170" y="533"/>
                  </a:cubicBezTo>
                  <a:cubicBezTo>
                    <a:pt x="5141" y="546"/>
                    <a:pt x="5123" y="529"/>
                    <a:pt x="5123" y="529"/>
                  </a:cubicBezTo>
                  <a:cubicBezTo>
                    <a:pt x="5106" y="515"/>
                    <a:pt x="5106" y="515"/>
                    <a:pt x="5106" y="515"/>
                  </a:cubicBezTo>
                  <a:cubicBezTo>
                    <a:pt x="5061" y="515"/>
                    <a:pt x="5061" y="515"/>
                    <a:pt x="5061" y="515"/>
                  </a:cubicBezTo>
                  <a:cubicBezTo>
                    <a:pt x="5024" y="492"/>
                    <a:pt x="5024" y="492"/>
                    <a:pt x="5024" y="492"/>
                  </a:cubicBezTo>
                  <a:cubicBezTo>
                    <a:pt x="5024" y="492"/>
                    <a:pt x="5006" y="496"/>
                    <a:pt x="5002" y="499"/>
                  </a:cubicBezTo>
                  <a:cubicBezTo>
                    <a:pt x="4998" y="502"/>
                    <a:pt x="4966" y="501"/>
                    <a:pt x="4966" y="501"/>
                  </a:cubicBezTo>
                  <a:cubicBezTo>
                    <a:pt x="4962" y="493"/>
                    <a:pt x="4962" y="493"/>
                    <a:pt x="4962" y="493"/>
                  </a:cubicBezTo>
                  <a:cubicBezTo>
                    <a:pt x="4900" y="496"/>
                    <a:pt x="4900" y="496"/>
                    <a:pt x="4900" y="496"/>
                  </a:cubicBezTo>
                  <a:cubicBezTo>
                    <a:pt x="4884" y="484"/>
                    <a:pt x="4884" y="484"/>
                    <a:pt x="4884" y="484"/>
                  </a:cubicBezTo>
                  <a:cubicBezTo>
                    <a:pt x="4879" y="490"/>
                    <a:pt x="4879" y="490"/>
                    <a:pt x="4879" y="490"/>
                  </a:cubicBezTo>
                  <a:cubicBezTo>
                    <a:pt x="4879" y="490"/>
                    <a:pt x="4801" y="483"/>
                    <a:pt x="4806" y="493"/>
                  </a:cubicBezTo>
                  <a:cubicBezTo>
                    <a:pt x="4811" y="503"/>
                    <a:pt x="4840" y="527"/>
                    <a:pt x="4840" y="527"/>
                  </a:cubicBezTo>
                  <a:cubicBezTo>
                    <a:pt x="4840" y="527"/>
                    <a:pt x="4804" y="506"/>
                    <a:pt x="4799" y="501"/>
                  </a:cubicBezTo>
                  <a:cubicBezTo>
                    <a:pt x="4794" y="496"/>
                    <a:pt x="4728" y="488"/>
                    <a:pt x="4728" y="488"/>
                  </a:cubicBezTo>
                  <a:cubicBezTo>
                    <a:pt x="4728" y="488"/>
                    <a:pt x="4718" y="470"/>
                    <a:pt x="4693" y="457"/>
                  </a:cubicBezTo>
                  <a:cubicBezTo>
                    <a:pt x="4668" y="444"/>
                    <a:pt x="4630" y="438"/>
                    <a:pt x="4613" y="437"/>
                  </a:cubicBezTo>
                  <a:cubicBezTo>
                    <a:pt x="4596" y="436"/>
                    <a:pt x="4561" y="432"/>
                    <a:pt x="4561" y="432"/>
                  </a:cubicBezTo>
                  <a:cubicBezTo>
                    <a:pt x="4527" y="425"/>
                    <a:pt x="4527" y="425"/>
                    <a:pt x="4527" y="425"/>
                  </a:cubicBezTo>
                  <a:cubicBezTo>
                    <a:pt x="4518" y="429"/>
                    <a:pt x="4518" y="429"/>
                    <a:pt x="4518" y="429"/>
                  </a:cubicBezTo>
                  <a:cubicBezTo>
                    <a:pt x="4478" y="427"/>
                    <a:pt x="4478" y="427"/>
                    <a:pt x="4478" y="427"/>
                  </a:cubicBezTo>
                  <a:cubicBezTo>
                    <a:pt x="4478" y="427"/>
                    <a:pt x="4473" y="447"/>
                    <a:pt x="4451" y="444"/>
                  </a:cubicBezTo>
                  <a:cubicBezTo>
                    <a:pt x="4429" y="441"/>
                    <a:pt x="4400" y="439"/>
                    <a:pt x="4400" y="439"/>
                  </a:cubicBezTo>
                  <a:cubicBezTo>
                    <a:pt x="4400" y="439"/>
                    <a:pt x="4370" y="419"/>
                    <a:pt x="4353" y="418"/>
                  </a:cubicBezTo>
                  <a:cubicBezTo>
                    <a:pt x="4336" y="417"/>
                    <a:pt x="4327" y="420"/>
                    <a:pt x="4327" y="420"/>
                  </a:cubicBezTo>
                  <a:cubicBezTo>
                    <a:pt x="4321" y="409"/>
                    <a:pt x="4321" y="409"/>
                    <a:pt x="4321" y="409"/>
                  </a:cubicBezTo>
                  <a:cubicBezTo>
                    <a:pt x="4296" y="407"/>
                    <a:pt x="4296" y="407"/>
                    <a:pt x="4296" y="407"/>
                  </a:cubicBezTo>
                  <a:cubicBezTo>
                    <a:pt x="4253" y="403"/>
                    <a:pt x="4253" y="403"/>
                    <a:pt x="4253" y="403"/>
                  </a:cubicBezTo>
                  <a:cubicBezTo>
                    <a:pt x="4277" y="395"/>
                    <a:pt x="4277" y="395"/>
                    <a:pt x="4277" y="395"/>
                  </a:cubicBezTo>
                  <a:cubicBezTo>
                    <a:pt x="4251" y="382"/>
                    <a:pt x="4251" y="382"/>
                    <a:pt x="4251" y="382"/>
                  </a:cubicBezTo>
                  <a:cubicBezTo>
                    <a:pt x="4251" y="382"/>
                    <a:pt x="4158" y="369"/>
                    <a:pt x="4155" y="375"/>
                  </a:cubicBezTo>
                  <a:cubicBezTo>
                    <a:pt x="4152" y="381"/>
                    <a:pt x="4164" y="400"/>
                    <a:pt x="4149" y="401"/>
                  </a:cubicBezTo>
                  <a:cubicBezTo>
                    <a:pt x="4134" y="402"/>
                    <a:pt x="4114" y="398"/>
                    <a:pt x="4114" y="398"/>
                  </a:cubicBezTo>
                  <a:cubicBezTo>
                    <a:pt x="4126" y="390"/>
                    <a:pt x="4126" y="390"/>
                    <a:pt x="4126" y="390"/>
                  </a:cubicBezTo>
                  <a:cubicBezTo>
                    <a:pt x="4116" y="380"/>
                    <a:pt x="4116" y="380"/>
                    <a:pt x="4116" y="380"/>
                  </a:cubicBezTo>
                  <a:cubicBezTo>
                    <a:pt x="4116" y="380"/>
                    <a:pt x="4110" y="380"/>
                    <a:pt x="4096" y="382"/>
                  </a:cubicBezTo>
                  <a:cubicBezTo>
                    <a:pt x="4082" y="384"/>
                    <a:pt x="4068" y="379"/>
                    <a:pt x="4068" y="379"/>
                  </a:cubicBezTo>
                  <a:cubicBezTo>
                    <a:pt x="4079" y="374"/>
                    <a:pt x="4079" y="374"/>
                    <a:pt x="4079" y="374"/>
                  </a:cubicBezTo>
                  <a:cubicBezTo>
                    <a:pt x="4109" y="371"/>
                    <a:pt x="4109" y="371"/>
                    <a:pt x="4109" y="371"/>
                  </a:cubicBezTo>
                  <a:cubicBezTo>
                    <a:pt x="4147" y="394"/>
                    <a:pt x="4147" y="394"/>
                    <a:pt x="4147" y="394"/>
                  </a:cubicBezTo>
                  <a:cubicBezTo>
                    <a:pt x="4149" y="375"/>
                    <a:pt x="4149" y="375"/>
                    <a:pt x="4149" y="375"/>
                  </a:cubicBezTo>
                  <a:cubicBezTo>
                    <a:pt x="4110" y="362"/>
                    <a:pt x="4110" y="362"/>
                    <a:pt x="4110" y="362"/>
                  </a:cubicBezTo>
                  <a:cubicBezTo>
                    <a:pt x="4037" y="366"/>
                    <a:pt x="4037" y="366"/>
                    <a:pt x="4037" y="366"/>
                  </a:cubicBezTo>
                  <a:cubicBezTo>
                    <a:pt x="4036" y="357"/>
                    <a:pt x="4036" y="357"/>
                    <a:pt x="4036" y="357"/>
                  </a:cubicBezTo>
                  <a:cubicBezTo>
                    <a:pt x="3955" y="362"/>
                    <a:pt x="3955" y="362"/>
                    <a:pt x="3955" y="362"/>
                  </a:cubicBezTo>
                  <a:cubicBezTo>
                    <a:pt x="3924" y="349"/>
                    <a:pt x="3924" y="349"/>
                    <a:pt x="3924" y="349"/>
                  </a:cubicBezTo>
                  <a:cubicBezTo>
                    <a:pt x="3911" y="349"/>
                    <a:pt x="3911" y="349"/>
                    <a:pt x="3911" y="349"/>
                  </a:cubicBezTo>
                  <a:cubicBezTo>
                    <a:pt x="3936" y="365"/>
                    <a:pt x="3936" y="365"/>
                    <a:pt x="3936" y="365"/>
                  </a:cubicBezTo>
                  <a:cubicBezTo>
                    <a:pt x="3936" y="365"/>
                    <a:pt x="3884" y="364"/>
                    <a:pt x="3892" y="372"/>
                  </a:cubicBezTo>
                  <a:cubicBezTo>
                    <a:pt x="3900" y="380"/>
                    <a:pt x="3910" y="385"/>
                    <a:pt x="3910" y="385"/>
                  </a:cubicBezTo>
                  <a:cubicBezTo>
                    <a:pt x="3931" y="383"/>
                    <a:pt x="3931" y="383"/>
                    <a:pt x="3931" y="383"/>
                  </a:cubicBezTo>
                  <a:cubicBezTo>
                    <a:pt x="3931" y="388"/>
                    <a:pt x="3931" y="388"/>
                    <a:pt x="3931" y="388"/>
                  </a:cubicBezTo>
                  <a:cubicBezTo>
                    <a:pt x="3970" y="414"/>
                    <a:pt x="3970" y="414"/>
                    <a:pt x="3970" y="414"/>
                  </a:cubicBezTo>
                  <a:cubicBezTo>
                    <a:pt x="3970" y="414"/>
                    <a:pt x="3964" y="415"/>
                    <a:pt x="3949" y="414"/>
                  </a:cubicBezTo>
                  <a:cubicBezTo>
                    <a:pt x="3934" y="413"/>
                    <a:pt x="3914" y="398"/>
                    <a:pt x="3909" y="403"/>
                  </a:cubicBezTo>
                  <a:cubicBezTo>
                    <a:pt x="3904" y="408"/>
                    <a:pt x="3900" y="411"/>
                    <a:pt x="3900" y="411"/>
                  </a:cubicBezTo>
                  <a:cubicBezTo>
                    <a:pt x="3917" y="425"/>
                    <a:pt x="3917" y="425"/>
                    <a:pt x="3917" y="425"/>
                  </a:cubicBezTo>
                  <a:cubicBezTo>
                    <a:pt x="3881" y="420"/>
                    <a:pt x="3881" y="420"/>
                    <a:pt x="3881" y="420"/>
                  </a:cubicBezTo>
                  <a:cubicBezTo>
                    <a:pt x="3881" y="420"/>
                    <a:pt x="3832" y="404"/>
                    <a:pt x="3824" y="405"/>
                  </a:cubicBezTo>
                  <a:cubicBezTo>
                    <a:pt x="3816" y="406"/>
                    <a:pt x="3788" y="418"/>
                    <a:pt x="3788" y="418"/>
                  </a:cubicBezTo>
                  <a:cubicBezTo>
                    <a:pt x="3743" y="414"/>
                    <a:pt x="3743" y="414"/>
                    <a:pt x="3743" y="414"/>
                  </a:cubicBezTo>
                  <a:cubicBezTo>
                    <a:pt x="3743" y="414"/>
                    <a:pt x="3705" y="396"/>
                    <a:pt x="3702" y="392"/>
                  </a:cubicBezTo>
                  <a:cubicBezTo>
                    <a:pt x="3699" y="388"/>
                    <a:pt x="3692" y="398"/>
                    <a:pt x="3695" y="406"/>
                  </a:cubicBezTo>
                  <a:cubicBezTo>
                    <a:pt x="3698" y="414"/>
                    <a:pt x="3725" y="442"/>
                    <a:pt x="3709" y="443"/>
                  </a:cubicBezTo>
                  <a:cubicBezTo>
                    <a:pt x="3693" y="444"/>
                    <a:pt x="3614" y="415"/>
                    <a:pt x="3611" y="413"/>
                  </a:cubicBezTo>
                  <a:cubicBezTo>
                    <a:pt x="3608" y="411"/>
                    <a:pt x="3589" y="394"/>
                    <a:pt x="3589" y="394"/>
                  </a:cubicBezTo>
                  <a:cubicBezTo>
                    <a:pt x="3587" y="404"/>
                    <a:pt x="3587" y="404"/>
                    <a:pt x="3587" y="404"/>
                  </a:cubicBezTo>
                  <a:cubicBezTo>
                    <a:pt x="3550" y="393"/>
                    <a:pt x="3550" y="393"/>
                    <a:pt x="3550" y="393"/>
                  </a:cubicBezTo>
                  <a:cubicBezTo>
                    <a:pt x="3533" y="381"/>
                    <a:pt x="3533" y="381"/>
                    <a:pt x="3533" y="381"/>
                  </a:cubicBezTo>
                  <a:cubicBezTo>
                    <a:pt x="3533" y="381"/>
                    <a:pt x="3571" y="391"/>
                    <a:pt x="3577" y="386"/>
                  </a:cubicBezTo>
                  <a:cubicBezTo>
                    <a:pt x="3583" y="381"/>
                    <a:pt x="3554" y="367"/>
                    <a:pt x="3554" y="367"/>
                  </a:cubicBezTo>
                  <a:cubicBezTo>
                    <a:pt x="3531" y="367"/>
                    <a:pt x="3531" y="367"/>
                    <a:pt x="3531" y="367"/>
                  </a:cubicBezTo>
                  <a:cubicBezTo>
                    <a:pt x="3531" y="367"/>
                    <a:pt x="3542" y="361"/>
                    <a:pt x="3535" y="356"/>
                  </a:cubicBezTo>
                  <a:cubicBezTo>
                    <a:pt x="3528" y="351"/>
                    <a:pt x="3508" y="351"/>
                    <a:pt x="3508" y="351"/>
                  </a:cubicBezTo>
                  <a:cubicBezTo>
                    <a:pt x="3516" y="342"/>
                    <a:pt x="3516" y="342"/>
                    <a:pt x="3516" y="342"/>
                  </a:cubicBezTo>
                  <a:cubicBezTo>
                    <a:pt x="3516" y="342"/>
                    <a:pt x="3484" y="333"/>
                    <a:pt x="3480" y="333"/>
                  </a:cubicBezTo>
                  <a:cubicBezTo>
                    <a:pt x="3476" y="333"/>
                    <a:pt x="3461" y="323"/>
                    <a:pt x="3461" y="323"/>
                  </a:cubicBezTo>
                  <a:cubicBezTo>
                    <a:pt x="3430" y="323"/>
                    <a:pt x="3430" y="323"/>
                    <a:pt x="3430" y="323"/>
                  </a:cubicBezTo>
                  <a:cubicBezTo>
                    <a:pt x="3430" y="323"/>
                    <a:pt x="3439" y="326"/>
                    <a:pt x="3416" y="327"/>
                  </a:cubicBezTo>
                  <a:cubicBezTo>
                    <a:pt x="3393" y="328"/>
                    <a:pt x="3378" y="320"/>
                    <a:pt x="3378" y="320"/>
                  </a:cubicBezTo>
                  <a:cubicBezTo>
                    <a:pt x="3364" y="326"/>
                    <a:pt x="3364" y="326"/>
                    <a:pt x="3364" y="326"/>
                  </a:cubicBezTo>
                  <a:cubicBezTo>
                    <a:pt x="3362" y="317"/>
                    <a:pt x="3362" y="317"/>
                    <a:pt x="3362" y="317"/>
                  </a:cubicBezTo>
                  <a:cubicBezTo>
                    <a:pt x="3330" y="311"/>
                    <a:pt x="3330" y="311"/>
                    <a:pt x="3330" y="311"/>
                  </a:cubicBezTo>
                  <a:cubicBezTo>
                    <a:pt x="3323" y="305"/>
                    <a:pt x="3323" y="305"/>
                    <a:pt x="3323" y="305"/>
                  </a:cubicBezTo>
                  <a:cubicBezTo>
                    <a:pt x="3318" y="318"/>
                    <a:pt x="3318" y="318"/>
                    <a:pt x="3318" y="318"/>
                  </a:cubicBezTo>
                  <a:cubicBezTo>
                    <a:pt x="3309" y="319"/>
                    <a:pt x="3309" y="319"/>
                    <a:pt x="3309" y="319"/>
                  </a:cubicBezTo>
                  <a:cubicBezTo>
                    <a:pt x="3327" y="334"/>
                    <a:pt x="3327" y="334"/>
                    <a:pt x="3327" y="334"/>
                  </a:cubicBezTo>
                  <a:cubicBezTo>
                    <a:pt x="3344" y="354"/>
                    <a:pt x="3344" y="354"/>
                    <a:pt x="3344" y="354"/>
                  </a:cubicBezTo>
                  <a:cubicBezTo>
                    <a:pt x="3310" y="350"/>
                    <a:pt x="3310" y="350"/>
                    <a:pt x="3310" y="350"/>
                  </a:cubicBezTo>
                  <a:cubicBezTo>
                    <a:pt x="3306" y="344"/>
                    <a:pt x="3306" y="344"/>
                    <a:pt x="3306" y="344"/>
                  </a:cubicBezTo>
                  <a:cubicBezTo>
                    <a:pt x="3262" y="347"/>
                    <a:pt x="3262" y="347"/>
                    <a:pt x="3262" y="347"/>
                  </a:cubicBezTo>
                  <a:cubicBezTo>
                    <a:pt x="3251" y="351"/>
                    <a:pt x="3251" y="351"/>
                    <a:pt x="3251" y="351"/>
                  </a:cubicBezTo>
                  <a:cubicBezTo>
                    <a:pt x="3250" y="343"/>
                    <a:pt x="3250" y="343"/>
                    <a:pt x="3250" y="343"/>
                  </a:cubicBezTo>
                  <a:cubicBezTo>
                    <a:pt x="3221" y="349"/>
                    <a:pt x="3221" y="349"/>
                    <a:pt x="3221" y="349"/>
                  </a:cubicBezTo>
                  <a:cubicBezTo>
                    <a:pt x="3216" y="341"/>
                    <a:pt x="3216" y="341"/>
                    <a:pt x="3216" y="341"/>
                  </a:cubicBezTo>
                  <a:cubicBezTo>
                    <a:pt x="3178" y="342"/>
                    <a:pt x="3178" y="342"/>
                    <a:pt x="3178" y="342"/>
                  </a:cubicBezTo>
                  <a:cubicBezTo>
                    <a:pt x="3156" y="335"/>
                    <a:pt x="3156" y="335"/>
                    <a:pt x="3156" y="335"/>
                  </a:cubicBezTo>
                  <a:cubicBezTo>
                    <a:pt x="3167" y="321"/>
                    <a:pt x="3167" y="321"/>
                    <a:pt x="3167" y="321"/>
                  </a:cubicBezTo>
                  <a:cubicBezTo>
                    <a:pt x="3082" y="320"/>
                    <a:pt x="3082" y="320"/>
                    <a:pt x="3082" y="320"/>
                  </a:cubicBezTo>
                  <a:cubicBezTo>
                    <a:pt x="3077" y="314"/>
                    <a:pt x="3077" y="314"/>
                    <a:pt x="3077" y="314"/>
                  </a:cubicBezTo>
                  <a:cubicBezTo>
                    <a:pt x="3071" y="317"/>
                    <a:pt x="3071" y="317"/>
                    <a:pt x="3071" y="317"/>
                  </a:cubicBezTo>
                  <a:cubicBezTo>
                    <a:pt x="3065" y="313"/>
                    <a:pt x="3065" y="313"/>
                    <a:pt x="3065" y="313"/>
                  </a:cubicBezTo>
                  <a:cubicBezTo>
                    <a:pt x="3030" y="315"/>
                    <a:pt x="3030" y="315"/>
                    <a:pt x="3030" y="315"/>
                  </a:cubicBezTo>
                  <a:cubicBezTo>
                    <a:pt x="3034" y="323"/>
                    <a:pt x="3034" y="323"/>
                    <a:pt x="3034" y="323"/>
                  </a:cubicBezTo>
                  <a:cubicBezTo>
                    <a:pt x="2997" y="319"/>
                    <a:pt x="2997" y="319"/>
                    <a:pt x="2997" y="319"/>
                  </a:cubicBezTo>
                  <a:cubicBezTo>
                    <a:pt x="2987" y="324"/>
                    <a:pt x="2987" y="324"/>
                    <a:pt x="2987" y="324"/>
                  </a:cubicBezTo>
                  <a:cubicBezTo>
                    <a:pt x="3008" y="331"/>
                    <a:pt x="3008" y="331"/>
                    <a:pt x="3008" y="331"/>
                  </a:cubicBezTo>
                  <a:cubicBezTo>
                    <a:pt x="2981" y="330"/>
                    <a:pt x="2981" y="330"/>
                    <a:pt x="2981" y="330"/>
                  </a:cubicBezTo>
                  <a:cubicBezTo>
                    <a:pt x="2978" y="318"/>
                    <a:pt x="2978" y="318"/>
                    <a:pt x="2978" y="318"/>
                  </a:cubicBezTo>
                  <a:cubicBezTo>
                    <a:pt x="2961" y="303"/>
                    <a:pt x="2961" y="303"/>
                    <a:pt x="2961" y="303"/>
                  </a:cubicBezTo>
                  <a:cubicBezTo>
                    <a:pt x="2947" y="303"/>
                    <a:pt x="2947" y="303"/>
                    <a:pt x="2947" y="303"/>
                  </a:cubicBezTo>
                  <a:cubicBezTo>
                    <a:pt x="2954" y="318"/>
                    <a:pt x="2954" y="318"/>
                    <a:pt x="2954" y="318"/>
                  </a:cubicBezTo>
                  <a:cubicBezTo>
                    <a:pt x="2919" y="318"/>
                    <a:pt x="2919" y="318"/>
                    <a:pt x="2919" y="318"/>
                  </a:cubicBezTo>
                  <a:cubicBezTo>
                    <a:pt x="2915" y="313"/>
                    <a:pt x="2915" y="313"/>
                    <a:pt x="2915" y="313"/>
                  </a:cubicBezTo>
                  <a:cubicBezTo>
                    <a:pt x="2906" y="313"/>
                    <a:pt x="2906" y="313"/>
                    <a:pt x="2906" y="313"/>
                  </a:cubicBezTo>
                  <a:cubicBezTo>
                    <a:pt x="2902" y="303"/>
                    <a:pt x="2902" y="303"/>
                    <a:pt x="2902" y="303"/>
                  </a:cubicBezTo>
                  <a:cubicBezTo>
                    <a:pt x="2893" y="303"/>
                    <a:pt x="2893" y="303"/>
                    <a:pt x="2893" y="303"/>
                  </a:cubicBezTo>
                  <a:cubicBezTo>
                    <a:pt x="2882" y="306"/>
                    <a:pt x="2882" y="306"/>
                    <a:pt x="2882" y="306"/>
                  </a:cubicBezTo>
                  <a:cubicBezTo>
                    <a:pt x="2866" y="298"/>
                    <a:pt x="2866" y="298"/>
                    <a:pt x="2866" y="298"/>
                  </a:cubicBezTo>
                  <a:cubicBezTo>
                    <a:pt x="2846" y="312"/>
                    <a:pt x="2846" y="312"/>
                    <a:pt x="2846" y="312"/>
                  </a:cubicBezTo>
                  <a:cubicBezTo>
                    <a:pt x="2882" y="316"/>
                    <a:pt x="2882" y="316"/>
                    <a:pt x="2882" y="316"/>
                  </a:cubicBezTo>
                  <a:cubicBezTo>
                    <a:pt x="2890" y="317"/>
                    <a:pt x="2890" y="317"/>
                    <a:pt x="2890" y="317"/>
                  </a:cubicBezTo>
                  <a:cubicBezTo>
                    <a:pt x="2890" y="317"/>
                    <a:pt x="2877" y="328"/>
                    <a:pt x="2870" y="328"/>
                  </a:cubicBezTo>
                  <a:cubicBezTo>
                    <a:pt x="2863" y="328"/>
                    <a:pt x="2858" y="327"/>
                    <a:pt x="2852" y="329"/>
                  </a:cubicBezTo>
                  <a:cubicBezTo>
                    <a:pt x="2846" y="331"/>
                    <a:pt x="2844" y="337"/>
                    <a:pt x="2839" y="337"/>
                  </a:cubicBezTo>
                  <a:cubicBezTo>
                    <a:pt x="2834" y="337"/>
                    <a:pt x="2790" y="338"/>
                    <a:pt x="2790" y="338"/>
                  </a:cubicBezTo>
                  <a:cubicBezTo>
                    <a:pt x="2768" y="341"/>
                    <a:pt x="2768" y="341"/>
                    <a:pt x="2768" y="341"/>
                  </a:cubicBezTo>
                  <a:cubicBezTo>
                    <a:pt x="2758" y="358"/>
                    <a:pt x="2758" y="358"/>
                    <a:pt x="2758" y="358"/>
                  </a:cubicBezTo>
                  <a:cubicBezTo>
                    <a:pt x="2742" y="354"/>
                    <a:pt x="2742" y="354"/>
                    <a:pt x="2742" y="354"/>
                  </a:cubicBezTo>
                  <a:cubicBezTo>
                    <a:pt x="2742" y="354"/>
                    <a:pt x="2745" y="338"/>
                    <a:pt x="2753" y="334"/>
                  </a:cubicBezTo>
                  <a:cubicBezTo>
                    <a:pt x="2761" y="330"/>
                    <a:pt x="2773" y="330"/>
                    <a:pt x="2773" y="330"/>
                  </a:cubicBezTo>
                  <a:cubicBezTo>
                    <a:pt x="2778" y="319"/>
                    <a:pt x="2778" y="319"/>
                    <a:pt x="2778" y="319"/>
                  </a:cubicBezTo>
                  <a:cubicBezTo>
                    <a:pt x="2806" y="316"/>
                    <a:pt x="2806" y="316"/>
                    <a:pt x="2806" y="316"/>
                  </a:cubicBezTo>
                  <a:cubicBezTo>
                    <a:pt x="2836" y="294"/>
                    <a:pt x="2836" y="294"/>
                    <a:pt x="2836" y="294"/>
                  </a:cubicBezTo>
                  <a:cubicBezTo>
                    <a:pt x="2836" y="294"/>
                    <a:pt x="2835" y="281"/>
                    <a:pt x="2847" y="276"/>
                  </a:cubicBezTo>
                  <a:cubicBezTo>
                    <a:pt x="2859" y="271"/>
                    <a:pt x="2908" y="272"/>
                    <a:pt x="2906" y="254"/>
                  </a:cubicBezTo>
                  <a:cubicBezTo>
                    <a:pt x="2904" y="236"/>
                    <a:pt x="2889" y="232"/>
                    <a:pt x="2889" y="232"/>
                  </a:cubicBezTo>
                  <a:cubicBezTo>
                    <a:pt x="2862" y="234"/>
                    <a:pt x="2862" y="234"/>
                    <a:pt x="2862" y="234"/>
                  </a:cubicBezTo>
                  <a:cubicBezTo>
                    <a:pt x="2885" y="224"/>
                    <a:pt x="2885" y="224"/>
                    <a:pt x="2885" y="224"/>
                  </a:cubicBezTo>
                  <a:cubicBezTo>
                    <a:pt x="2885" y="224"/>
                    <a:pt x="2865" y="209"/>
                    <a:pt x="2860" y="210"/>
                  </a:cubicBezTo>
                  <a:cubicBezTo>
                    <a:pt x="2855" y="211"/>
                    <a:pt x="2838" y="212"/>
                    <a:pt x="2838" y="212"/>
                  </a:cubicBezTo>
                  <a:cubicBezTo>
                    <a:pt x="2838" y="212"/>
                    <a:pt x="2832" y="196"/>
                    <a:pt x="2819" y="196"/>
                  </a:cubicBezTo>
                  <a:cubicBezTo>
                    <a:pt x="2806" y="196"/>
                    <a:pt x="2792" y="201"/>
                    <a:pt x="2792" y="201"/>
                  </a:cubicBezTo>
                  <a:cubicBezTo>
                    <a:pt x="2756" y="192"/>
                    <a:pt x="2756" y="192"/>
                    <a:pt x="2756" y="192"/>
                  </a:cubicBezTo>
                  <a:cubicBezTo>
                    <a:pt x="2662" y="189"/>
                    <a:pt x="2662" y="189"/>
                    <a:pt x="2662" y="189"/>
                  </a:cubicBezTo>
                  <a:cubicBezTo>
                    <a:pt x="2665" y="201"/>
                    <a:pt x="2665" y="201"/>
                    <a:pt x="2665" y="201"/>
                  </a:cubicBezTo>
                  <a:cubicBezTo>
                    <a:pt x="2620" y="201"/>
                    <a:pt x="2620" y="201"/>
                    <a:pt x="2620" y="201"/>
                  </a:cubicBezTo>
                  <a:cubicBezTo>
                    <a:pt x="2620" y="201"/>
                    <a:pt x="2639" y="184"/>
                    <a:pt x="2627" y="179"/>
                  </a:cubicBezTo>
                  <a:cubicBezTo>
                    <a:pt x="2615" y="174"/>
                    <a:pt x="2564" y="180"/>
                    <a:pt x="2564" y="180"/>
                  </a:cubicBezTo>
                  <a:cubicBezTo>
                    <a:pt x="2523" y="176"/>
                    <a:pt x="2523" y="176"/>
                    <a:pt x="2523" y="176"/>
                  </a:cubicBezTo>
                  <a:cubicBezTo>
                    <a:pt x="2523" y="176"/>
                    <a:pt x="2570" y="174"/>
                    <a:pt x="2564" y="165"/>
                  </a:cubicBezTo>
                  <a:cubicBezTo>
                    <a:pt x="2558" y="156"/>
                    <a:pt x="2511" y="155"/>
                    <a:pt x="2511" y="155"/>
                  </a:cubicBezTo>
                  <a:cubicBezTo>
                    <a:pt x="2483" y="151"/>
                    <a:pt x="2483" y="151"/>
                    <a:pt x="2483" y="151"/>
                  </a:cubicBezTo>
                  <a:cubicBezTo>
                    <a:pt x="2480" y="161"/>
                    <a:pt x="2480" y="161"/>
                    <a:pt x="2480" y="161"/>
                  </a:cubicBezTo>
                  <a:cubicBezTo>
                    <a:pt x="2480" y="161"/>
                    <a:pt x="2431" y="159"/>
                    <a:pt x="2435" y="173"/>
                  </a:cubicBezTo>
                  <a:cubicBezTo>
                    <a:pt x="2439" y="187"/>
                    <a:pt x="2485" y="202"/>
                    <a:pt x="2485" y="202"/>
                  </a:cubicBezTo>
                  <a:cubicBezTo>
                    <a:pt x="2389" y="196"/>
                    <a:pt x="2389" y="196"/>
                    <a:pt x="2389" y="196"/>
                  </a:cubicBezTo>
                  <a:cubicBezTo>
                    <a:pt x="2423" y="210"/>
                    <a:pt x="2423" y="210"/>
                    <a:pt x="2423" y="210"/>
                  </a:cubicBezTo>
                  <a:cubicBezTo>
                    <a:pt x="2388" y="215"/>
                    <a:pt x="2388" y="215"/>
                    <a:pt x="2388" y="215"/>
                  </a:cubicBezTo>
                  <a:cubicBezTo>
                    <a:pt x="2388" y="215"/>
                    <a:pt x="2331" y="233"/>
                    <a:pt x="2321" y="227"/>
                  </a:cubicBezTo>
                  <a:cubicBezTo>
                    <a:pt x="2311" y="221"/>
                    <a:pt x="2326" y="209"/>
                    <a:pt x="2326" y="209"/>
                  </a:cubicBezTo>
                  <a:cubicBezTo>
                    <a:pt x="2326" y="209"/>
                    <a:pt x="2278" y="209"/>
                    <a:pt x="2269" y="211"/>
                  </a:cubicBezTo>
                  <a:cubicBezTo>
                    <a:pt x="2260" y="213"/>
                    <a:pt x="2246" y="225"/>
                    <a:pt x="2246" y="225"/>
                  </a:cubicBezTo>
                  <a:cubicBezTo>
                    <a:pt x="2246" y="225"/>
                    <a:pt x="2183" y="230"/>
                    <a:pt x="2168" y="233"/>
                  </a:cubicBezTo>
                  <a:cubicBezTo>
                    <a:pt x="2153" y="236"/>
                    <a:pt x="2120" y="243"/>
                    <a:pt x="2120" y="243"/>
                  </a:cubicBezTo>
                  <a:cubicBezTo>
                    <a:pt x="2091" y="266"/>
                    <a:pt x="2091" y="266"/>
                    <a:pt x="2091" y="266"/>
                  </a:cubicBezTo>
                  <a:cubicBezTo>
                    <a:pt x="2091" y="266"/>
                    <a:pt x="2059" y="264"/>
                    <a:pt x="2073" y="278"/>
                  </a:cubicBezTo>
                  <a:cubicBezTo>
                    <a:pt x="2087" y="292"/>
                    <a:pt x="2112" y="302"/>
                    <a:pt x="2112" y="302"/>
                  </a:cubicBezTo>
                  <a:cubicBezTo>
                    <a:pt x="2082" y="308"/>
                    <a:pt x="2082" y="308"/>
                    <a:pt x="2082" y="308"/>
                  </a:cubicBezTo>
                  <a:cubicBezTo>
                    <a:pt x="2068" y="317"/>
                    <a:pt x="2068" y="317"/>
                    <a:pt x="2068" y="317"/>
                  </a:cubicBezTo>
                  <a:cubicBezTo>
                    <a:pt x="2001" y="315"/>
                    <a:pt x="2001" y="315"/>
                    <a:pt x="2001" y="315"/>
                  </a:cubicBezTo>
                  <a:cubicBezTo>
                    <a:pt x="1996" y="320"/>
                    <a:pt x="1996" y="320"/>
                    <a:pt x="1996" y="320"/>
                  </a:cubicBezTo>
                  <a:cubicBezTo>
                    <a:pt x="1971" y="311"/>
                    <a:pt x="1971" y="311"/>
                    <a:pt x="1971" y="311"/>
                  </a:cubicBezTo>
                  <a:cubicBezTo>
                    <a:pt x="1960" y="318"/>
                    <a:pt x="1960" y="318"/>
                    <a:pt x="1960" y="318"/>
                  </a:cubicBezTo>
                  <a:cubicBezTo>
                    <a:pt x="1960" y="318"/>
                    <a:pt x="1922" y="314"/>
                    <a:pt x="1920" y="322"/>
                  </a:cubicBezTo>
                  <a:cubicBezTo>
                    <a:pt x="1918" y="330"/>
                    <a:pt x="1919" y="345"/>
                    <a:pt x="1930" y="347"/>
                  </a:cubicBezTo>
                  <a:cubicBezTo>
                    <a:pt x="1941" y="349"/>
                    <a:pt x="1947" y="365"/>
                    <a:pt x="1947" y="365"/>
                  </a:cubicBezTo>
                  <a:cubicBezTo>
                    <a:pt x="1947" y="365"/>
                    <a:pt x="1982" y="375"/>
                    <a:pt x="1991" y="375"/>
                  </a:cubicBezTo>
                  <a:cubicBezTo>
                    <a:pt x="2000" y="375"/>
                    <a:pt x="2019" y="380"/>
                    <a:pt x="2026" y="383"/>
                  </a:cubicBezTo>
                  <a:cubicBezTo>
                    <a:pt x="2033" y="386"/>
                    <a:pt x="2049" y="402"/>
                    <a:pt x="2038" y="402"/>
                  </a:cubicBezTo>
                  <a:cubicBezTo>
                    <a:pt x="2027" y="402"/>
                    <a:pt x="2003" y="404"/>
                    <a:pt x="2003" y="404"/>
                  </a:cubicBezTo>
                  <a:cubicBezTo>
                    <a:pt x="2003" y="404"/>
                    <a:pt x="1957" y="384"/>
                    <a:pt x="1941" y="380"/>
                  </a:cubicBezTo>
                  <a:cubicBezTo>
                    <a:pt x="1925" y="376"/>
                    <a:pt x="1901" y="373"/>
                    <a:pt x="1893" y="373"/>
                  </a:cubicBezTo>
                  <a:cubicBezTo>
                    <a:pt x="1885" y="373"/>
                    <a:pt x="1864" y="371"/>
                    <a:pt x="1866" y="379"/>
                  </a:cubicBezTo>
                  <a:cubicBezTo>
                    <a:pt x="1868" y="387"/>
                    <a:pt x="1894" y="397"/>
                    <a:pt x="1877" y="398"/>
                  </a:cubicBezTo>
                  <a:cubicBezTo>
                    <a:pt x="1860" y="399"/>
                    <a:pt x="1854" y="387"/>
                    <a:pt x="1844" y="387"/>
                  </a:cubicBezTo>
                  <a:cubicBezTo>
                    <a:pt x="1834" y="387"/>
                    <a:pt x="1820" y="377"/>
                    <a:pt x="1819" y="390"/>
                  </a:cubicBezTo>
                  <a:cubicBezTo>
                    <a:pt x="1818" y="403"/>
                    <a:pt x="1832" y="416"/>
                    <a:pt x="1847" y="415"/>
                  </a:cubicBezTo>
                  <a:cubicBezTo>
                    <a:pt x="1862" y="414"/>
                    <a:pt x="1885" y="421"/>
                    <a:pt x="1895" y="421"/>
                  </a:cubicBezTo>
                  <a:cubicBezTo>
                    <a:pt x="1905" y="421"/>
                    <a:pt x="1921" y="437"/>
                    <a:pt x="1921" y="437"/>
                  </a:cubicBezTo>
                  <a:cubicBezTo>
                    <a:pt x="1900" y="437"/>
                    <a:pt x="1900" y="437"/>
                    <a:pt x="1900" y="437"/>
                  </a:cubicBezTo>
                  <a:cubicBezTo>
                    <a:pt x="1900" y="437"/>
                    <a:pt x="1894" y="427"/>
                    <a:pt x="1880" y="427"/>
                  </a:cubicBezTo>
                  <a:cubicBezTo>
                    <a:pt x="1866" y="427"/>
                    <a:pt x="1823" y="425"/>
                    <a:pt x="1823" y="425"/>
                  </a:cubicBezTo>
                  <a:cubicBezTo>
                    <a:pt x="1820" y="417"/>
                    <a:pt x="1820" y="417"/>
                    <a:pt x="1820" y="417"/>
                  </a:cubicBezTo>
                  <a:cubicBezTo>
                    <a:pt x="1803" y="417"/>
                    <a:pt x="1803" y="417"/>
                    <a:pt x="1803" y="417"/>
                  </a:cubicBezTo>
                  <a:cubicBezTo>
                    <a:pt x="1800" y="406"/>
                    <a:pt x="1800" y="406"/>
                    <a:pt x="1800" y="406"/>
                  </a:cubicBezTo>
                  <a:cubicBezTo>
                    <a:pt x="1778" y="395"/>
                    <a:pt x="1778" y="395"/>
                    <a:pt x="1778" y="395"/>
                  </a:cubicBezTo>
                  <a:cubicBezTo>
                    <a:pt x="1778" y="395"/>
                    <a:pt x="1803" y="383"/>
                    <a:pt x="1793" y="374"/>
                  </a:cubicBezTo>
                  <a:cubicBezTo>
                    <a:pt x="1783" y="365"/>
                    <a:pt x="1769" y="354"/>
                    <a:pt x="1769" y="354"/>
                  </a:cubicBezTo>
                  <a:cubicBezTo>
                    <a:pt x="1748" y="353"/>
                    <a:pt x="1748" y="353"/>
                    <a:pt x="1748" y="353"/>
                  </a:cubicBezTo>
                  <a:cubicBezTo>
                    <a:pt x="1748" y="353"/>
                    <a:pt x="1778" y="370"/>
                    <a:pt x="1769" y="378"/>
                  </a:cubicBezTo>
                  <a:cubicBezTo>
                    <a:pt x="1760" y="386"/>
                    <a:pt x="1740" y="389"/>
                    <a:pt x="1740" y="389"/>
                  </a:cubicBezTo>
                  <a:cubicBezTo>
                    <a:pt x="1727" y="416"/>
                    <a:pt x="1727" y="416"/>
                    <a:pt x="1727" y="416"/>
                  </a:cubicBezTo>
                  <a:cubicBezTo>
                    <a:pt x="1776" y="441"/>
                    <a:pt x="1776" y="441"/>
                    <a:pt x="1776" y="441"/>
                  </a:cubicBezTo>
                  <a:cubicBezTo>
                    <a:pt x="1776" y="441"/>
                    <a:pt x="1789" y="436"/>
                    <a:pt x="1789" y="442"/>
                  </a:cubicBezTo>
                  <a:cubicBezTo>
                    <a:pt x="1789" y="448"/>
                    <a:pt x="1782" y="479"/>
                    <a:pt x="1782" y="479"/>
                  </a:cubicBezTo>
                  <a:cubicBezTo>
                    <a:pt x="1789" y="492"/>
                    <a:pt x="1789" y="492"/>
                    <a:pt x="1789" y="492"/>
                  </a:cubicBezTo>
                  <a:cubicBezTo>
                    <a:pt x="1813" y="496"/>
                    <a:pt x="1813" y="496"/>
                    <a:pt x="1813" y="496"/>
                  </a:cubicBezTo>
                  <a:cubicBezTo>
                    <a:pt x="1812" y="514"/>
                    <a:pt x="1812" y="514"/>
                    <a:pt x="1812" y="514"/>
                  </a:cubicBezTo>
                  <a:cubicBezTo>
                    <a:pt x="1852" y="522"/>
                    <a:pt x="1852" y="522"/>
                    <a:pt x="1852" y="522"/>
                  </a:cubicBezTo>
                  <a:cubicBezTo>
                    <a:pt x="1852" y="522"/>
                    <a:pt x="1882" y="510"/>
                    <a:pt x="1896" y="511"/>
                  </a:cubicBezTo>
                  <a:cubicBezTo>
                    <a:pt x="1910" y="512"/>
                    <a:pt x="1928" y="524"/>
                    <a:pt x="1928" y="524"/>
                  </a:cubicBezTo>
                  <a:cubicBezTo>
                    <a:pt x="1928" y="524"/>
                    <a:pt x="1957" y="528"/>
                    <a:pt x="1970" y="537"/>
                  </a:cubicBezTo>
                  <a:cubicBezTo>
                    <a:pt x="1983" y="546"/>
                    <a:pt x="1986" y="557"/>
                    <a:pt x="1986" y="557"/>
                  </a:cubicBezTo>
                  <a:cubicBezTo>
                    <a:pt x="1986" y="557"/>
                    <a:pt x="1953" y="561"/>
                    <a:pt x="1966" y="569"/>
                  </a:cubicBezTo>
                  <a:cubicBezTo>
                    <a:pt x="1979" y="577"/>
                    <a:pt x="1993" y="584"/>
                    <a:pt x="1993" y="584"/>
                  </a:cubicBezTo>
                  <a:cubicBezTo>
                    <a:pt x="2021" y="583"/>
                    <a:pt x="2021" y="583"/>
                    <a:pt x="2021" y="583"/>
                  </a:cubicBezTo>
                  <a:cubicBezTo>
                    <a:pt x="2021" y="583"/>
                    <a:pt x="2005" y="591"/>
                    <a:pt x="1992" y="591"/>
                  </a:cubicBezTo>
                  <a:cubicBezTo>
                    <a:pt x="1979" y="591"/>
                    <a:pt x="1963" y="582"/>
                    <a:pt x="1963" y="582"/>
                  </a:cubicBezTo>
                  <a:cubicBezTo>
                    <a:pt x="1963" y="582"/>
                    <a:pt x="1964" y="559"/>
                    <a:pt x="1949" y="550"/>
                  </a:cubicBezTo>
                  <a:cubicBezTo>
                    <a:pt x="1934" y="541"/>
                    <a:pt x="1922" y="536"/>
                    <a:pt x="1922" y="536"/>
                  </a:cubicBezTo>
                  <a:cubicBezTo>
                    <a:pt x="1922" y="536"/>
                    <a:pt x="1918" y="521"/>
                    <a:pt x="1906" y="522"/>
                  </a:cubicBezTo>
                  <a:cubicBezTo>
                    <a:pt x="1894" y="523"/>
                    <a:pt x="1862" y="529"/>
                    <a:pt x="1862" y="529"/>
                  </a:cubicBezTo>
                  <a:cubicBezTo>
                    <a:pt x="1862" y="529"/>
                    <a:pt x="1844" y="531"/>
                    <a:pt x="1845" y="542"/>
                  </a:cubicBezTo>
                  <a:cubicBezTo>
                    <a:pt x="1846" y="553"/>
                    <a:pt x="1878" y="571"/>
                    <a:pt x="1878" y="575"/>
                  </a:cubicBezTo>
                  <a:cubicBezTo>
                    <a:pt x="1878" y="579"/>
                    <a:pt x="1859" y="591"/>
                    <a:pt x="1859" y="591"/>
                  </a:cubicBezTo>
                  <a:cubicBezTo>
                    <a:pt x="1857" y="620"/>
                    <a:pt x="1857" y="620"/>
                    <a:pt x="1857" y="620"/>
                  </a:cubicBezTo>
                  <a:cubicBezTo>
                    <a:pt x="1829" y="634"/>
                    <a:pt x="1829" y="634"/>
                    <a:pt x="1829" y="634"/>
                  </a:cubicBezTo>
                  <a:cubicBezTo>
                    <a:pt x="1829" y="634"/>
                    <a:pt x="1823" y="655"/>
                    <a:pt x="1810" y="649"/>
                  </a:cubicBezTo>
                  <a:cubicBezTo>
                    <a:pt x="1797" y="643"/>
                    <a:pt x="1771" y="645"/>
                    <a:pt x="1771" y="645"/>
                  </a:cubicBezTo>
                  <a:cubicBezTo>
                    <a:pt x="1733" y="641"/>
                    <a:pt x="1733" y="641"/>
                    <a:pt x="1733" y="641"/>
                  </a:cubicBezTo>
                  <a:cubicBezTo>
                    <a:pt x="1733" y="641"/>
                    <a:pt x="1690" y="626"/>
                    <a:pt x="1701" y="625"/>
                  </a:cubicBezTo>
                  <a:cubicBezTo>
                    <a:pt x="1712" y="624"/>
                    <a:pt x="1735" y="623"/>
                    <a:pt x="1735" y="623"/>
                  </a:cubicBezTo>
                  <a:cubicBezTo>
                    <a:pt x="1748" y="627"/>
                    <a:pt x="1748" y="627"/>
                    <a:pt x="1748" y="627"/>
                  </a:cubicBezTo>
                  <a:cubicBezTo>
                    <a:pt x="1763" y="616"/>
                    <a:pt x="1763" y="616"/>
                    <a:pt x="1763" y="616"/>
                  </a:cubicBezTo>
                  <a:cubicBezTo>
                    <a:pt x="1763" y="616"/>
                    <a:pt x="1801" y="625"/>
                    <a:pt x="1801" y="614"/>
                  </a:cubicBezTo>
                  <a:cubicBezTo>
                    <a:pt x="1801" y="603"/>
                    <a:pt x="1803" y="588"/>
                    <a:pt x="1803" y="588"/>
                  </a:cubicBezTo>
                  <a:cubicBezTo>
                    <a:pt x="1819" y="583"/>
                    <a:pt x="1819" y="583"/>
                    <a:pt x="1819" y="583"/>
                  </a:cubicBezTo>
                  <a:cubicBezTo>
                    <a:pt x="1821" y="569"/>
                    <a:pt x="1821" y="569"/>
                    <a:pt x="1821" y="569"/>
                  </a:cubicBezTo>
                  <a:cubicBezTo>
                    <a:pt x="1810" y="567"/>
                    <a:pt x="1810" y="567"/>
                    <a:pt x="1810" y="567"/>
                  </a:cubicBezTo>
                  <a:cubicBezTo>
                    <a:pt x="1810" y="567"/>
                    <a:pt x="1826" y="547"/>
                    <a:pt x="1816" y="543"/>
                  </a:cubicBezTo>
                  <a:cubicBezTo>
                    <a:pt x="1806" y="539"/>
                    <a:pt x="1763" y="541"/>
                    <a:pt x="1761" y="525"/>
                  </a:cubicBezTo>
                  <a:cubicBezTo>
                    <a:pt x="1759" y="509"/>
                    <a:pt x="1761" y="490"/>
                    <a:pt x="1752" y="485"/>
                  </a:cubicBezTo>
                  <a:cubicBezTo>
                    <a:pt x="1743" y="480"/>
                    <a:pt x="1730" y="464"/>
                    <a:pt x="1730" y="464"/>
                  </a:cubicBezTo>
                  <a:cubicBezTo>
                    <a:pt x="1726" y="440"/>
                    <a:pt x="1726" y="440"/>
                    <a:pt x="1726" y="440"/>
                  </a:cubicBezTo>
                  <a:cubicBezTo>
                    <a:pt x="1684" y="417"/>
                    <a:pt x="1684" y="417"/>
                    <a:pt x="1684" y="417"/>
                  </a:cubicBezTo>
                  <a:cubicBezTo>
                    <a:pt x="1684" y="417"/>
                    <a:pt x="1711" y="396"/>
                    <a:pt x="1697" y="376"/>
                  </a:cubicBezTo>
                  <a:cubicBezTo>
                    <a:pt x="1683" y="356"/>
                    <a:pt x="1651" y="356"/>
                    <a:pt x="1651" y="356"/>
                  </a:cubicBezTo>
                  <a:cubicBezTo>
                    <a:pt x="1562" y="348"/>
                    <a:pt x="1562" y="348"/>
                    <a:pt x="1562" y="348"/>
                  </a:cubicBezTo>
                  <a:cubicBezTo>
                    <a:pt x="1555" y="368"/>
                    <a:pt x="1555" y="368"/>
                    <a:pt x="1555" y="368"/>
                  </a:cubicBezTo>
                  <a:cubicBezTo>
                    <a:pt x="1566" y="379"/>
                    <a:pt x="1566" y="379"/>
                    <a:pt x="1566" y="379"/>
                  </a:cubicBezTo>
                  <a:cubicBezTo>
                    <a:pt x="1561" y="402"/>
                    <a:pt x="1561" y="402"/>
                    <a:pt x="1561" y="402"/>
                  </a:cubicBezTo>
                  <a:cubicBezTo>
                    <a:pt x="1523" y="418"/>
                    <a:pt x="1523" y="418"/>
                    <a:pt x="1523" y="418"/>
                  </a:cubicBezTo>
                  <a:cubicBezTo>
                    <a:pt x="1517" y="437"/>
                    <a:pt x="1517" y="437"/>
                    <a:pt x="1517" y="437"/>
                  </a:cubicBezTo>
                  <a:cubicBezTo>
                    <a:pt x="1538" y="439"/>
                    <a:pt x="1538" y="439"/>
                    <a:pt x="1538" y="439"/>
                  </a:cubicBezTo>
                  <a:cubicBezTo>
                    <a:pt x="1561" y="474"/>
                    <a:pt x="1561" y="474"/>
                    <a:pt x="1561" y="474"/>
                  </a:cubicBezTo>
                  <a:cubicBezTo>
                    <a:pt x="1552" y="486"/>
                    <a:pt x="1552" y="486"/>
                    <a:pt x="1552" y="486"/>
                  </a:cubicBezTo>
                  <a:cubicBezTo>
                    <a:pt x="1571" y="501"/>
                    <a:pt x="1571" y="501"/>
                    <a:pt x="1571" y="501"/>
                  </a:cubicBezTo>
                  <a:cubicBezTo>
                    <a:pt x="1594" y="495"/>
                    <a:pt x="1594" y="495"/>
                    <a:pt x="1594" y="495"/>
                  </a:cubicBezTo>
                  <a:cubicBezTo>
                    <a:pt x="1594" y="495"/>
                    <a:pt x="1612" y="516"/>
                    <a:pt x="1625" y="519"/>
                  </a:cubicBezTo>
                  <a:cubicBezTo>
                    <a:pt x="1638" y="522"/>
                    <a:pt x="1651" y="522"/>
                    <a:pt x="1651" y="522"/>
                  </a:cubicBezTo>
                  <a:cubicBezTo>
                    <a:pt x="1648" y="559"/>
                    <a:pt x="1648" y="559"/>
                    <a:pt x="1648" y="559"/>
                  </a:cubicBezTo>
                  <a:cubicBezTo>
                    <a:pt x="1635" y="545"/>
                    <a:pt x="1635" y="545"/>
                    <a:pt x="1635" y="545"/>
                  </a:cubicBezTo>
                  <a:cubicBezTo>
                    <a:pt x="1625" y="551"/>
                    <a:pt x="1625" y="551"/>
                    <a:pt x="1625" y="551"/>
                  </a:cubicBezTo>
                  <a:cubicBezTo>
                    <a:pt x="1625" y="551"/>
                    <a:pt x="1572" y="524"/>
                    <a:pt x="1556" y="521"/>
                  </a:cubicBezTo>
                  <a:cubicBezTo>
                    <a:pt x="1540" y="518"/>
                    <a:pt x="1516" y="520"/>
                    <a:pt x="1516" y="520"/>
                  </a:cubicBezTo>
                  <a:cubicBezTo>
                    <a:pt x="1505" y="508"/>
                    <a:pt x="1505" y="508"/>
                    <a:pt x="1505" y="508"/>
                  </a:cubicBezTo>
                  <a:cubicBezTo>
                    <a:pt x="1499" y="522"/>
                    <a:pt x="1499" y="522"/>
                    <a:pt x="1499" y="522"/>
                  </a:cubicBezTo>
                  <a:cubicBezTo>
                    <a:pt x="1483" y="504"/>
                    <a:pt x="1483" y="504"/>
                    <a:pt x="1483" y="504"/>
                  </a:cubicBezTo>
                  <a:cubicBezTo>
                    <a:pt x="1483" y="504"/>
                    <a:pt x="1441" y="490"/>
                    <a:pt x="1434" y="490"/>
                  </a:cubicBezTo>
                  <a:cubicBezTo>
                    <a:pt x="1427" y="490"/>
                    <a:pt x="1406" y="491"/>
                    <a:pt x="1406" y="491"/>
                  </a:cubicBezTo>
                  <a:cubicBezTo>
                    <a:pt x="1406" y="491"/>
                    <a:pt x="1357" y="485"/>
                    <a:pt x="1353" y="488"/>
                  </a:cubicBezTo>
                  <a:cubicBezTo>
                    <a:pt x="1349" y="491"/>
                    <a:pt x="1340" y="491"/>
                    <a:pt x="1340" y="499"/>
                  </a:cubicBezTo>
                  <a:cubicBezTo>
                    <a:pt x="1340" y="507"/>
                    <a:pt x="1366" y="521"/>
                    <a:pt x="1366" y="521"/>
                  </a:cubicBezTo>
                  <a:cubicBezTo>
                    <a:pt x="1353" y="541"/>
                    <a:pt x="1353" y="541"/>
                    <a:pt x="1353" y="541"/>
                  </a:cubicBezTo>
                  <a:cubicBezTo>
                    <a:pt x="1344" y="534"/>
                    <a:pt x="1344" y="534"/>
                    <a:pt x="1344" y="534"/>
                  </a:cubicBezTo>
                  <a:cubicBezTo>
                    <a:pt x="1344" y="551"/>
                    <a:pt x="1344" y="551"/>
                    <a:pt x="1344" y="551"/>
                  </a:cubicBezTo>
                  <a:cubicBezTo>
                    <a:pt x="1344" y="551"/>
                    <a:pt x="1320" y="550"/>
                    <a:pt x="1320" y="545"/>
                  </a:cubicBezTo>
                  <a:cubicBezTo>
                    <a:pt x="1320" y="540"/>
                    <a:pt x="1325" y="518"/>
                    <a:pt x="1311" y="519"/>
                  </a:cubicBezTo>
                  <a:cubicBezTo>
                    <a:pt x="1297" y="520"/>
                    <a:pt x="1261" y="543"/>
                    <a:pt x="1256" y="546"/>
                  </a:cubicBezTo>
                  <a:cubicBezTo>
                    <a:pt x="1251" y="549"/>
                    <a:pt x="1240" y="535"/>
                    <a:pt x="1219" y="537"/>
                  </a:cubicBezTo>
                  <a:cubicBezTo>
                    <a:pt x="1198" y="539"/>
                    <a:pt x="1174" y="550"/>
                    <a:pt x="1172" y="558"/>
                  </a:cubicBezTo>
                  <a:cubicBezTo>
                    <a:pt x="1170" y="566"/>
                    <a:pt x="1123" y="562"/>
                    <a:pt x="1123" y="562"/>
                  </a:cubicBezTo>
                  <a:cubicBezTo>
                    <a:pt x="1131" y="545"/>
                    <a:pt x="1131" y="545"/>
                    <a:pt x="1131" y="545"/>
                  </a:cubicBezTo>
                  <a:cubicBezTo>
                    <a:pt x="1130" y="521"/>
                    <a:pt x="1130" y="521"/>
                    <a:pt x="1130" y="521"/>
                  </a:cubicBezTo>
                  <a:cubicBezTo>
                    <a:pt x="1130" y="521"/>
                    <a:pt x="1086" y="529"/>
                    <a:pt x="1086" y="538"/>
                  </a:cubicBezTo>
                  <a:cubicBezTo>
                    <a:pt x="1086" y="547"/>
                    <a:pt x="1092" y="554"/>
                    <a:pt x="1092" y="554"/>
                  </a:cubicBezTo>
                  <a:cubicBezTo>
                    <a:pt x="1074" y="555"/>
                    <a:pt x="1074" y="555"/>
                    <a:pt x="1074" y="555"/>
                  </a:cubicBezTo>
                  <a:cubicBezTo>
                    <a:pt x="1074" y="540"/>
                    <a:pt x="1074" y="540"/>
                    <a:pt x="1074" y="540"/>
                  </a:cubicBezTo>
                  <a:cubicBezTo>
                    <a:pt x="1060" y="545"/>
                    <a:pt x="1060" y="545"/>
                    <a:pt x="1060" y="545"/>
                  </a:cubicBezTo>
                  <a:cubicBezTo>
                    <a:pt x="1025" y="548"/>
                    <a:pt x="1025" y="548"/>
                    <a:pt x="1025" y="548"/>
                  </a:cubicBezTo>
                  <a:cubicBezTo>
                    <a:pt x="996" y="568"/>
                    <a:pt x="996" y="568"/>
                    <a:pt x="996" y="568"/>
                  </a:cubicBezTo>
                  <a:cubicBezTo>
                    <a:pt x="963" y="571"/>
                    <a:pt x="963" y="571"/>
                    <a:pt x="963" y="571"/>
                  </a:cubicBezTo>
                  <a:cubicBezTo>
                    <a:pt x="970" y="584"/>
                    <a:pt x="970" y="584"/>
                    <a:pt x="970" y="584"/>
                  </a:cubicBezTo>
                  <a:cubicBezTo>
                    <a:pt x="970" y="584"/>
                    <a:pt x="944" y="578"/>
                    <a:pt x="941" y="589"/>
                  </a:cubicBezTo>
                  <a:cubicBezTo>
                    <a:pt x="938" y="600"/>
                    <a:pt x="941" y="615"/>
                    <a:pt x="941" y="615"/>
                  </a:cubicBezTo>
                  <a:cubicBezTo>
                    <a:pt x="890" y="621"/>
                    <a:pt x="890" y="621"/>
                    <a:pt x="890" y="621"/>
                  </a:cubicBezTo>
                  <a:cubicBezTo>
                    <a:pt x="890" y="621"/>
                    <a:pt x="875" y="610"/>
                    <a:pt x="870" y="609"/>
                  </a:cubicBezTo>
                  <a:cubicBezTo>
                    <a:pt x="865" y="608"/>
                    <a:pt x="843" y="614"/>
                    <a:pt x="843" y="600"/>
                  </a:cubicBezTo>
                  <a:cubicBezTo>
                    <a:pt x="843" y="586"/>
                    <a:pt x="843" y="569"/>
                    <a:pt x="860" y="575"/>
                  </a:cubicBezTo>
                  <a:cubicBezTo>
                    <a:pt x="877" y="581"/>
                    <a:pt x="898" y="575"/>
                    <a:pt x="898" y="575"/>
                  </a:cubicBezTo>
                  <a:cubicBezTo>
                    <a:pt x="898" y="575"/>
                    <a:pt x="860" y="544"/>
                    <a:pt x="854" y="541"/>
                  </a:cubicBezTo>
                  <a:cubicBezTo>
                    <a:pt x="848" y="538"/>
                    <a:pt x="773" y="539"/>
                    <a:pt x="773" y="539"/>
                  </a:cubicBezTo>
                  <a:cubicBezTo>
                    <a:pt x="779" y="548"/>
                    <a:pt x="779" y="548"/>
                    <a:pt x="779" y="548"/>
                  </a:cubicBezTo>
                  <a:cubicBezTo>
                    <a:pt x="779" y="548"/>
                    <a:pt x="810" y="543"/>
                    <a:pt x="805" y="563"/>
                  </a:cubicBezTo>
                  <a:cubicBezTo>
                    <a:pt x="800" y="583"/>
                    <a:pt x="790" y="612"/>
                    <a:pt x="797" y="612"/>
                  </a:cubicBezTo>
                  <a:cubicBezTo>
                    <a:pt x="804" y="612"/>
                    <a:pt x="830" y="620"/>
                    <a:pt x="830" y="620"/>
                  </a:cubicBezTo>
                  <a:cubicBezTo>
                    <a:pt x="828" y="645"/>
                    <a:pt x="828" y="645"/>
                    <a:pt x="828" y="645"/>
                  </a:cubicBezTo>
                  <a:cubicBezTo>
                    <a:pt x="834" y="664"/>
                    <a:pt x="834" y="664"/>
                    <a:pt x="834" y="664"/>
                  </a:cubicBezTo>
                  <a:cubicBezTo>
                    <a:pt x="813" y="650"/>
                    <a:pt x="813" y="650"/>
                    <a:pt x="813" y="650"/>
                  </a:cubicBezTo>
                  <a:cubicBezTo>
                    <a:pt x="798" y="666"/>
                    <a:pt x="798" y="666"/>
                    <a:pt x="798" y="666"/>
                  </a:cubicBezTo>
                  <a:cubicBezTo>
                    <a:pt x="795" y="644"/>
                    <a:pt x="795" y="644"/>
                    <a:pt x="795" y="644"/>
                  </a:cubicBezTo>
                  <a:cubicBezTo>
                    <a:pt x="749" y="632"/>
                    <a:pt x="749" y="632"/>
                    <a:pt x="749" y="632"/>
                  </a:cubicBezTo>
                  <a:cubicBezTo>
                    <a:pt x="729" y="657"/>
                    <a:pt x="729" y="657"/>
                    <a:pt x="729" y="657"/>
                  </a:cubicBezTo>
                  <a:cubicBezTo>
                    <a:pt x="711" y="658"/>
                    <a:pt x="711" y="658"/>
                    <a:pt x="711" y="658"/>
                  </a:cubicBezTo>
                  <a:cubicBezTo>
                    <a:pt x="711" y="658"/>
                    <a:pt x="705" y="669"/>
                    <a:pt x="695" y="673"/>
                  </a:cubicBezTo>
                  <a:cubicBezTo>
                    <a:pt x="685" y="677"/>
                    <a:pt x="665" y="681"/>
                    <a:pt x="673" y="688"/>
                  </a:cubicBezTo>
                  <a:cubicBezTo>
                    <a:pt x="681" y="695"/>
                    <a:pt x="713" y="718"/>
                    <a:pt x="713" y="718"/>
                  </a:cubicBezTo>
                  <a:cubicBezTo>
                    <a:pt x="725" y="735"/>
                    <a:pt x="725" y="735"/>
                    <a:pt x="725" y="735"/>
                  </a:cubicBezTo>
                  <a:cubicBezTo>
                    <a:pt x="705" y="726"/>
                    <a:pt x="705" y="726"/>
                    <a:pt x="705" y="726"/>
                  </a:cubicBezTo>
                  <a:cubicBezTo>
                    <a:pt x="705" y="726"/>
                    <a:pt x="687" y="736"/>
                    <a:pt x="674" y="730"/>
                  </a:cubicBezTo>
                  <a:cubicBezTo>
                    <a:pt x="661" y="724"/>
                    <a:pt x="618" y="717"/>
                    <a:pt x="618" y="717"/>
                  </a:cubicBezTo>
                  <a:cubicBezTo>
                    <a:pt x="618" y="717"/>
                    <a:pt x="612" y="693"/>
                    <a:pt x="597" y="699"/>
                  </a:cubicBezTo>
                  <a:cubicBezTo>
                    <a:pt x="582" y="705"/>
                    <a:pt x="574" y="711"/>
                    <a:pt x="574" y="711"/>
                  </a:cubicBezTo>
                  <a:cubicBezTo>
                    <a:pt x="562" y="712"/>
                    <a:pt x="562" y="712"/>
                    <a:pt x="562" y="712"/>
                  </a:cubicBezTo>
                  <a:cubicBezTo>
                    <a:pt x="592" y="738"/>
                    <a:pt x="592" y="738"/>
                    <a:pt x="592" y="738"/>
                  </a:cubicBezTo>
                  <a:cubicBezTo>
                    <a:pt x="592" y="738"/>
                    <a:pt x="632" y="739"/>
                    <a:pt x="632" y="746"/>
                  </a:cubicBezTo>
                  <a:cubicBezTo>
                    <a:pt x="632" y="753"/>
                    <a:pt x="614" y="764"/>
                    <a:pt x="614" y="764"/>
                  </a:cubicBezTo>
                  <a:cubicBezTo>
                    <a:pt x="572" y="754"/>
                    <a:pt x="572" y="754"/>
                    <a:pt x="572" y="754"/>
                  </a:cubicBezTo>
                  <a:cubicBezTo>
                    <a:pt x="572" y="754"/>
                    <a:pt x="557" y="740"/>
                    <a:pt x="547" y="739"/>
                  </a:cubicBezTo>
                  <a:cubicBezTo>
                    <a:pt x="537" y="738"/>
                    <a:pt x="511" y="749"/>
                    <a:pt x="509" y="735"/>
                  </a:cubicBezTo>
                  <a:cubicBezTo>
                    <a:pt x="507" y="721"/>
                    <a:pt x="508" y="705"/>
                    <a:pt x="508" y="705"/>
                  </a:cubicBezTo>
                  <a:cubicBezTo>
                    <a:pt x="495" y="697"/>
                    <a:pt x="495" y="697"/>
                    <a:pt x="495" y="697"/>
                  </a:cubicBezTo>
                  <a:cubicBezTo>
                    <a:pt x="495" y="697"/>
                    <a:pt x="516" y="679"/>
                    <a:pt x="508" y="670"/>
                  </a:cubicBezTo>
                  <a:cubicBezTo>
                    <a:pt x="500" y="661"/>
                    <a:pt x="444" y="646"/>
                    <a:pt x="444" y="646"/>
                  </a:cubicBezTo>
                  <a:cubicBezTo>
                    <a:pt x="424" y="631"/>
                    <a:pt x="424" y="631"/>
                    <a:pt x="424" y="631"/>
                  </a:cubicBezTo>
                  <a:cubicBezTo>
                    <a:pt x="408" y="620"/>
                    <a:pt x="408" y="620"/>
                    <a:pt x="408" y="620"/>
                  </a:cubicBezTo>
                  <a:cubicBezTo>
                    <a:pt x="398" y="610"/>
                    <a:pt x="398" y="610"/>
                    <a:pt x="398" y="610"/>
                  </a:cubicBezTo>
                  <a:cubicBezTo>
                    <a:pt x="424" y="609"/>
                    <a:pt x="424" y="609"/>
                    <a:pt x="424" y="609"/>
                  </a:cubicBezTo>
                  <a:cubicBezTo>
                    <a:pt x="424" y="609"/>
                    <a:pt x="419" y="618"/>
                    <a:pt x="438" y="622"/>
                  </a:cubicBezTo>
                  <a:cubicBezTo>
                    <a:pt x="457" y="626"/>
                    <a:pt x="482" y="623"/>
                    <a:pt x="482" y="623"/>
                  </a:cubicBezTo>
                  <a:cubicBezTo>
                    <a:pt x="482" y="623"/>
                    <a:pt x="498" y="641"/>
                    <a:pt x="510" y="643"/>
                  </a:cubicBezTo>
                  <a:cubicBezTo>
                    <a:pt x="522" y="645"/>
                    <a:pt x="576" y="650"/>
                    <a:pt x="576" y="650"/>
                  </a:cubicBezTo>
                  <a:cubicBezTo>
                    <a:pt x="576" y="650"/>
                    <a:pt x="613" y="666"/>
                    <a:pt x="656" y="655"/>
                  </a:cubicBezTo>
                  <a:cubicBezTo>
                    <a:pt x="699" y="644"/>
                    <a:pt x="741" y="629"/>
                    <a:pt x="719" y="609"/>
                  </a:cubicBezTo>
                  <a:cubicBezTo>
                    <a:pt x="697" y="589"/>
                    <a:pt x="696" y="576"/>
                    <a:pt x="667" y="570"/>
                  </a:cubicBezTo>
                  <a:cubicBezTo>
                    <a:pt x="638" y="564"/>
                    <a:pt x="598" y="549"/>
                    <a:pt x="579" y="542"/>
                  </a:cubicBezTo>
                  <a:cubicBezTo>
                    <a:pt x="560" y="535"/>
                    <a:pt x="526" y="518"/>
                    <a:pt x="506" y="517"/>
                  </a:cubicBezTo>
                  <a:cubicBezTo>
                    <a:pt x="486" y="516"/>
                    <a:pt x="467" y="516"/>
                    <a:pt x="455" y="516"/>
                  </a:cubicBezTo>
                  <a:cubicBezTo>
                    <a:pt x="443" y="516"/>
                    <a:pt x="421" y="516"/>
                    <a:pt x="421" y="516"/>
                  </a:cubicBezTo>
                  <a:cubicBezTo>
                    <a:pt x="413" y="506"/>
                    <a:pt x="413" y="506"/>
                    <a:pt x="413" y="506"/>
                  </a:cubicBezTo>
                  <a:cubicBezTo>
                    <a:pt x="394" y="507"/>
                    <a:pt x="394" y="507"/>
                    <a:pt x="394" y="507"/>
                  </a:cubicBezTo>
                  <a:cubicBezTo>
                    <a:pt x="373" y="498"/>
                    <a:pt x="373" y="498"/>
                    <a:pt x="373" y="498"/>
                  </a:cubicBezTo>
                  <a:cubicBezTo>
                    <a:pt x="394" y="493"/>
                    <a:pt x="394" y="493"/>
                    <a:pt x="394" y="493"/>
                  </a:cubicBezTo>
                  <a:cubicBezTo>
                    <a:pt x="406" y="485"/>
                    <a:pt x="406" y="485"/>
                    <a:pt x="406" y="485"/>
                  </a:cubicBezTo>
                  <a:cubicBezTo>
                    <a:pt x="406" y="485"/>
                    <a:pt x="363" y="469"/>
                    <a:pt x="357" y="475"/>
                  </a:cubicBezTo>
                  <a:cubicBezTo>
                    <a:pt x="351" y="481"/>
                    <a:pt x="348" y="490"/>
                    <a:pt x="348" y="490"/>
                  </a:cubicBezTo>
                  <a:cubicBezTo>
                    <a:pt x="335" y="490"/>
                    <a:pt x="335" y="490"/>
                    <a:pt x="335" y="490"/>
                  </a:cubicBezTo>
                  <a:cubicBezTo>
                    <a:pt x="333" y="493"/>
                    <a:pt x="329" y="497"/>
                    <a:pt x="321" y="498"/>
                  </a:cubicBezTo>
                  <a:cubicBezTo>
                    <a:pt x="303" y="501"/>
                    <a:pt x="304" y="498"/>
                    <a:pt x="304" y="498"/>
                  </a:cubicBezTo>
                  <a:cubicBezTo>
                    <a:pt x="300" y="506"/>
                    <a:pt x="300" y="506"/>
                    <a:pt x="300" y="506"/>
                  </a:cubicBezTo>
                  <a:cubicBezTo>
                    <a:pt x="285" y="507"/>
                    <a:pt x="285" y="507"/>
                    <a:pt x="285" y="507"/>
                  </a:cubicBezTo>
                  <a:cubicBezTo>
                    <a:pt x="285" y="507"/>
                    <a:pt x="284" y="521"/>
                    <a:pt x="275" y="522"/>
                  </a:cubicBezTo>
                  <a:cubicBezTo>
                    <a:pt x="270" y="522"/>
                    <a:pt x="266" y="521"/>
                    <a:pt x="262" y="519"/>
                  </a:cubicBezTo>
                  <a:cubicBezTo>
                    <a:pt x="261" y="528"/>
                    <a:pt x="261" y="528"/>
                    <a:pt x="261" y="528"/>
                  </a:cubicBezTo>
                  <a:cubicBezTo>
                    <a:pt x="261" y="528"/>
                    <a:pt x="265" y="534"/>
                    <a:pt x="266" y="537"/>
                  </a:cubicBezTo>
                  <a:cubicBezTo>
                    <a:pt x="267" y="540"/>
                    <a:pt x="254" y="542"/>
                    <a:pt x="254" y="542"/>
                  </a:cubicBezTo>
                  <a:cubicBezTo>
                    <a:pt x="254" y="542"/>
                    <a:pt x="257" y="545"/>
                    <a:pt x="259" y="557"/>
                  </a:cubicBezTo>
                  <a:cubicBezTo>
                    <a:pt x="261" y="569"/>
                    <a:pt x="275" y="561"/>
                    <a:pt x="281" y="561"/>
                  </a:cubicBezTo>
                  <a:cubicBezTo>
                    <a:pt x="287" y="561"/>
                    <a:pt x="292" y="568"/>
                    <a:pt x="296" y="573"/>
                  </a:cubicBezTo>
                  <a:cubicBezTo>
                    <a:pt x="300" y="578"/>
                    <a:pt x="306" y="581"/>
                    <a:pt x="315" y="591"/>
                  </a:cubicBezTo>
                  <a:cubicBezTo>
                    <a:pt x="324" y="601"/>
                    <a:pt x="300" y="603"/>
                    <a:pt x="300" y="608"/>
                  </a:cubicBezTo>
                  <a:cubicBezTo>
                    <a:pt x="300" y="613"/>
                    <a:pt x="283" y="620"/>
                    <a:pt x="283" y="620"/>
                  </a:cubicBezTo>
                  <a:cubicBezTo>
                    <a:pt x="296" y="631"/>
                    <a:pt x="296" y="631"/>
                    <a:pt x="296" y="631"/>
                  </a:cubicBezTo>
                  <a:cubicBezTo>
                    <a:pt x="296" y="631"/>
                    <a:pt x="337" y="663"/>
                    <a:pt x="343" y="673"/>
                  </a:cubicBezTo>
                  <a:cubicBezTo>
                    <a:pt x="349" y="683"/>
                    <a:pt x="321" y="677"/>
                    <a:pt x="321" y="677"/>
                  </a:cubicBezTo>
                  <a:cubicBezTo>
                    <a:pt x="316" y="697"/>
                    <a:pt x="316" y="697"/>
                    <a:pt x="316" y="697"/>
                  </a:cubicBezTo>
                  <a:cubicBezTo>
                    <a:pt x="323" y="703"/>
                    <a:pt x="323" y="703"/>
                    <a:pt x="323" y="703"/>
                  </a:cubicBezTo>
                  <a:cubicBezTo>
                    <a:pt x="323" y="713"/>
                    <a:pt x="323" y="713"/>
                    <a:pt x="323" y="713"/>
                  </a:cubicBezTo>
                  <a:cubicBezTo>
                    <a:pt x="323" y="713"/>
                    <a:pt x="342" y="718"/>
                    <a:pt x="343" y="722"/>
                  </a:cubicBezTo>
                  <a:cubicBezTo>
                    <a:pt x="344" y="726"/>
                    <a:pt x="337" y="737"/>
                    <a:pt x="337" y="737"/>
                  </a:cubicBezTo>
                  <a:cubicBezTo>
                    <a:pt x="352" y="740"/>
                    <a:pt x="352" y="740"/>
                    <a:pt x="352" y="740"/>
                  </a:cubicBezTo>
                  <a:cubicBezTo>
                    <a:pt x="352" y="740"/>
                    <a:pt x="363" y="748"/>
                    <a:pt x="364" y="752"/>
                  </a:cubicBezTo>
                  <a:cubicBezTo>
                    <a:pt x="365" y="756"/>
                    <a:pt x="344" y="770"/>
                    <a:pt x="344" y="770"/>
                  </a:cubicBezTo>
                  <a:cubicBezTo>
                    <a:pt x="383" y="788"/>
                    <a:pt x="383" y="788"/>
                    <a:pt x="383" y="788"/>
                  </a:cubicBezTo>
                  <a:cubicBezTo>
                    <a:pt x="383" y="788"/>
                    <a:pt x="406" y="807"/>
                    <a:pt x="405" y="815"/>
                  </a:cubicBezTo>
                  <a:cubicBezTo>
                    <a:pt x="404" y="823"/>
                    <a:pt x="395" y="830"/>
                    <a:pt x="391" y="837"/>
                  </a:cubicBezTo>
                  <a:cubicBezTo>
                    <a:pt x="387" y="844"/>
                    <a:pt x="366" y="856"/>
                    <a:pt x="366" y="856"/>
                  </a:cubicBezTo>
                  <a:cubicBezTo>
                    <a:pt x="366" y="856"/>
                    <a:pt x="338" y="882"/>
                    <a:pt x="334" y="887"/>
                  </a:cubicBezTo>
                  <a:cubicBezTo>
                    <a:pt x="330" y="892"/>
                    <a:pt x="289" y="916"/>
                    <a:pt x="289" y="916"/>
                  </a:cubicBezTo>
                  <a:cubicBezTo>
                    <a:pt x="293" y="923"/>
                    <a:pt x="293" y="923"/>
                    <a:pt x="293" y="923"/>
                  </a:cubicBezTo>
                  <a:cubicBezTo>
                    <a:pt x="313" y="912"/>
                    <a:pt x="313" y="912"/>
                    <a:pt x="313" y="912"/>
                  </a:cubicBezTo>
                  <a:cubicBezTo>
                    <a:pt x="315" y="923"/>
                    <a:pt x="315" y="923"/>
                    <a:pt x="315" y="923"/>
                  </a:cubicBezTo>
                  <a:cubicBezTo>
                    <a:pt x="315" y="923"/>
                    <a:pt x="328" y="936"/>
                    <a:pt x="334" y="939"/>
                  </a:cubicBezTo>
                  <a:cubicBezTo>
                    <a:pt x="340" y="942"/>
                    <a:pt x="367" y="942"/>
                    <a:pt x="367" y="942"/>
                  </a:cubicBezTo>
                  <a:cubicBezTo>
                    <a:pt x="376" y="954"/>
                    <a:pt x="376" y="954"/>
                    <a:pt x="376" y="954"/>
                  </a:cubicBezTo>
                  <a:cubicBezTo>
                    <a:pt x="376" y="954"/>
                    <a:pt x="337" y="945"/>
                    <a:pt x="335" y="951"/>
                  </a:cubicBezTo>
                  <a:cubicBezTo>
                    <a:pt x="333" y="957"/>
                    <a:pt x="333" y="961"/>
                    <a:pt x="333" y="961"/>
                  </a:cubicBezTo>
                  <a:cubicBezTo>
                    <a:pt x="307" y="962"/>
                    <a:pt x="307" y="962"/>
                    <a:pt x="307" y="962"/>
                  </a:cubicBezTo>
                  <a:cubicBezTo>
                    <a:pt x="303" y="980"/>
                    <a:pt x="303" y="980"/>
                    <a:pt x="303" y="980"/>
                  </a:cubicBezTo>
                  <a:cubicBezTo>
                    <a:pt x="303" y="980"/>
                    <a:pt x="300" y="979"/>
                    <a:pt x="295" y="978"/>
                  </a:cubicBezTo>
                  <a:cubicBezTo>
                    <a:pt x="292" y="988"/>
                    <a:pt x="292" y="988"/>
                    <a:pt x="292" y="988"/>
                  </a:cubicBezTo>
                  <a:cubicBezTo>
                    <a:pt x="295" y="997"/>
                    <a:pt x="295" y="997"/>
                    <a:pt x="295" y="997"/>
                  </a:cubicBezTo>
                  <a:cubicBezTo>
                    <a:pt x="295" y="997"/>
                    <a:pt x="288" y="1001"/>
                    <a:pt x="284" y="1003"/>
                  </a:cubicBezTo>
                  <a:cubicBezTo>
                    <a:pt x="280" y="1005"/>
                    <a:pt x="281" y="1019"/>
                    <a:pt x="281" y="1019"/>
                  </a:cubicBezTo>
                  <a:cubicBezTo>
                    <a:pt x="290" y="1023"/>
                    <a:pt x="290" y="1023"/>
                    <a:pt x="290" y="1023"/>
                  </a:cubicBezTo>
                  <a:cubicBezTo>
                    <a:pt x="285" y="1041"/>
                    <a:pt x="285" y="1041"/>
                    <a:pt x="285" y="1041"/>
                  </a:cubicBezTo>
                  <a:cubicBezTo>
                    <a:pt x="292" y="1043"/>
                    <a:pt x="292" y="1043"/>
                    <a:pt x="292" y="1043"/>
                  </a:cubicBezTo>
                  <a:cubicBezTo>
                    <a:pt x="301" y="1055"/>
                    <a:pt x="301" y="1055"/>
                    <a:pt x="301" y="1055"/>
                  </a:cubicBezTo>
                  <a:cubicBezTo>
                    <a:pt x="288" y="1064"/>
                    <a:pt x="288" y="1064"/>
                    <a:pt x="288" y="1064"/>
                  </a:cubicBezTo>
                  <a:cubicBezTo>
                    <a:pt x="288" y="1072"/>
                    <a:pt x="288" y="1072"/>
                    <a:pt x="288" y="1072"/>
                  </a:cubicBezTo>
                  <a:cubicBezTo>
                    <a:pt x="288" y="1072"/>
                    <a:pt x="309" y="1082"/>
                    <a:pt x="310" y="1087"/>
                  </a:cubicBezTo>
                  <a:cubicBezTo>
                    <a:pt x="311" y="1092"/>
                    <a:pt x="298" y="1094"/>
                    <a:pt x="298" y="1094"/>
                  </a:cubicBezTo>
                  <a:cubicBezTo>
                    <a:pt x="297" y="1103"/>
                    <a:pt x="297" y="1103"/>
                    <a:pt x="297" y="1103"/>
                  </a:cubicBezTo>
                  <a:cubicBezTo>
                    <a:pt x="310" y="1107"/>
                    <a:pt x="310" y="1107"/>
                    <a:pt x="310" y="1107"/>
                  </a:cubicBezTo>
                  <a:cubicBezTo>
                    <a:pt x="310" y="1107"/>
                    <a:pt x="315" y="1118"/>
                    <a:pt x="322" y="1124"/>
                  </a:cubicBezTo>
                  <a:cubicBezTo>
                    <a:pt x="328" y="1129"/>
                    <a:pt x="328" y="1139"/>
                    <a:pt x="328" y="1143"/>
                  </a:cubicBezTo>
                  <a:cubicBezTo>
                    <a:pt x="332" y="1144"/>
                    <a:pt x="336" y="1144"/>
                    <a:pt x="339" y="1145"/>
                  </a:cubicBezTo>
                  <a:cubicBezTo>
                    <a:pt x="347" y="1146"/>
                    <a:pt x="348" y="1153"/>
                    <a:pt x="348" y="1153"/>
                  </a:cubicBezTo>
                  <a:cubicBezTo>
                    <a:pt x="354" y="1147"/>
                    <a:pt x="354" y="1147"/>
                    <a:pt x="354" y="1147"/>
                  </a:cubicBezTo>
                  <a:cubicBezTo>
                    <a:pt x="380" y="1153"/>
                    <a:pt x="380" y="1153"/>
                    <a:pt x="380" y="1153"/>
                  </a:cubicBezTo>
                  <a:cubicBezTo>
                    <a:pt x="382" y="1163"/>
                    <a:pt x="382" y="1163"/>
                    <a:pt x="382" y="1163"/>
                  </a:cubicBezTo>
                  <a:cubicBezTo>
                    <a:pt x="404" y="1151"/>
                    <a:pt x="404" y="1151"/>
                    <a:pt x="404" y="1151"/>
                  </a:cubicBezTo>
                  <a:cubicBezTo>
                    <a:pt x="404" y="1151"/>
                    <a:pt x="426" y="1162"/>
                    <a:pt x="437" y="1167"/>
                  </a:cubicBezTo>
                  <a:cubicBezTo>
                    <a:pt x="448" y="1172"/>
                    <a:pt x="434" y="1186"/>
                    <a:pt x="434" y="1186"/>
                  </a:cubicBezTo>
                  <a:cubicBezTo>
                    <a:pt x="442" y="1196"/>
                    <a:pt x="442" y="1196"/>
                    <a:pt x="442" y="1196"/>
                  </a:cubicBezTo>
                  <a:cubicBezTo>
                    <a:pt x="438" y="1208"/>
                    <a:pt x="438" y="1208"/>
                    <a:pt x="438" y="1208"/>
                  </a:cubicBezTo>
                  <a:cubicBezTo>
                    <a:pt x="438" y="1208"/>
                    <a:pt x="443" y="1213"/>
                    <a:pt x="451" y="1215"/>
                  </a:cubicBezTo>
                  <a:cubicBezTo>
                    <a:pt x="459" y="1217"/>
                    <a:pt x="462" y="1238"/>
                    <a:pt x="462" y="1238"/>
                  </a:cubicBezTo>
                  <a:cubicBezTo>
                    <a:pt x="482" y="1245"/>
                    <a:pt x="482" y="1245"/>
                    <a:pt x="482" y="1245"/>
                  </a:cubicBezTo>
                  <a:cubicBezTo>
                    <a:pt x="484" y="1260"/>
                    <a:pt x="484" y="1260"/>
                    <a:pt x="484" y="1260"/>
                  </a:cubicBezTo>
                  <a:cubicBezTo>
                    <a:pt x="484" y="1260"/>
                    <a:pt x="494" y="1258"/>
                    <a:pt x="507" y="1261"/>
                  </a:cubicBezTo>
                  <a:cubicBezTo>
                    <a:pt x="520" y="1264"/>
                    <a:pt x="512" y="1273"/>
                    <a:pt x="512" y="1273"/>
                  </a:cubicBezTo>
                  <a:cubicBezTo>
                    <a:pt x="526" y="1281"/>
                    <a:pt x="526" y="1281"/>
                    <a:pt x="526" y="1281"/>
                  </a:cubicBezTo>
                  <a:cubicBezTo>
                    <a:pt x="526" y="1281"/>
                    <a:pt x="517" y="1290"/>
                    <a:pt x="509" y="1297"/>
                  </a:cubicBezTo>
                  <a:cubicBezTo>
                    <a:pt x="501" y="1304"/>
                    <a:pt x="488" y="1296"/>
                    <a:pt x="488" y="1296"/>
                  </a:cubicBezTo>
                  <a:cubicBezTo>
                    <a:pt x="488" y="1296"/>
                    <a:pt x="486" y="1290"/>
                    <a:pt x="472" y="1293"/>
                  </a:cubicBezTo>
                  <a:cubicBezTo>
                    <a:pt x="458" y="1296"/>
                    <a:pt x="485" y="1318"/>
                    <a:pt x="485" y="1318"/>
                  </a:cubicBezTo>
                  <a:cubicBezTo>
                    <a:pt x="485" y="1318"/>
                    <a:pt x="485" y="1332"/>
                    <a:pt x="488" y="1333"/>
                  </a:cubicBezTo>
                  <a:cubicBezTo>
                    <a:pt x="490" y="1333"/>
                    <a:pt x="490" y="1343"/>
                    <a:pt x="491" y="1351"/>
                  </a:cubicBezTo>
                  <a:cubicBezTo>
                    <a:pt x="486" y="1351"/>
                    <a:pt x="481" y="1350"/>
                    <a:pt x="477" y="1349"/>
                  </a:cubicBezTo>
                  <a:cubicBezTo>
                    <a:pt x="490" y="1351"/>
                    <a:pt x="510" y="1355"/>
                    <a:pt x="516" y="1352"/>
                  </a:cubicBezTo>
                  <a:cubicBezTo>
                    <a:pt x="524" y="1348"/>
                    <a:pt x="520" y="1339"/>
                    <a:pt x="520" y="1339"/>
                  </a:cubicBezTo>
                  <a:cubicBezTo>
                    <a:pt x="538" y="1342"/>
                    <a:pt x="538" y="1342"/>
                    <a:pt x="538" y="1342"/>
                  </a:cubicBezTo>
                  <a:cubicBezTo>
                    <a:pt x="549" y="1337"/>
                    <a:pt x="549" y="1337"/>
                    <a:pt x="549" y="1337"/>
                  </a:cubicBezTo>
                  <a:cubicBezTo>
                    <a:pt x="579" y="1336"/>
                    <a:pt x="579" y="1336"/>
                    <a:pt x="579" y="1336"/>
                  </a:cubicBezTo>
                  <a:cubicBezTo>
                    <a:pt x="585" y="1350"/>
                    <a:pt x="585" y="1350"/>
                    <a:pt x="585" y="1350"/>
                  </a:cubicBezTo>
                  <a:cubicBezTo>
                    <a:pt x="585" y="1350"/>
                    <a:pt x="606" y="1356"/>
                    <a:pt x="604" y="1362"/>
                  </a:cubicBezTo>
                  <a:cubicBezTo>
                    <a:pt x="602" y="1368"/>
                    <a:pt x="594" y="1369"/>
                    <a:pt x="594" y="1369"/>
                  </a:cubicBezTo>
                  <a:cubicBezTo>
                    <a:pt x="599" y="1381"/>
                    <a:pt x="599" y="1381"/>
                    <a:pt x="599" y="1381"/>
                  </a:cubicBezTo>
                  <a:cubicBezTo>
                    <a:pt x="600" y="1392"/>
                    <a:pt x="600" y="1392"/>
                    <a:pt x="600" y="1392"/>
                  </a:cubicBezTo>
                  <a:cubicBezTo>
                    <a:pt x="623" y="1394"/>
                    <a:pt x="623" y="1394"/>
                    <a:pt x="623" y="1394"/>
                  </a:cubicBezTo>
                  <a:cubicBezTo>
                    <a:pt x="651" y="1406"/>
                    <a:pt x="651" y="1406"/>
                    <a:pt x="651" y="1406"/>
                  </a:cubicBezTo>
                  <a:cubicBezTo>
                    <a:pt x="658" y="1435"/>
                    <a:pt x="658" y="1435"/>
                    <a:pt x="658" y="1435"/>
                  </a:cubicBezTo>
                  <a:cubicBezTo>
                    <a:pt x="662" y="1438"/>
                    <a:pt x="662" y="1438"/>
                    <a:pt x="662" y="1438"/>
                  </a:cubicBezTo>
                  <a:cubicBezTo>
                    <a:pt x="680" y="1434"/>
                    <a:pt x="680" y="1434"/>
                    <a:pt x="680" y="1434"/>
                  </a:cubicBezTo>
                  <a:cubicBezTo>
                    <a:pt x="680" y="1434"/>
                    <a:pt x="688" y="1438"/>
                    <a:pt x="696" y="1442"/>
                  </a:cubicBezTo>
                  <a:cubicBezTo>
                    <a:pt x="704" y="1446"/>
                    <a:pt x="702" y="1441"/>
                    <a:pt x="713" y="1440"/>
                  </a:cubicBezTo>
                  <a:cubicBezTo>
                    <a:pt x="724" y="1439"/>
                    <a:pt x="733" y="1445"/>
                    <a:pt x="733" y="1445"/>
                  </a:cubicBezTo>
                  <a:cubicBezTo>
                    <a:pt x="733" y="1445"/>
                    <a:pt x="729" y="1435"/>
                    <a:pt x="738" y="1436"/>
                  </a:cubicBezTo>
                  <a:cubicBezTo>
                    <a:pt x="747" y="1437"/>
                    <a:pt x="749" y="1448"/>
                    <a:pt x="755" y="1452"/>
                  </a:cubicBezTo>
                  <a:cubicBezTo>
                    <a:pt x="761" y="1456"/>
                    <a:pt x="764" y="1461"/>
                    <a:pt x="764" y="1461"/>
                  </a:cubicBezTo>
                  <a:cubicBezTo>
                    <a:pt x="764" y="1461"/>
                    <a:pt x="776" y="1455"/>
                    <a:pt x="780" y="1455"/>
                  </a:cubicBezTo>
                  <a:cubicBezTo>
                    <a:pt x="784" y="1455"/>
                    <a:pt x="797" y="1464"/>
                    <a:pt x="797" y="1464"/>
                  </a:cubicBezTo>
                  <a:cubicBezTo>
                    <a:pt x="797" y="1464"/>
                    <a:pt x="811" y="1462"/>
                    <a:pt x="818" y="1464"/>
                  </a:cubicBezTo>
                  <a:cubicBezTo>
                    <a:pt x="825" y="1466"/>
                    <a:pt x="827" y="1472"/>
                    <a:pt x="827" y="1472"/>
                  </a:cubicBezTo>
                  <a:cubicBezTo>
                    <a:pt x="840" y="1481"/>
                    <a:pt x="840" y="1481"/>
                    <a:pt x="840" y="1481"/>
                  </a:cubicBezTo>
                  <a:cubicBezTo>
                    <a:pt x="840" y="1481"/>
                    <a:pt x="857" y="1475"/>
                    <a:pt x="858" y="1485"/>
                  </a:cubicBezTo>
                  <a:cubicBezTo>
                    <a:pt x="859" y="1495"/>
                    <a:pt x="860" y="1502"/>
                    <a:pt x="860" y="1502"/>
                  </a:cubicBezTo>
                  <a:cubicBezTo>
                    <a:pt x="846" y="1509"/>
                    <a:pt x="846" y="1509"/>
                    <a:pt x="846" y="1509"/>
                  </a:cubicBezTo>
                  <a:cubicBezTo>
                    <a:pt x="846" y="1509"/>
                    <a:pt x="863" y="1512"/>
                    <a:pt x="862" y="1518"/>
                  </a:cubicBezTo>
                  <a:cubicBezTo>
                    <a:pt x="861" y="1524"/>
                    <a:pt x="844" y="1522"/>
                    <a:pt x="845" y="1525"/>
                  </a:cubicBezTo>
                  <a:cubicBezTo>
                    <a:pt x="846" y="1528"/>
                    <a:pt x="858" y="1536"/>
                    <a:pt x="859" y="1542"/>
                  </a:cubicBezTo>
                  <a:cubicBezTo>
                    <a:pt x="860" y="1548"/>
                    <a:pt x="868" y="1561"/>
                    <a:pt x="856" y="1565"/>
                  </a:cubicBezTo>
                  <a:cubicBezTo>
                    <a:pt x="844" y="1569"/>
                    <a:pt x="821" y="1567"/>
                    <a:pt x="821" y="1567"/>
                  </a:cubicBezTo>
                  <a:cubicBezTo>
                    <a:pt x="821" y="1567"/>
                    <a:pt x="813" y="1576"/>
                    <a:pt x="810" y="1580"/>
                  </a:cubicBezTo>
                  <a:cubicBezTo>
                    <a:pt x="807" y="1584"/>
                    <a:pt x="794" y="1584"/>
                    <a:pt x="794" y="1584"/>
                  </a:cubicBezTo>
                  <a:cubicBezTo>
                    <a:pt x="797" y="1609"/>
                    <a:pt x="797" y="1609"/>
                    <a:pt x="797" y="1609"/>
                  </a:cubicBezTo>
                  <a:cubicBezTo>
                    <a:pt x="796" y="1610"/>
                    <a:pt x="795" y="1610"/>
                    <a:pt x="795" y="1610"/>
                  </a:cubicBezTo>
                  <a:cubicBezTo>
                    <a:pt x="796" y="1610"/>
                    <a:pt x="797" y="1609"/>
                    <a:pt x="799" y="1609"/>
                  </a:cubicBezTo>
                  <a:cubicBezTo>
                    <a:pt x="810" y="1603"/>
                    <a:pt x="839" y="1594"/>
                    <a:pt x="840" y="1603"/>
                  </a:cubicBezTo>
                  <a:cubicBezTo>
                    <a:pt x="841" y="1611"/>
                    <a:pt x="819" y="1627"/>
                    <a:pt x="819" y="1627"/>
                  </a:cubicBezTo>
                  <a:cubicBezTo>
                    <a:pt x="786" y="1637"/>
                    <a:pt x="786" y="1637"/>
                    <a:pt x="786" y="1637"/>
                  </a:cubicBezTo>
                  <a:cubicBezTo>
                    <a:pt x="816" y="1660"/>
                    <a:pt x="816" y="1660"/>
                    <a:pt x="816" y="1660"/>
                  </a:cubicBezTo>
                  <a:cubicBezTo>
                    <a:pt x="816" y="1660"/>
                    <a:pt x="792" y="1665"/>
                    <a:pt x="791" y="1675"/>
                  </a:cubicBezTo>
                  <a:cubicBezTo>
                    <a:pt x="790" y="1685"/>
                    <a:pt x="790" y="1696"/>
                    <a:pt x="790" y="1696"/>
                  </a:cubicBezTo>
                  <a:cubicBezTo>
                    <a:pt x="790" y="1696"/>
                    <a:pt x="777" y="1705"/>
                    <a:pt x="772" y="1705"/>
                  </a:cubicBezTo>
                  <a:cubicBezTo>
                    <a:pt x="767" y="1705"/>
                    <a:pt x="752" y="1694"/>
                    <a:pt x="752" y="1694"/>
                  </a:cubicBezTo>
                  <a:cubicBezTo>
                    <a:pt x="748" y="1705"/>
                    <a:pt x="748" y="1705"/>
                    <a:pt x="748" y="1705"/>
                  </a:cubicBezTo>
                  <a:cubicBezTo>
                    <a:pt x="748" y="1705"/>
                    <a:pt x="760" y="1718"/>
                    <a:pt x="763" y="1718"/>
                  </a:cubicBezTo>
                  <a:cubicBezTo>
                    <a:pt x="766" y="1718"/>
                    <a:pt x="775" y="1737"/>
                    <a:pt x="775" y="1737"/>
                  </a:cubicBezTo>
                  <a:cubicBezTo>
                    <a:pt x="800" y="1735"/>
                    <a:pt x="800" y="1735"/>
                    <a:pt x="800" y="1735"/>
                  </a:cubicBezTo>
                  <a:cubicBezTo>
                    <a:pt x="800" y="1735"/>
                    <a:pt x="818" y="1754"/>
                    <a:pt x="824" y="1754"/>
                  </a:cubicBezTo>
                  <a:cubicBezTo>
                    <a:pt x="830" y="1754"/>
                    <a:pt x="842" y="1755"/>
                    <a:pt x="842" y="1755"/>
                  </a:cubicBezTo>
                  <a:cubicBezTo>
                    <a:pt x="842" y="1755"/>
                    <a:pt x="873" y="1792"/>
                    <a:pt x="881" y="1795"/>
                  </a:cubicBezTo>
                  <a:cubicBezTo>
                    <a:pt x="889" y="1798"/>
                    <a:pt x="905" y="1805"/>
                    <a:pt x="905" y="1805"/>
                  </a:cubicBezTo>
                  <a:cubicBezTo>
                    <a:pt x="905" y="1805"/>
                    <a:pt x="904" y="1805"/>
                    <a:pt x="901" y="1804"/>
                  </a:cubicBezTo>
                  <a:cubicBezTo>
                    <a:pt x="914" y="1793"/>
                    <a:pt x="914" y="1793"/>
                    <a:pt x="914" y="1793"/>
                  </a:cubicBezTo>
                  <a:cubicBezTo>
                    <a:pt x="914" y="1793"/>
                    <a:pt x="939" y="1796"/>
                    <a:pt x="955" y="1803"/>
                  </a:cubicBezTo>
                  <a:cubicBezTo>
                    <a:pt x="971" y="1810"/>
                    <a:pt x="983" y="1812"/>
                    <a:pt x="996" y="1811"/>
                  </a:cubicBezTo>
                  <a:cubicBezTo>
                    <a:pt x="1009" y="1810"/>
                    <a:pt x="1029" y="1815"/>
                    <a:pt x="1029" y="1815"/>
                  </a:cubicBezTo>
                  <a:cubicBezTo>
                    <a:pt x="1061" y="1835"/>
                    <a:pt x="1061" y="1835"/>
                    <a:pt x="1061" y="1835"/>
                  </a:cubicBezTo>
                  <a:cubicBezTo>
                    <a:pt x="1061" y="1835"/>
                    <a:pt x="1061" y="1846"/>
                    <a:pt x="1080" y="1846"/>
                  </a:cubicBezTo>
                  <a:cubicBezTo>
                    <a:pt x="1099" y="1846"/>
                    <a:pt x="1091" y="1837"/>
                    <a:pt x="1109" y="1835"/>
                  </a:cubicBezTo>
                  <a:cubicBezTo>
                    <a:pt x="1127" y="1833"/>
                    <a:pt x="1137" y="1848"/>
                    <a:pt x="1137" y="1848"/>
                  </a:cubicBezTo>
                  <a:cubicBezTo>
                    <a:pt x="1157" y="1851"/>
                    <a:pt x="1157" y="1851"/>
                    <a:pt x="1157" y="1851"/>
                  </a:cubicBezTo>
                  <a:cubicBezTo>
                    <a:pt x="1157" y="1851"/>
                    <a:pt x="1152" y="1869"/>
                    <a:pt x="1152" y="1868"/>
                  </a:cubicBezTo>
                  <a:cubicBezTo>
                    <a:pt x="1169" y="1869"/>
                    <a:pt x="1180" y="1879"/>
                    <a:pt x="1187" y="1886"/>
                  </a:cubicBezTo>
                  <a:cubicBezTo>
                    <a:pt x="1187" y="1886"/>
                    <a:pt x="1187" y="1886"/>
                    <a:pt x="1187" y="1886"/>
                  </a:cubicBezTo>
                  <a:cubicBezTo>
                    <a:pt x="1194" y="1885"/>
                    <a:pt x="1205" y="1886"/>
                    <a:pt x="1214" y="1892"/>
                  </a:cubicBezTo>
                  <a:cubicBezTo>
                    <a:pt x="1227" y="1901"/>
                    <a:pt x="1236" y="1923"/>
                    <a:pt x="1252" y="1921"/>
                  </a:cubicBezTo>
                  <a:cubicBezTo>
                    <a:pt x="1268" y="1919"/>
                    <a:pt x="1262" y="1907"/>
                    <a:pt x="1262" y="1907"/>
                  </a:cubicBezTo>
                  <a:cubicBezTo>
                    <a:pt x="1262" y="1907"/>
                    <a:pt x="1278" y="1910"/>
                    <a:pt x="1279" y="1903"/>
                  </a:cubicBezTo>
                  <a:cubicBezTo>
                    <a:pt x="1280" y="1896"/>
                    <a:pt x="1281" y="1885"/>
                    <a:pt x="1281" y="1885"/>
                  </a:cubicBezTo>
                  <a:cubicBezTo>
                    <a:pt x="1274" y="1882"/>
                    <a:pt x="1274" y="1882"/>
                    <a:pt x="1274" y="1882"/>
                  </a:cubicBezTo>
                  <a:cubicBezTo>
                    <a:pt x="1274" y="1882"/>
                    <a:pt x="1269" y="1868"/>
                    <a:pt x="1264" y="1860"/>
                  </a:cubicBezTo>
                  <a:cubicBezTo>
                    <a:pt x="1259" y="1852"/>
                    <a:pt x="1240" y="1848"/>
                    <a:pt x="1240" y="1848"/>
                  </a:cubicBezTo>
                  <a:cubicBezTo>
                    <a:pt x="1240" y="1833"/>
                    <a:pt x="1240" y="1833"/>
                    <a:pt x="1240" y="1833"/>
                  </a:cubicBezTo>
                  <a:cubicBezTo>
                    <a:pt x="1240" y="1833"/>
                    <a:pt x="1232" y="1829"/>
                    <a:pt x="1223" y="1818"/>
                  </a:cubicBezTo>
                  <a:cubicBezTo>
                    <a:pt x="1214" y="1807"/>
                    <a:pt x="1226" y="1793"/>
                    <a:pt x="1221" y="1780"/>
                  </a:cubicBezTo>
                  <a:cubicBezTo>
                    <a:pt x="1216" y="1767"/>
                    <a:pt x="1195" y="1753"/>
                    <a:pt x="1195" y="1753"/>
                  </a:cubicBezTo>
                  <a:cubicBezTo>
                    <a:pt x="1195" y="1753"/>
                    <a:pt x="1186" y="1752"/>
                    <a:pt x="1177" y="1747"/>
                  </a:cubicBezTo>
                  <a:cubicBezTo>
                    <a:pt x="1168" y="1742"/>
                    <a:pt x="1190" y="1721"/>
                    <a:pt x="1190" y="1721"/>
                  </a:cubicBezTo>
                  <a:cubicBezTo>
                    <a:pt x="1190" y="1721"/>
                    <a:pt x="1205" y="1708"/>
                    <a:pt x="1208" y="1701"/>
                  </a:cubicBezTo>
                  <a:cubicBezTo>
                    <a:pt x="1211" y="1694"/>
                    <a:pt x="1197" y="1679"/>
                    <a:pt x="1197" y="1679"/>
                  </a:cubicBezTo>
                  <a:cubicBezTo>
                    <a:pt x="1197" y="1679"/>
                    <a:pt x="1211" y="1685"/>
                    <a:pt x="1214" y="1685"/>
                  </a:cubicBezTo>
                  <a:cubicBezTo>
                    <a:pt x="1217" y="1685"/>
                    <a:pt x="1229" y="1684"/>
                    <a:pt x="1232" y="1678"/>
                  </a:cubicBezTo>
                  <a:cubicBezTo>
                    <a:pt x="1235" y="1672"/>
                    <a:pt x="1238" y="1678"/>
                    <a:pt x="1250" y="1676"/>
                  </a:cubicBezTo>
                  <a:cubicBezTo>
                    <a:pt x="1262" y="1674"/>
                    <a:pt x="1245" y="1661"/>
                    <a:pt x="1245" y="1661"/>
                  </a:cubicBezTo>
                  <a:cubicBezTo>
                    <a:pt x="1245" y="1661"/>
                    <a:pt x="1261" y="1662"/>
                    <a:pt x="1264" y="1662"/>
                  </a:cubicBezTo>
                  <a:cubicBezTo>
                    <a:pt x="1266" y="1662"/>
                    <a:pt x="1265" y="1652"/>
                    <a:pt x="1264" y="1649"/>
                  </a:cubicBezTo>
                  <a:cubicBezTo>
                    <a:pt x="1257" y="1647"/>
                    <a:pt x="1231" y="1638"/>
                    <a:pt x="1231" y="1631"/>
                  </a:cubicBezTo>
                  <a:cubicBezTo>
                    <a:pt x="1231" y="1623"/>
                    <a:pt x="1254" y="1632"/>
                    <a:pt x="1254" y="1624"/>
                  </a:cubicBezTo>
                  <a:cubicBezTo>
                    <a:pt x="1254" y="1616"/>
                    <a:pt x="1215" y="1576"/>
                    <a:pt x="1210" y="1574"/>
                  </a:cubicBezTo>
                  <a:cubicBezTo>
                    <a:pt x="1205" y="1571"/>
                    <a:pt x="1181" y="1580"/>
                    <a:pt x="1169" y="1575"/>
                  </a:cubicBezTo>
                  <a:cubicBezTo>
                    <a:pt x="1157" y="1570"/>
                    <a:pt x="1171" y="1555"/>
                    <a:pt x="1159" y="1550"/>
                  </a:cubicBezTo>
                  <a:cubicBezTo>
                    <a:pt x="1147" y="1544"/>
                    <a:pt x="1137" y="1554"/>
                    <a:pt x="1137" y="1538"/>
                  </a:cubicBezTo>
                  <a:cubicBezTo>
                    <a:pt x="1137" y="1522"/>
                    <a:pt x="1145" y="1510"/>
                    <a:pt x="1145" y="1502"/>
                  </a:cubicBezTo>
                  <a:cubicBezTo>
                    <a:pt x="1145" y="1494"/>
                    <a:pt x="1139" y="1488"/>
                    <a:pt x="1139" y="1488"/>
                  </a:cubicBezTo>
                  <a:cubicBezTo>
                    <a:pt x="1137" y="1464"/>
                    <a:pt x="1137" y="1464"/>
                    <a:pt x="1137" y="1464"/>
                  </a:cubicBezTo>
                  <a:cubicBezTo>
                    <a:pt x="1137" y="1464"/>
                    <a:pt x="1150" y="1467"/>
                    <a:pt x="1150" y="1459"/>
                  </a:cubicBezTo>
                  <a:cubicBezTo>
                    <a:pt x="1150" y="1451"/>
                    <a:pt x="1142" y="1432"/>
                    <a:pt x="1154" y="1431"/>
                  </a:cubicBezTo>
                  <a:cubicBezTo>
                    <a:pt x="1166" y="1430"/>
                    <a:pt x="1194" y="1472"/>
                    <a:pt x="1209" y="1458"/>
                  </a:cubicBezTo>
                  <a:cubicBezTo>
                    <a:pt x="1223" y="1443"/>
                    <a:pt x="1205" y="1428"/>
                    <a:pt x="1205" y="1428"/>
                  </a:cubicBezTo>
                  <a:cubicBezTo>
                    <a:pt x="1223" y="1419"/>
                    <a:pt x="1223" y="1419"/>
                    <a:pt x="1223" y="1419"/>
                  </a:cubicBezTo>
                  <a:cubicBezTo>
                    <a:pt x="1223" y="1404"/>
                    <a:pt x="1223" y="1404"/>
                    <a:pt x="1223" y="1404"/>
                  </a:cubicBezTo>
                  <a:cubicBezTo>
                    <a:pt x="1223" y="1404"/>
                    <a:pt x="1251" y="1399"/>
                    <a:pt x="1259" y="1388"/>
                  </a:cubicBezTo>
                  <a:cubicBezTo>
                    <a:pt x="1267" y="1378"/>
                    <a:pt x="1245" y="1370"/>
                    <a:pt x="1267" y="1368"/>
                  </a:cubicBezTo>
                  <a:cubicBezTo>
                    <a:pt x="1290" y="1367"/>
                    <a:pt x="1282" y="1380"/>
                    <a:pt x="1298" y="1380"/>
                  </a:cubicBezTo>
                  <a:cubicBezTo>
                    <a:pt x="1314" y="1380"/>
                    <a:pt x="1327" y="1367"/>
                    <a:pt x="1334" y="1367"/>
                  </a:cubicBezTo>
                  <a:cubicBezTo>
                    <a:pt x="1341" y="1367"/>
                    <a:pt x="1342" y="1380"/>
                    <a:pt x="1351" y="1382"/>
                  </a:cubicBezTo>
                  <a:cubicBezTo>
                    <a:pt x="1361" y="1383"/>
                    <a:pt x="1385" y="1378"/>
                    <a:pt x="1389" y="1382"/>
                  </a:cubicBezTo>
                  <a:cubicBezTo>
                    <a:pt x="1393" y="1386"/>
                    <a:pt x="1395" y="1398"/>
                    <a:pt x="1395" y="1398"/>
                  </a:cubicBezTo>
                  <a:cubicBezTo>
                    <a:pt x="1419" y="1396"/>
                    <a:pt x="1419" y="1396"/>
                    <a:pt x="1419" y="1396"/>
                  </a:cubicBezTo>
                  <a:cubicBezTo>
                    <a:pt x="1426" y="1416"/>
                    <a:pt x="1426" y="1416"/>
                    <a:pt x="1426" y="1416"/>
                  </a:cubicBezTo>
                  <a:cubicBezTo>
                    <a:pt x="1426" y="1416"/>
                    <a:pt x="1434" y="1436"/>
                    <a:pt x="1442" y="1430"/>
                  </a:cubicBezTo>
                  <a:cubicBezTo>
                    <a:pt x="1450" y="1423"/>
                    <a:pt x="1427" y="1406"/>
                    <a:pt x="1438" y="1403"/>
                  </a:cubicBezTo>
                  <a:cubicBezTo>
                    <a:pt x="1449" y="1400"/>
                    <a:pt x="1490" y="1431"/>
                    <a:pt x="1493" y="1427"/>
                  </a:cubicBezTo>
                  <a:cubicBezTo>
                    <a:pt x="1495" y="1423"/>
                    <a:pt x="1513" y="1403"/>
                    <a:pt x="1522" y="1402"/>
                  </a:cubicBezTo>
                  <a:cubicBezTo>
                    <a:pt x="1531" y="1400"/>
                    <a:pt x="1542" y="1416"/>
                    <a:pt x="1558" y="1412"/>
                  </a:cubicBezTo>
                  <a:cubicBezTo>
                    <a:pt x="1574" y="1408"/>
                    <a:pt x="1585" y="1399"/>
                    <a:pt x="1593" y="1400"/>
                  </a:cubicBezTo>
                  <a:cubicBezTo>
                    <a:pt x="1601" y="1402"/>
                    <a:pt x="1613" y="1423"/>
                    <a:pt x="1623" y="1424"/>
                  </a:cubicBezTo>
                  <a:cubicBezTo>
                    <a:pt x="1634" y="1426"/>
                    <a:pt x="1657" y="1430"/>
                    <a:pt x="1657" y="1430"/>
                  </a:cubicBezTo>
                  <a:cubicBezTo>
                    <a:pt x="1663" y="1414"/>
                    <a:pt x="1663" y="1414"/>
                    <a:pt x="1663" y="1414"/>
                  </a:cubicBezTo>
                  <a:cubicBezTo>
                    <a:pt x="1663" y="1414"/>
                    <a:pt x="1723" y="1444"/>
                    <a:pt x="1719" y="1406"/>
                  </a:cubicBezTo>
                  <a:cubicBezTo>
                    <a:pt x="1715" y="1367"/>
                    <a:pt x="1665" y="1370"/>
                    <a:pt x="1665" y="1370"/>
                  </a:cubicBezTo>
                  <a:cubicBezTo>
                    <a:pt x="1642" y="1350"/>
                    <a:pt x="1642" y="1350"/>
                    <a:pt x="1642" y="1350"/>
                  </a:cubicBezTo>
                  <a:cubicBezTo>
                    <a:pt x="1642" y="1350"/>
                    <a:pt x="1675" y="1344"/>
                    <a:pt x="1677" y="1338"/>
                  </a:cubicBezTo>
                  <a:cubicBezTo>
                    <a:pt x="1678" y="1331"/>
                    <a:pt x="1665" y="1314"/>
                    <a:pt x="1665" y="1314"/>
                  </a:cubicBezTo>
                  <a:cubicBezTo>
                    <a:pt x="1671" y="1303"/>
                    <a:pt x="1671" y="1303"/>
                    <a:pt x="1671" y="1303"/>
                  </a:cubicBezTo>
                  <a:cubicBezTo>
                    <a:pt x="1671" y="1303"/>
                    <a:pt x="1709" y="1310"/>
                    <a:pt x="1709" y="1303"/>
                  </a:cubicBezTo>
                  <a:cubicBezTo>
                    <a:pt x="1709" y="1296"/>
                    <a:pt x="1666" y="1288"/>
                    <a:pt x="1666" y="1288"/>
                  </a:cubicBezTo>
                  <a:cubicBezTo>
                    <a:pt x="1677" y="1276"/>
                    <a:pt x="1677" y="1276"/>
                    <a:pt x="1677" y="1276"/>
                  </a:cubicBezTo>
                  <a:cubicBezTo>
                    <a:pt x="1658" y="1275"/>
                    <a:pt x="1658" y="1275"/>
                    <a:pt x="1658" y="1275"/>
                  </a:cubicBezTo>
                  <a:cubicBezTo>
                    <a:pt x="1658" y="1275"/>
                    <a:pt x="1642" y="1256"/>
                    <a:pt x="1687" y="1250"/>
                  </a:cubicBezTo>
                  <a:cubicBezTo>
                    <a:pt x="1733" y="1243"/>
                    <a:pt x="1765" y="1244"/>
                    <a:pt x="1765" y="1244"/>
                  </a:cubicBezTo>
                  <a:cubicBezTo>
                    <a:pt x="1769" y="1232"/>
                    <a:pt x="1769" y="1232"/>
                    <a:pt x="1769" y="1232"/>
                  </a:cubicBezTo>
                  <a:cubicBezTo>
                    <a:pt x="1811" y="1232"/>
                    <a:pt x="1811" y="1232"/>
                    <a:pt x="1811" y="1232"/>
                  </a:cubicBezTo>
                  <a:cubicBezTo>
                    <a:pt x="1811" y="1232"/>
                    <a:pt x="1811" y="1216"/>
                    <a:pt x="1819" y="1216"/>
                  </a:cubicBezTo>
                  <a:cubicBezTo>
                    <a:pt x="1827" y="1216"/>
                    <a:pt x="1855" y="1220"/>
                    <a:pt x="1877" y="1215"/>
                  </a:cubicBezTo>
                  <a:cubicBezTo>
                    <a:pt x="1898" y="1210"/>
                    <a:pt x="1918" y="1203"/>
                    <a:pt x="1918" y="1203"/>
                  </a:cubicBezTo>
                  <a:cubicBezTo>
                    <a:pt x="1918" y="1203"/>
                    <a:pt x="1915" y="1183"/>
                    <a:pt x="1949" y="1182"/>
                  </a:cubicBezTo>
                  <a:cubicBezTo>
                    <a:pt x="1982" y="1180"/>
                    <a:pt x="1995" y="1191"/>
                    <a:pt x="2001" y="1191"/>
                  </a:cubicBezTo>
                  <a:cubicBezTo>
                    <a:pt x="2006" y="1191"/>
                    <a:pt x="2013" y="1182"/>
                    <a:pt x="2021" y="1187"/>
                  </a:cubicBezTo>
                  <a:cubicBezTo>
                    <a:pt x="2029" y="1192"/>
                    <a:pt x="2034" y="1210"/>
                    <a:pt x="2034" y="1210"/>
                  </a:cubicBezTo>
                  <a:cubicBezTo>
                    <a:pt x="2034" y="1210"/>
                    <a:pt x="2046" y="1210"/>
                    <a:pt x="2046" y="1216"/>
                  </a:cubicBezTo>
                  <a:cubicBezTo>
                    <a:pt x="2046" y="1223"/>
                    <a:pt x="2045" y="1244"/>
                    <a:pt x="2050" y="1244"/>
                  </a:cubicBezTo>
                  <a:cubicBezTo>
                    <a:pt x="2055" y="1244"/>
                    <a:pt x="2083" y="1240"/>
                    <a:pt x="2083" y="1240"/>
                  </a:cubicBezTo>
                  <a:cubicBezTo>
                    <a:pt x="2090" y="1230"/>
                    <a:pt x="2090" y="1230"/>
                    <a:pt x="2090" y="1230"/>
                  </a:cubicBezTo>
                  <a:cubicBezTo>
                    <a:pt x="2109" y="1251"/>
                    <a:pt x="2109" y="1251"/>
                    <a:pt x="2109" y="1251"/>
                  </a:cubicBezTo>
                  <a:cubicBezTo>
                    <a:pt x="2122" y="1243"/>
                    <a:pt x="2122" y="1243"/>
                    <a:pt x="2122" y="1243"/>
                  </a:cubicBezTo>
                  <a:cubicBezTo>
                    <a:pt x="2139" y="1254"/>
                    <a:pt x="2139" y="1254"/>
                    <a:pt x="2139" y="1254"/>
                  </a:cubicBezTo>
                  <a:cubicBezTo>
                    <a:pt x="2139" y="1254"/>
                    <a:pt x="2145" y="1242"/>
                    <a:pt x="2154" y="1251"/>
                  </a:cubicBezTo>
                  <a:cubicBezTo>
                    <a:pt x="2163" y="1260"/>
                    <a:pt x="2142" y="1276"/>
                    <a:pt x="2153" y="1278"/>
                  </a:cubicBezTo>
                  <a:cubicBezTo>
                    <a:pt x="2163" y="1279"/>
                    <a:pt x="2165" y="1266"/>
                    <a:pt x="2171" y="1268"/>
                  </a:cubicBezTo>
                  <a:cubicBezTo>
                    <a:pt x="2178" y="1271"/>
                    <a:pt x="2193" y="1287"/>
                    <a:pt x="2201" y="1280"/>
                  </a:cubicBezTo>
                  <a:cubicBezTo>
                    <a:pt x="2209" y="1274"/>
                    <a:pt x="2201" y="1266"/>
                    <a:pt x="2207" y="1262"/>
                  </a:cubicBezTo>
                  <a:cubicBezTo>
                    <a:pt x="2214" y="1258"/>
                    <a:pt x="2222" y="1256"/>
                    <a:pt x="2222" y="1256"/>
                  </a:cubicBezTo>
                  <a:cubicBezTo>
                    <a:pt x="2231" y="1246"/>
                    <a:pt x="2231" y="1246"/>
                    <a:pt x="2231" y="1246"/>
                  </a:cubicBezTo>
                  <a:cubicBezTo>
                    <a:pt x="2255" y="1238"/>
                    <a:pt x="2255" y="1238"/>
                    <a:pt x="2255" y="1238"/>
                  </a:cubicBezTo>
                  <a:cubicBezTo>
                    <a:pt x="2255" y="1238"/>
                    <a:pt x="2267" y="1216"/>
                    <a:pt x="2275" y="1227"/>
                  </a:cubicBezTo>
                  <a:cubicBezTo>
                    <a:pt x="2283" y="1238"/>
                    <a:pt x="2263" y="1250"/>
                    <a:pt x="2263" y="1250"/>
                  </a:cubicBezTo>
                  <a:cubicBezTo>
                    <a:pt x="2263" y="1250"/>
                    <a:pt x="2331" y="1282"/>
                    <a:pt x="2337" y="1284"/>
                  </a:cubicBezTo>
                  <a:cubicBezTo>
                    <a:pt x="2342" y="1287"/>
                    <a:pt x="2414" y="1354"/>
                    <a:pt x="2429" y="1367"/>
                  </a:cubicBezTo>
                  <a:cubicBezTo>
                    <a:pt x="2443" y="1380"/>
                    <a:pt x="2467" y="1419"/>
                    <a:pt x="2485" y="1416"/>
                  </a:cubicBezTo>
                  <a:cubicBezTo>
                    <a:pt x="2502" y="1414"/>
                    <a:pt x="2498" y="1384"/>
                    <a:pt x="2509" y="1387"/>
                  </a:cubicBezTo>
                  <a:cubicBezTo>
                    <a:pt x="2519" y="1390"/>
                    <a:pt x="2515" y="1406"/>
                    <a:pt x="2519" y="1407"/>
                  </a:cubicBezTo>
                  <a:cubicBezTo>
                    <a:pt x="2523" y="1408"/>
                    <a:pt x="2541" y="1410"/>
                    <a:pt x="2541" y="1410"/>
                  </a:cubicBezTo>
                  <a:cubicBezTo>
                    <a:pt x="2541" y="1410"/>
                    <a:pt x="2555" y="1426"/>
                    <a:pt x="2567" y="1424"/>
                  </a:cubicBezTo>
                  <a:cubicBezTo>
                    <a:pt x="2579" y="1423"/>
                    <a:pt x="2595" y="1402"/>
                    <a:pt x="2618" y="1406"/>
                  </a:cubicBezTo>
                  <a:cubicBezTo>
                    <a:pt x="2641" y="1410"/>
                    <a:pt x="2662" y="1439"/>
                    <a:pt x="2662" y="1439"/>
                  </a:cubicBezTo>
                  <a:cubicBezTo>
                    <a:pt x="2662" y="1439"/>
                    <a:pt x="2697" y="1444"/>
                    <a:pt x="2698" y="1448"/>
                  </a:cubicBezTo>
                  <a:cubicBezTo>
                    <a:pt x="2699" y="1452"/>
                    <a:pt x="2715" y="1480"/>
                    <a:pt x="2715" y="1480"/>
                  </a:cubicBezTo>
                  <a:cubicBezTo>
                    <a:pt x="2762" y="1484"/>
                    <a:pt x="2762" y="1484"/>
                    <a:pt x="2762" y="1484"/>
                  </a:cubicBezTo>
                  <a:cubicBezTo>
                    <a:pt x="2773" y="1462"/>
                    <a:pt x="2773" y="1462"/>
                    <a:pt x="2773" y="1462"/>
                  </a:cubicBezTo>
                  <a:cubicBezTo>
                    <a:pt x="2786" y="1478"/>
                    <a:pt x="2786" y="1478"/>
                    <a:pt x="2786" y="1478"/>
                  </a:cubicBezTo>
                  <a:cubicBezTo>
                    <a:pt x="2810" y="1504"/>
                    <a:pt x="2810" y="1504"/>
                    <a:pt x="2810" y="1504"/>
                  </a:cubicBezTo>
                  <a:cubicBezTo>
                    <a:pt x="2815" y="1505"/>
                    <a:pt x="2819" y="1506"/>
                    <a:pt x="2819" y="1506"/>
                  </a:cubicBezTo>
                  <a:cubicBezTo>
                    <a:pt x="2819" y="1506"/>
                    <a:pt x="2832" y="1499"/>
                    <a:pt x="2840" y="1503"/>
                  </a:cubicBezTo>
                  <a:cubicBezTo>
                    <a:pt x="2847" y="1496"/>
                    <a:pt x="2847" y="1496"/>
                    <a:pt x="2847" y="1496"/>
                  </a:cubicBezTo>
                  <a:cubicBezTo>
                    <a:pt x="2846" y="1484"/>
                    <a:pt x="2846" y="1484"/>
                    <a:pt x="2846" y="1484"/>
                  </a:cubicBezTo>
                  <a:cubicBezTo>
                    <a:pt x="2887" y="1484"/>
                    <a:pt x="2887" y="1484"/>
                    <a:pt x="2887" y="1484"/>
                  </a:cubicBezTo>
                  <a:cubicBezTo>
                    <a:pt x="2885" y="1475"/>
                    <a:pt x="2885" y="1475"/>
                    <a:pt x="2885" y="1475"/>
                  </a:cubicBezTo>
                  <a:cubicBezTo>
                    <a:pt x="2901" y="1475"/>
                    <a:pt x="2901" y="1475"/>
                    <a:pt x="2901" y="1475"/>
                  </a:cubicBezTo>
                  <a:cubicBezTo>
                    <a:pt x="2901" y="1475"/>
                    <a:pt x="2892" y="1473"/>
                    <a:pt x="2901" y="1463"/>
                  </a:cubicBezTo>
                  <a:cubicBezTo>
                    <a:pt x="2910" y="1453"/>
                    <a:pt x="2921" y="1445"/>
                    <a:pt x="2921" y="1445"/>
                  </a:cubicBezTo>
                  <a:cubicBezTo>
                    <a:pt x="2930" y="1446"/>
                    <a:pt x="2930" y="1446"/>
                    <a:pt x="2930" y="1446"/>
                  </a:cubicBezTo>
                  <a:cubicBezTo>
                    <a:pt x="2941" y="1433"/>
                    <a:pt x="2941" y="1433"/>
                    <a:pt x="2941" y="1433"/>
                  </a:cubicBezTo>
                  <a:cubicBezTo>
                    <a:pt x="2957" y="1433"/>
                    <a:pt x="2957" y="1433"/>
                    <a:pt x="2957" y="1433"/>
                  </a:cubicBezTo>
                  <a:cubicBezTo>
                    <a:pt x="2957" y="1433"/>
                    <a:pt x="2958" y="1416"/>
                    <a:pt x="2965" y="1416"/>
                  </a:cubicBezTo>
                  <a:cubicBezTo>
                    <a:pt x="2972" y="1416"/>
                    <a:pt x="2981" y="1422"/>
                    <a:pt x="2981" y="1422"/>
                  </a:cubicBezTo>
                  <a:cubicBezTo>
                    <a:pt x="2993" y="1415"/>
                    <a:pt x="2993" y="1415"/>
                    <a:pt x="2993" y="1415"/>
                  </a:cubicBezTo>
                  <a:cubicBezTo>
                    <a:pt x="2993" y="1415"/>
                    <a:pt x="2993" y="1420"/>
                    <a:pt x="2996" y="1420"/>
                  </a:cubicBezTo>
                  <a:cubicBezTo>
                    <a:pt x="2999" y="1420"/>
                    <a:pt x="3015" y="1420"/>
                    <a:pt x="3015" y="1420"/>
                  </a:cubicBezTo>
                  <a:cubicBezTo>
                    <a:pt x="3020" y="1431"/>
                    <a:pt x="3020" y="1431"/>
                    <a:pt x="3020" y="1431"/>
                  </a:cubicBezTo>
                  <a:cubicBezTo>
                    <a:pt x="3020" y="1431"/>
                    <a:pt x="3064" y="1427"/>
                    <a:pt x="3071" y="1427"/>
                  </a:cubicBezTo>
                  <a:cubicBezTo>
                    <a:pt x="3078" y="1427"/>
                    <a:pt x="3076" y="1440"/>
                    <a:pt x="3085" y="1447"/>
                  </a:cubicBezTo>
                  <a:cubicBezTo>
                    <a:pt x="3094" y="1454"/>
                    <a:pt x="3116" y="1452"/>
                    <a:pt x="3116" y="1452"/>
                  </a:cubicBezTo>
                  <a:cubicBezTo>
                    <a:pt x="3118" y="1461"/>
                    <a:pt x="3118" y="1461"/>
                    <a:pt x="3118" y="1461"/>
                  </a:cubicBezTo>
                  <a:cubicBezTo>
                    <a:pt x="3137" y="1458"/>
                    <a:pt x="3137" y="1458"/>
                    <a:pt x="3137" y="1458"/>
                  </a:cubicBezTo>
                  <a:cubicBezTo>
                    <a:pt x="3139" y="1463"/>
                    <a:pt x="3139" y="1463"/>
                    <a:pt x="3139" y="1463"/>
                  </a:cubicBezTo>
                  <a:cubicBezTo>
                    <a:pt x="3139" y="1463"/>
                    <a:pt x="3141" y="1457"/>
                    <a:pt x="3152" y="1456"/>
                  </a:cubicBezTo>
                  <a:cubicBezTo>
                    <a:pt x="3163" y="1455"/>
                    <a:pt x="3172" y="1456"/>
                    <a:pt x="3172" y="1456"/>
                  </a:cubicBezTo>
                  <a:cubicBezTo>
                    <a:pt x="3173" y="1464"/>
                    <a:pt x="3173" y="1464"/>
                    <a:pt x="3173" y="1464"/>
                  </a:cubicBezTo>
                  <a:cubicBezTo>
                    <a:pt x="3203" y="1462"/>
                    <a:pt x="3203" y="1462"/>
                    <a:pt x="3203" y="1462"/>
                  </a:cubicBezTo>
                  <a:cubicBezTo>
                    <a:pt x="3203" y="1462"/>
                    <a:pt x="3197" y="1478"/>
                    <a:pt x="3214" y="1470"/>
                  </a:cubicBezTo>
                  <a:cubicBezTo>
                    <a:pt x="3231" y="1462"/>
                    <a:pt x="3229" y="1455"/>
                    <a:pt x="3229" y="1455"/>
                  </a:cubicBezTo>
                  <a:cubicBezTo>
                    <a:pt x="3229" y="1455"/>
                    <a:pt x="3241" y="1465"/>
                    <a:pt x="3241" y="1447"/>
                  </a:cubicBezTo>
                  <a:cubicBezTo>
                    <a:pt x="3241" y="1429"/>
                    <a:pt x="3226" y="1429"/>
                    <a:pt x="3226" y="1429"/>
                  </a:cubicBezTo>
                  <a:cubicBezTo>
                    <a:pt x="3210" y="1405"/>
                    <a:pt x="3210" y="1405"/>
                    <a:pt x="3210" y="1405"/>
                  </a:cubicBezTo>
                  <a:cubicBezTo>
                    <a:pt x="3206" y="1391"/>
                    <a:pt x="3206" y="1391"/>
                    <a:pt x="3206" y="1391"/>
                  </a:cubicBezTo>
                  <a:cubicBezTo>
                    <a:pt x="3206" y="1391"/>
                    <a:pt x="3200" y="1388"/>
                    <a:pt x="3200" y="1382"/>
                  </a:cubicBezTo>
                  <a:cubicBezTo>
                    <a:pt x="3200" y="1376"/>
                    <a:pt x="3211" y="1378"/>
                    <a:pt x="3211" y="1378"/>
                  </a:cubicBezTo>
                  <a:cubicBezTo>
                    <a:pt x="3209" y="1367"/>
                    <a:pt x="3209" y="1367"/>
                    <a:pt x="3209" y="1367"/>
                  </a:cubicBezTo>
                  <a:cubicBezTo>
                    <a:pt x="3209" y="1367"/>
                    <a:pt x="3213" y="1369"/>
                    <a:pt x="3218" y="1363"/>
                  </a:cubicBezTo>
                  <a:cubicBezTo>
                    <a:pt x="3223" y="1357"/>
                    <a:pt x="3222" y="1345"/>
                    <a:pt x="3222" y="1345"/>
                  </a:cubicBezTo>
                  <a:cubicBezTo>
                    <a:pt x="3231" y="1347"/>
                    <a:pt x="3231" y="1347"/>
                    <a:pt x="3231" y="1347"/>
                  </a:cubicBezTo>
                  <a:cubicBezTo>
                    <a:pt x="3231" y="1347"/>
                    <a:pt x="3254" y="1364"/>
                    <a:pt x="3272" y="1366"/>
                  </a:cubicBezTo>
                  <a:cubicBezTo>
                    <a:pt x="3290" y="1368"/>
                    <a:pt x="3310" y="1367"/>
                    <a:pt x="3310" y="1367"/>
                  </a:cubicBezTo>
                  <a:cubicBezTo>
                    <a:pt x="3310" y="1367"/>
                    <a:pt x="3329" y="1381"/>
                    <a:pt x="3339" y="1383"/>
                  </a:cubicBezTo>
                  <a:cubicBezTo>
                    <a:pt x="3349" y="1385"/>
                    <a:pt x="3361" y="1372"/>
                    <a:pt x="3370" y="1383"/>
                  </a:cubicBezTo>
                  <a:cubicBezTo>
                    <a:pt x="3379" y="1394"/>
                    <a:pt x="3401" y="1428"/>
                    <a:pt x="3401" y="1428"/>
                  </a:cubicBezTo>
                  <a:cubicBezTo>
                    <a:pt x="3416" y="1425"/>
                    <a:pt x="3416" y="1425"/>
                    <a:pt x="3416" y="1425"/>
                  </a:cubicBezTo>
                  <a:cubicBezTo>
                    <a:pt x="3416" y="1425"/>
                    <a:pt x="3418" y="1441"/>
                    <a:pt x="3428" y="1441"/>
                  </a:cubicBezTo>
                  <a:cubicBezTo>
                    <a:pt x="3438" y="1441"/>
                    <a:pt x="3445" y="1440"/>
                    <a:pt x="3445" y="1440"/>
                  </a:cubicBezTo>
                  <a:cubicBezTo>
                    <a:pt x="3445" y="1440"/>
                    <a:pt x="3462" y="1450"/>
                    <a:pt x="3475" y="1449"/>
                  </a:cubicBezTo>
                  <a:cubicBezTo>
                    <a:pt x="3488" y="1448"/>
                    <a:pt x="3506" y="1430"/>
                    <a:pt x="3535" y="1432"/>
                  </a:cubicBezTo>
                  <a:cubicBezTo>
                    <a:pt x="3564" y="1434"/>
                    <a:pt x="3566" y="1442"/>
                    <a:pt x="3566" y="1442"/>
                  </a:cubicBezTo>
                  <a:cubicBezTo>
                    <a:pt x="3593" y="1439"/>
                    <a:pt x="3593" y="1439"/>
                    <a:pt x="3593" y="1439"/>
                  </a:cubicBezTo>
                  <a:cubicBezTo>
                    <a:pt x="3593" y="1439"/>
                    <a:pt x="3604" y="1458"/>
                    <a:pt x="3616" y="1458"/>
                  </a:cubicBezTo>
                  <a:cubicBezTo>
                    <a:pt x="3628" y="1458"/>
                    <a:pt x="3647" y="1458"/>
                    <a:pt x="3650" y="1459"/>
                  </a:cubicBezTo>
                  <a:cubicBezTo>
                    <a:pt x="3653" y="1460"/>
                    <a:pt x="3661" y="1479"/>
                    <a:pt x="3664" y="1478"/>
                  </a:cubicBezTo>
                  <a:cubicBezTo>
                    <a:pt x="3667" y="1477"/>
                    <a:pt x="3678" y="1480"/>
                    <a:pt x="3678" y="1480"/>
                  </a:cubicBezTo>
                  <a:cubicBezTo>
                    <a:pt x="3678" y="1480"/>
                    <a:pt x="3673" y="1491"/>
                    <a:pt x="3693" y="1493"/>
                  </a:cubicBezTo>
                  <a:cubicBezTo>
                    <a:pt x="3713" y="1495"/>
                    <a:pt x="3723" y="1492"/>
                    <a:pt x="3723" y="1492"/>
                  </a:cubicBezTo>
                  <a:cubicBezTo>
                    <a:pt x="3723" y="1492"/>
                    <a:pt x="3730" y="1495"/>
                    <a:pt x="3733" y="1498"/>
                  </a:cubicBezTo>
                  <a:cubicBezTo>
                    <a:pt x="3736" y="1501"/>
                    <a:pt x="3760" y="1501"/>
                    <a:pt x="3760" y="1501"/>
                  </a:cubicBezTo>
                  <a:cubicBezTo>
                    <a:pt x="3760" y="1501"/>
                    <a:pt x="3772" y="1494"/>
                    <a:pt x="3776" y="1496"/>
                  </a:cubicBezTo>
                  <a:cubicBezTo>
                    <a:pt x="3780" y="1498"/>
                    <a:pt x="3788" y="1507"/>
                    <a:pt x="3793" y="1501"/>
                  </a:cubicBezTo>
                  <a:cubicBezTo>
                    <a:pt x="3798" y="1495"/>
                    <a:pt x="3796" y="1490"/>
                    <a:pt x="3805" y="1488"/>
                  </a:cubicBezTo>
                  <a:cubicBezTo>
                    <a:pt x="3814" y="1486"/>
                    <a:pt x="3831" y="1487"/>
                    <a:pt x="3831" y="1487"/>
                  </a:cubicBezTo>
                  <a:cubicBezTo>
                    <a:pt x="3841" y="1482"/>
                    <a:pt x="3841" y="1482"/>
                    <a:pt x="3841" y="1482"/>
                  </a:cubicBezTo>
                  <a:cubicBezTo>
                    <a:pt x="3841" y="1482"/>
                    <a:pt x="3853" y="1485"/>
                    <a:pt x="3863" y="1481"/>
                  </a:cubicBezTo>
                  <a:cubicBezTo>
                    <a:pt x="3873" y="1477"/>
                    <a:pt x="3870" y="1466"/>
                    <a:pt x="3870" y="1466"/>
                  </a:cubicBezTo>
                  <a:cubicBezTo>
                    <a:pt x="3893" y="1443"/>
                    <a:pt x="3893" y="1443"/>
                    <a:pt x="3893" y="1443"/>
                  </a:cubicBezTo>
                  <a:cubicBezTo>
                    <a:pt x="3893" y="1443"/>
                    <a:pt x="3920" y="1447"/>
                    <a:pt x="3929" y="1447"/>
                  </a:cubicBezTo>
                  <a:cubicBezTo>
                    <a:pt x="3938" y="1447"/>
                    <a:pt x="3948" y="1463"/>
                    <a:pt x="3962" y="1463"/>
                  </a:cubicBezTo>
                  <a:cubicBezTo>
                    <a:pt x="3976" y="1463"/>
                    <a:pt x="3982" y="1456"/>
                    <a:pt x="3982" y="1456"/>
                  </a:cubicBezTo>
                  <a:cubicBezTo>
                    <a:pt x="4000" y="1459"/>
                    <a:pt x="4000" y="1459"/>
                    <a:pt x="4000" y="1459"/>
                  </a:cubicBezTo>
                  <a:cubicBezTo>
                    <a:pt x="4011" y="1462"/>
                    <a:pt x="4011" y="1462"/>
                    <a:pt x="4011" y="1462"/>
                  </a:cubicBezTo>
                  <a:cubicBezTo>
                    <a:pt x="4034" y="1476"/>
                    <a:pt x="4034" y="1476"/>
                    <a:pt x="4034" y="1476"/>
                  </a:cubicBezTo>
                  <a:cubicBezTo>
                    <a:pt x="4058" y="1477"/>
                    <a:pt x="4058" y="1477"/>
                    <a:pt x="4058" y="1477"/>
                  </a:cubicBezTo>
                  <a:cubicBezTo>
                    <a:pt x="4058" y="1477"/>
                    <a:pt x="4061" y="1482"/>
                    <a:pt x="4071" y="1482"/>
                  </a:cubicBezTo>
                  <a:cubicBezTo>
                    <a:pt x="4081" y="1482"/>
                    <a:pt x="4085" y="1460"/>
                    <a:pt x="4085" y="1460"/>
                  </a:cubicBezTo>
                  <a:cubicBezTo>
                    <a:pt x="4085" y="1460"/>
                    <a:pt x="4096" y="1465"/>
                    <a:pt x="4109" y="1457"/>
                  </a:cubicBezTo>
                  <a:cubicBezTo>
                    <a:pt x="4122" y="1449"/>
                    <a:pt x="4098" y="1439"/>
                    <a:pt x="4098" y="1439"/>
                  </a:cubicBezTo>
                  <a:cubicBezTo>
                    <a:pt x="4097" y="1414"/>
                    <a:pt x="4097" y="1414"/>
                    <a:pt x="4097" y="1414"/>
                  </a:cubicBezTo>
                  <a:cubicBezTo>
                    <a:pt x="4097" y="1395"/>
                    <a:pt x="4097" y="1395"/>
                    <a:pt x="4097" y="1395"/>
                  </a:cubicBezTo>
                  <a:cubicBezTo>
                    <a:pt x="4097" y="1395"/>
                    <a:pt x="4092" y="1377"/>
                    <a:pt x="4094" y="1368"/>
                  </a:cubicBezTo>
                  <a:cubicBezTo>
                    <a:pt x="4096" y="1359"/>
                    <a:pt x="4108" y="1354"/>
                    <a:pt x="4109" y="1348"/>
                  </a:cubicBezTo>
                  <a:cubicBezTo>
                    <a:pt x="4110" y="1342"/>
                    <a:pt x="4083" y="1327"/>
                    <a:pt x="4083" y="1327"/>
                  </a:cubicBezTo>
                  <a:cubicBezTo>
                    <a:pt x="4083" y="1327"/>
                    <a:pt x="4071" y="1325"/>
                    <a:pt x="4056" y="1322"/>
                  </a:cubicBezTo>
                  <a:cubicBezTo>
                    <a:pt x="4041" y="1319"/>
                    <a:pt x="4063" y="1304"/>
                    <a:pt x="4063" y="1304"/>
                  </a:cubicBezTo>
                  <a:cubicBezTo>
                    <a:pt x="4083" y="1284"/>
                    <a:pt x="4083" y="1284"/>
                    <a:pt x="4083" y="1284"/>
                  </a:cubicBezTo>
                  <a:cubicBezTo>
                    <a:pt x="4107" y="1281"/>
                    <a:pt x="4107" y="1281"/>
                    <a:pt x="4107" y="1281"/>
                  </a:cubicBezTo>
                  <a:cubicBezTo>
                    <a:pt x="4111" y="1273"/>
                    <a:pt x="4111" y="1273"/>
                    <a:pt x="4111" y="1273"/>
                  </a:cubicBezTo>
                  <a:cubicBezTo>
                    <a:pt x="4139" y="1275"/>
                    <a:pt x="4139" y="1275"/>
                    <a:pt x="4139" y="1275"/>
                  </a:cubicBezTo>
                  <a:cubicBezTo>
                    <a:pt x="4174" y="1268"/>
                    <a:pt x="4174" y="1268"/>
                    <a:pt x="4174" y="1268"/>
                  </a:cubicBezTo>
                  <a:cubicBezTo>
                    <a:pt x="4199" y="1281"/>
                    <a:pt x="4199" y="1281"/>
                    <a:pt x="4199" y="1281"/>
                  </a:cubicBezTo>
                  <a:cubicBezTo>
                    <a:pt x="4225" y="1298"/>
                    <a:pt x="4225" y="1298"/>
                    <a:pt x="4225" y="1298"/>
                  </a:cubicBezTo>
                  <a:cubicBezTo>
                    <a:pt x="4240" y="1295"/>
                    <a:pt x="4240" y="1295"/>
                    <a:pt x="4240" y="1295"/>
                  </a:cubicBezTo>
                  <a:cubicBezTo>
                    <a:pt x="4240" y="1295"/>
                    <a:pt x="4259" y="1296"/>
                    <a:pt x="4266" y="1297"/>
                  </a:cubicBezTo>
                  <a:cubicBezTo>
                    <a:pt x="4273" y="1298"/>
                    <a:pt x="4294" y="1312"/>
                    <a:pt x="4294" y="1312"/>
                  </a:cubicBezTo>
                  <a:cubicBezTo>
                    <a:pt x="4296" y="1321"/>
                    <a:pt x="4296" y="1321"/>
                    <a:pt x="4296" y="1321"/>
                  </a:cubicBezTo>
                  <a:cubicBezTo>
                    <a:pt x="4296" y="1321"/>
                    <a:pt x="4314" y="1331"/>
                    <a:pt x="4319" y="1335"/>
                  </a:cubicBezTo>
                  <a:cubicBezTo>
                    <a:pt x="4324" y="1339"/>
                    <a:pt x="4339" y="1344"/>
                    <a:pt x="4339" y="1344"/>
                  </a:cubicBezTo>
                  <a:cubicBezTo>
                    <a:pt x="4342" y="1363"/>
                    <a:pt x="4342" y="1363"/>
                    <a:pt x="4342" y="1363"/>
                  </a:cubicBezTo>
                  <a:cubicBezTo>
                    <a:pt x="4374" y="1380"/>
                    <a:pt x="4374" y="1380"/>
                    <a:pt x="4374" y="1380"/>
                  </a:cubicBezTo>
                  <a:cubicBezTo>
                    <a:pt x="4385" y="1402"/>
                    <a:pt x="4385" y="1402"/>
                    <a:pt x="4385" y="1402"/>
                  </a:cubicBezTo>
                  <a:cubicBezTo>
                    <a:pt x="4385" y="1402"/>
                    <a:pt x="4406" y="1404"/>
                    <a:pt x="4416" y="1413"/>
                  </a:cubicBezTo>
                  <a:cubicBezTo>
                    <a:pt x="4426" y="1422"/>
                    <a:pt x="4444" y="1446"/>
                    <a:pt x="4444" y="1446"/>
                  </a:cubicBezTo>
                  <a:cubicBezTo>
                    <a:pt x="4451" y="1446"/>
                    <a:pt x="4451" y="1446"/>
                    <a:pt x="4451" y="1446"/>
                  </a:cubicBezTo>
                  <a:cubicBezTo>
                    <a:pt x="4455" y="1462"/>
                    <a:pt x="4455" y="1462"/>
                    <a:pt x="4455" y="1462"/>
                  </a:cubicBezTo>
                  <a:cubicBezTo>
                    <a:pt x="4455" y="1462"/>
                    <a:pt x="4474" y="1472"/>
                    <a:pt x="4482" y="1477"/>
                  </a:cubicBezTo>
                  <a:cubicBezTo>
                    <a:pt x="4490" y="1482"/>
                    <a:pt x="4507" y="1481"/>
                    <a:pt x="4517" y="1479"/>
                  </a:cubicBezTo>
                  <a:cubicBezTo>
                    <a:pt x="4527" y="1477"/>
                    <a:pt x="4543" y="1493"/>
                    <a:pt x="4543" y="1493"/>
                  </a:cubicBezTo>
                  <a:cubicBezTo>
                    <a:pt x="4543" y="1493"/>
                    <a:pt x="4551" y="1486"/>
                    <a:pt x="4555" y="1486"/>
                  </a:cubicBezTo>
                  <a:cubicBezTo>
                    <a:pt x="4559" y="1486"/>
                    <a:pt x="4597" y="1514"/>
                    <a:pt x="4597" y="1514"/>
                  </a:cubicBezTo>
                  <a:cubicBezTo>
                    <a:pt x="4621" y="1514"/>
                    <a:pt x="4621" y="1514"/>
                    <a:pt x="4621" y="1514"/>
                  </a:cubicBezTo>
                  <a:cubicBezTo>
                    <a:pt x="4630" y="1533"/>
                    <a:pt x="4630" y="1533"/>
                    <a:pt x="4630" y="1533"/>
                  </a:cubicBezTo>
                  <a:cubicBezTo>
                    <a:pt x="4630" y="1533"/>
                    <a:pt x="4646" y="1534"/>
                    <a:pt x="4649" y="1541"/>
                  </a:cubicBezTo>
                  <a:cubicBezTo>
                    <a:pt x="4652" y="1548"/>
                    <a:pt x="4653" y="1556"/>
                    <a:pt x="4653" y="1556"/>
                  </a:cubicBezTo>
                  <a:cubicBezTo>
                    <a:pt x="4678" y="1576"/>
                    <a:pt x="4678" y="1576"/>
                    <a:pt x="4678" y="1576"/>
                  </a:cubicBezTo>
                  <a:cubicBezTo>
                    <a:pt x="4695" y="1572"/>
                    <a:pt x="4695" y="1572"/>
                    <a:pt x="4695" y="1572"/>
                  </a:cubicBezTo>
                  <a:cubicBezTo>
                    <a:pt x="4703" y="1582"/>
                    <a:pt x="4703" y="1582"/>
                    <a:pt x="4703" y="1582"/>
                  </a:cubicBezTo>
                  <a:cubicBezTo>
                    <a:pt x="4716" y="1581"/>
                    <a:pt x="4716" y="1581"/>
                    <a:pt x="4716" y="1581"/>
                  </a:cubicBezTo>
                  <a:cubicBezTo>
                    <a:pt x="4716" y="1574"/>
                    <a:pt x="4716" y="1574"/>
                    <a:pt x="4716" y="1574"/>
                  </a:cubicBezTo>
                  <a:cubicBezTo>
                    <a:pt x="4735" y="1576"/>
                    <a:pt x="4735" y="1576"/>
                    <a:pt x="4735" y="1576"/>
                  </a:cubicBezTo>
                  <a:cubicBezTo>
                    <a:pt x="4735" y="1576"/>
                    <a:pt x="4736" y="1565"/>
                    <a:pt x="4739" y="1560"/>
                  </a:cubicBezTo>
                  <a:cubicBezTo>
                    <a:pt x="4742" y="1555"/>
                    <a:pt x="4770" y="1556"/>
                    <a:pt x="4770" y="1556"/>
                  </a:cubicBezTo>
                  <a:cubicBezTo>
                    <a:pt x="4775" y="1542"/>
                    <a:pt x="4775" y="1542"/>
                    <a:pt x="4775" y="1542"/>
                  </a:cubicBezTo>
                  <a:cubicBezTo>
                    <a:pt x="4775" y="1542"/>
                    <a:pt x="4800" y="1536"/>
                    <a:pt x="4810" y="1544"/>
                  </a:cubicBezTo>
                  <a:cubicBezTo>
                    <a:pt x="4820" y="1552"/>
                    <a:pt x="4814" y="1565"/>
                    <a:pt x="4814" y="1565"/>
                  </a:cubicBezTo>
                  <a:cubicBezTo>
                    <a:pt x="4832" y="1573"/>
                    <a:pt x="4832" y="1573"/>
                    <a:pt x="4832" y="1573"/>
                  </a:cubicBezTo>
                  <a:cubicBezTo>
                    <a:pt x="4832" y="1593"/>
                    <a:pt x="4832" y="1593"/>
                    <a:pt x="4832" y="1593"/>
                  </a:cubicBezTo>
                  <a:cubicBezTo>
                    <a:pt x="4820" y="1598"/>
                    <a:pt x="4820" y="1598"/>
                    <a:pt x="4820" y="1598"/>
                  </a:cubicBezTo>
                  <a:cubicBezTo>
                    <a:pt x="4828" y="1608"/>
                    <a:pt x="4828" y="1608"/>
                    <a:pt x="4828" y="1608"/>
                  </a:cubicBezTo>
                  <a:cubicBezTo>
                    <a:pt x="4828" y="1620"/>
                    <a:pt x="4828" y="1620"/>
                    <a:pt x="4828" y="1620"/>
                  </a:cubicBezTo>
                  <a:cubicBezTo>
                    <a:pt x="4835" y="1630"/>
                    <a:pt x="4835" y="1630"/>
                    <a:pt x="4835" y="1630"/>
                  </a:cubicBezTo>
                  <a:cubicBezTo>
                    <a:pt x="4835" y="1643"/>
                    <a:pt x="4835" y="1643"/>
                    <a:pt x="4835" y="1643"/>
                  </a:cubicBezTo>
                  <a:cubicBezTo>
                    <a:pt x="4846" y="1650"/>
                    <a:pt x="4846" y="1650"/>
                    <a:pt x="4846" y="1650"/>
                  </a:cubicBezTo>
                  <a:cubicBezTo>
                    <a:pt x="4843" y="1667"/>
                    <a:pt x="4843" y="1667"/>
                    <a:pt x="4843" y="1667"/>
                  </a:cubicBezTo>
                  <a:cubicBezTo>
                    <a:pt x="4846" y="1684"/>
                    <a:pt x="4846" y="1684"/>
                    <a:pt x="4846" y="1684"/>
                  </a:cubicBezTo>
                  <a:cubicBezTo>
                    <a:pt x="4846" y="1684"/>
                    <a:pt x="4834" y="1688"/>
                    <a:pt x="4839" y="1700"/>
                  </a:cubicBezTo>
                  <a:cubicBezTo>
                    <a:pt x="4844" y="1712"/>
                    <a:pt x="4846" y="1713"/>
                    <a:pt x="4839" y="1719"/>
                  </a:cubicBezTo>
                  <a:cubicBezTo>
                    <a:pt x="4832" y="1725"/>
                    <a:pt x="4796" y="1702"/>
                    <a:pt x="4785" y="1707"/>
                  </a:cubicBezTo>
                  <a:cubicBezTo>
                    <a:pt x="4774" y="1712"/>
                    <a:pt x="4786" y="1718"/>
                    <a:pt x="4784" y="1723"/>
                  </a:cubicBezTo>
                  <a:cubicBezTo>
                    <a:pt x="4782" y="1728"/>
                    <a:pt x="4769" y="1719"/>
                    <a:pt x="4766" y="1729"/>
                  </a:cubicBezTo>
                  <a:cubicBezTo>
                    <a:pt x="4763" y="1739"/>
                    <a:pt x="4778" y="1740"/>
                    <a:pt x="4792" y="1753"/>
                  </a:cubicBezTo>
                  <a:cubicBezTo>
                    <a:pt x="4806" y="1766"/>
                    <a:pt x="4810" y="1785"/>
                    <a:pt x="4812" y="1791"/>
                  </a:cubicBezTo>
                  <a:cubicBezTo>
                    <a:pt x="4814" y="1797"/>
                    <a:pt x="4825" y="1808"/>
                    <a:pt x="4825" y="1808"/>
                  </a:cubicBezTo>
                  <a:cubicBezTo>
                    <a:pt x="4826" y="1831"/>
                    <a:pt x="4826" y="1831"/>
                    <a:pt x="4826" y="1831"/>
                  </a:cubicBezTo>
                  <a:cubicBezTo>
                    <a:pt x="4809" y="1827"/>
                    <a:pt x="4809" y="1827"/>
                    <a:pt x="4809" y="1827"/>
                  </a:cubicBezTo>
                  <a:cubicBezTo>
                    <a:pt x="4802" y="1845"/>
                    <a:pt x="4802" y="1845"/>
                    <a:pt x="4802" y="1845"/>
                  </a:cubicBezTo>
                  <a:cubicBezTo>
                    <a:pt x="4821" y="1851"/>
                    <a:pt x="4821" y="1851"/>
                    <a:pt x="4821" y="1851"/>
                  </a:cubicBezTo>
                  <a:cubicBezTo>
                    <a:pt x="4844" y="1852"/>
                    <a:pt x="4844" y="1852"/>
                    <a:pt x="4844" y="1852"/>
                  </a:cubicBezTo>
                  <a:cubicBezTo>
                    <a:pt x="4844" y="1852"/>
                    <a:pt x="4838" y="1811"/>
                    <a:pt x="4847" y="1807"/>
                  </a:cubicBezTo>
                  <a:cubicBezTo>
                    <a:pt x="4856" y="1803"/>
                    <a:pt x="4863" y="1816"/>
                    <a:pt x="4863" y="1816"/>
                  </a:cubicBezTo>
                  <a:cubicBezTo>
                    <a:pt x="4872" y="1808"/>
                    <a:pt x="4872" y="1808"/>
                    <a:pt x="4872" y="1808"/>
                  </a:cubicBezTo>
                  <a:cubicBezTo>
                    <a:pt x="4872" y="1808"/>
                    <a:pt x="4888" y="1840"/>
                    <a:pt x="4896" y="1838"/>
                  </a:cubicBezTo>
                  <a:cubicBezTo>
                    <a:pt x="4904" y="1836"/>
                    <a:pt x="4923" y="1830"/>
                    <a:pt x="4923" y="1830"/>
                  </a:cubicBezTo>
                  <a:cubicBezTo>
                    <a:pt x="4923" y="1842"/>
                    <a:pt x="4923" y="1842"/>
                    <a:pt x="4923" y="1842"/>
                  </a:cubicBezTo>
                  <a:cubicBezTo>
                    <a:pt x="4923" y="1842"/>
                    <a:pt x="4978" y="1822"/>
                    <a:pt x="4980" y="1802"/>
                  </a:cubicBezTo>
                  <a:cubicBezTo>
                    <a:pt x="4982" y="1782"/>
                    <a:pt x="4985" y="1754"/>
                    <a:pt x="4985" y="1754"/>
                  </a:cubicBezTo>
                  <a:cubicBezTo>
                    <a:pt x="4999" y="1747"/>
                    <a:pt x="4999" y="1747"/>
                    <a:pt x="4999" y="1747"/>
                  </a:cubicBezTo>
                  <a:cubicBezTo>
                    <a:pt x="4999" y="1747"/>
                    <a:pt x="4997" y="1704"/>
                    <a:pt x="5006" y="1697"/>
                  </a:cubicBezTo>
                  <a:cubicBezTo>
                    <a:pt x="5015" y="1690"/>
                    <a:pt x="5017" y="1666"/>
                    <a:pt x="5019" y="1650"/>
                  </a:cubicBezTo>
                  <a:cubicBezTo>
                    <a:pt x="5021" y="1634"/>
                    <a:pt x="5010" y="1607"/>
                    <a:pt x="5010" y="1607"/>
                  </a:cubicBezTo>
                  <a:cubicBezTo>
                    <a:pt x="5010" y="1607"/>
                    <a:pt x="5024" y="1585"/>
                    <a:pt x="5024" y="1580"/>
                  </a:cubicBezTo>
                  <a:cubicBezTo>
                    <a:pt x="5024" y="1575"/>
                    <a:pt x="5016" y="1565"/>
                    <a:pt x="5016" y="1565"/>
                  </a:cubicBezTo>
                  <a:cubicBezTo>
                    <a:pt x="5016" y="1565"/>
                    <a:pt x="5033" y="1541"/>
                    <a:pt x="5029" y="1532"/>
                  </a:cubicBezTo>
                  <a:cubicBezTo>
                    <a:pt x="5025" y="1523"/>
                    <a:pt x="5013" y="1496"/>
                    <a:pt x="5013" y="1496"/>
                  </a:cubicBezTo>
                  <a:cubicBezTo>
                    <a:pt x="5013" y="1496"/>
                    <a:pt x="5005" y="1468"/>
                    <a:pt x="4998" y="1465"/>
                  </a:cubicBezTo>
                  <a:cubicBezTo>
                    <a:pt x="4991" y="1462"/>
                    <a:pt x="4986" y="1458"/>
                    <a:pt x="4986" y="1458"/>
                  </a:cubicBezTo>
                  <a:cubicBezTo>
                    <a:pt x="4990" y="1451"/>
                    <a:pt x="4990" y="1451"/>
                    <a:pt x="4990" y="1451"/>
                  </a:cubicBezTo>
                  <a:cubicBezTo>
                    <a:pt x="4990" y="1451"/>
                    <a:pt x="4971" y="1443"/>
                    <a:pt x="4965" y="1428"/>
                  </a:cubicBezTo>
                  <a:cubicBezTo>
                    <a:pt x="4959" y="1413"/>
                    <a:pt x="4957" y="1401"/>
                    <a:pt x="4957" y="1401"/>
                  </a:cubicBezTo>
                  <a:cubicBezTo>
                    <a:pt x="4948" y="1395"/>
                    <a:pt x="4948" y="1395"/>
                    <a:pt x="4948" y="1395"/>
                  </a:cubicBezTo>
                  <a:cubicBezTo>
                    <a:pt x="4948" y="1395"/>
                    <a:pt x="4955" y="1365"/>
                    <a:pt x="4948" y="1356"/>
                  </a:cubicBezTo>
                  <a:cubicBezTo>
                    <a:pt x="4941" y="1347"/>
                    <a:pt x="4936" y="1340"/>
                    <a:pt x="4936" y="1340"/>
                  </a:cubicBezTo>
                  <a:cubicBezTo>
                    <a:pt x="4924" y="1336"/>
                    <a:pt x="4924" y="1336"/>
                    <a:pt x="4924" y="1336"/>
                  </a:cubicBezTo>
                  <a:cubicBezTo>
                    <a:pt x="4924" y="1336"/>
                    <a:pt x="4920" y="1322"/>
                    <a:pt x="4913" y="1317"/>
                  </a:cubicBezTo>
                  <a:cubicBezTo>
                    <a:pt x="4906" y="1312"/>
                    <a:pt x="4889" y="1304"/>
                    <a:pt x="4889" y="1304"/>
                  </a:cubicBezTo>
                  <a:cubicBezTo>
                    <a:pt x="4875" y="1300"/>
                    <a:pt x="4875" y="1300"/>
                    <a:pt x="4875" y="1300"/>
                  </a:cubicBezTo>
                  <a:cubicBezTo>
                    <a:pt x="4872" y="1291"/>
                    <a:pt x="4872" y="1291"/>
                    <a:pt x="4872" y="1291"/>
                  </a:cubicBezTo>
                  <a:cubicBezTo>
                    <a:pt x="4872" y="1291"/>
                    <a:pt x="4900" y="1304"/>
                    <a:pt x="4903" y="1298"/>
                  </a:cubicBezTo>
                  <a:cubicBezTo>
                    <a:pt x="4906" y="1292"/>
                    <a:pt x="4885" y="1286"/>
                    <a:pt x="4885" y="1286"/>
                  </a:cubicBezTo>
                  <a:cubicBezTo>
                    <a:pt x="4830" y="1260"/>
                    <a:pt x="4830" y="1260"/>
                    <a:pt x="4830" y="1260"/>
                  </a:cubicBezTo>
                  <a:cubicBezTo>
                    <a:pt x="4830" y="1260"/>
                    <a:pt x="4802" y="1243"/>
                    <a:pt x="4794" y="1238"/>
                  </a:cubicBezTo>
                  <a:cubicBezTo>
                    <a:pt x="4786" y="1233"/>
                    <a:pt x="4772" y="1243"/>
                    <a:pt x="4772" y="1243"/>
                  </a:cubicBezTo>
                  <a:cubicBezTo>
                    <a:pt x="4746" y="1236"/>
                    <a:pt x="4746" y="1236"/>
                    <a:pt x="4746" y="1236"/>
                  </a:cubicBezTo>
                  <a:cubicBezTo>
                    <a:pt x="4771" y="1264"/>
                    <a:pt x="4771" y="1264"/>
                    <a:pt x="4771" y="1264"/>
                  </a:cubicBezTo>
                  <a:cubicBezTo>
                    <a:pt x="4767" y="1281"/>
                    <a:pt x="4767" y="1281"/>
                    <a:pt x="4767" y="1281"/>
                  </a:cubicBezTo>
                  <a:cubicBezTo>
                    <a:pt x="4759" y="1279"/>
                    <a:pt x="4759" y="1279"/>
                    <a:pt x="4759" y="1279"/>
                  </a:cubicBezTo>
                  <a:cubicBezTo>
                    <a:pt x="4758" y="1259"/>
                    <a:pt x="4758" y="1259"/>
                    <a:pt x="4758" y="1259"/>
                  </a:cubicBezTo>
                  <a:cubicBezTo>
                    <a:pt x="4748" y="1252"/>
                    <a:pt x="4748" y="1252"/>
                    <a:pt x="4748" y="1252"/>
                  </a:cubicBezTo>
                  <a:cubicBezTo>
                    <a:pt x="4746" y="1271"/>
                    <a:pt x="4746" y="1271"/>
                    <a:pt x="4746" y="1271"/>
                  </a:cubicBezTo>
                  <a:cubicBezTo>
                    <a:pt x="4717" y="1273"/>
                    <a:pt x="4717" y="1273"/>
                    <a:pt x="4717" y="1273"/>
                  </a:cubicBezTo>
                  <a:cubicBezTo>
                    <a:pt x="4717" y="1273"/>
                    <a:pt x="4724" y="1263"/>
                    <a:pt x="4719" y="1257"/>
                  </a:cubicBezTo>
                  <a:cubicBezTo>
                    <a:pt x="4714" y="1251"/>
                    <a:pt x="4701" y="1253"/>
                    <a:pt x="4701" y="1253"/>
                  </a:cubicBezTo>
                  <a:cubicBezTo>
                    <a:pt x="4696" y="1260"/>
                    <a:pt x="4696" y="1260"/>
                    <a:pt x="4696" y="1260"/>
                  </a:cubicBezTo>
                  <a:cubicBezTo>
                    <a:pt x="4681" y="1261"/>
                    <a:pt x="4681" y="1261"/>
                    <a:pt x="4681" y="1261"/>
                  </a:cubicBezTo>
                  <a:cubicBezTo>
                    <a:pt x="4672" y="1236"/>
                    <a:pt x="4672" y="1236"/>
                    <a:pt x="4672" y="1236"/>
                  </a:cubicBezTo>
                  <a:cubicBezTo>
                    <a:pt x="4668" y="1235"/>
                    <a:pt x="4668" y="1235"/>
                    <a:pt x="4668" y="1235"/>
                  </a:cubicBezTo>
                  <a:cubicBezTo>
                    <a:pt x="4660" y="1222"/>
                    <a:pt x="4660" y="1222"/>
                    <a:pt x="4660" y="1222"/>
                  </a:cubicBezTo>
                  <a:cubicBezTo>
                    <a:pt x="4612" y="1224"/>
                    <a:pt x="4612" y="1224"/>
                    <a:pt x="4612" y="1224"/>
                  </a:cubicBezTo>
                  <a:cubicBezTo>
                    <a:pt x="4606" y="1218"/>
                    <a:pt x="4606" y="1218"/>
                    <a:pt x="4606" y="1218"/>
                  </a:cubicBezTo>
                  <a:cubicBezTo>
                    <a:pt x="4606" y="1218"/>
                    <a:pt x="4580" y="1222"/>
                    <a:pt x="4580" y="1205"/>
                  </a:cubicBezTo>
                  <a:cubicBezTo>
                    <a:pt x="4580" y="1188"/>
                    <a:pt x="4602" y="1186"/>
                    <a:pt x="4602" y="1186"/>
                  </a:cubicBezTo>
                  <a:cubicBezTo>
                    <a:pt x="4602" y="1170"/>
                    <a:pt x="4602" y="1170"/>
                    <a:pt x="4602" y="1170"/>
                  </a:cubicBezTo>
                  <a:cubicBezTo>
                    <a:pt x="4602" y="1170"/>
                    <a:pt x="4621" y="1169"/>
                    <a:pt x="4622" y="1158"/>
                  </a:cubicBezTo>
                  <a:cubicBezTo>
                    <a:pt x="4623" y="1147"/>
                    <a:pt x="4633" y="1132"/>
                    <a:pt x="4633" y="1132"/>
                  </a:cubicBezTo>
                  <a:cubicBezTo>
                    <a:pt x="4623" y="1123"/>
                    <a:pt x="4623" y="1123"/>
                    <a:pt x="4623" y="1123"/>
                  </a:cubicBezTo>
                  <a:cubicBezTo>
                    <a:pt x="4630" y="1110"/>
                    <a:pt x="4630" y="1110"/>
                    <a:pt x="4630" y="1110"/>
                  </a:cubicBezTo>
                  <a:cubicBezTo>
                    <a:pt x="4623" y="1100"/>
                    <a:pt x="4623" y="1100"/>
                    <a:pt x="4623" y="1100"/>
                  </a:cubicBezTo>
                  <a:cubicBezTo>
                    <a:pt x="4637" y="1089"/>
                    <a:pt x="4637" y="1089"/>
                    <a:pt x="4637" y="1089"/>
                  </a:cubicBezTo>
                  <a:cubicBezTo>
                    <a:pt x="4651" y="1086"/>
                    <a:pt x="4651" y="1086"/>
                    <a:pt x="4651" y="1086"/>
                  </a:cubicBezTo>
                  <a:cubicBezTo>
                    <a:pt x="4645" y="1064"/>
                    <a:pt x="4645" y="1064"/>
                    <a:pt x="4645" y="1064"/>
                  </a:cubicBezTo>
                  <a:cubicBezTo>
                    <a:pt x="4660" y="1059"/>
                    <a:pt x="4660" y="1059"/>
                    <a:pt x="4660" y="1059"/>
                  </a:cubicBezTo>
                  <a:cubicBezTo>
                    <a:pt x="4642" y="1036"/>
                    <a:pt x="4642" y="1036"/>
                    <a:pt x="4642" y="1036"/>
                  </a:cubicBezTo>
                  <a:cubicBezTo>
                    <a:pt x="4664" y="1027"/>
                    <a:pt x="4664" y="1027"/>
                    <a:pt x="4664" y="1027"/>
                  </a:cubicBezTo>
                  <a:cubicBezTo>
                    <a:pt x="4664" y="1027"/>
                    <a:pt x="4657" y="997"/>
                    <a:pt x="4673" y="987"/>
                  </a:cubicBezTo>
                  <a:cubicBezTo>
                    <a:pt x="4689" y="977"/>
                    <a:pt x="4695" y="976"/>
                    <a:pt x="4695" y="976"/>
                  </a:cubicBezTo>
                  <a:cubicBezTo>
                    <a:pt x="4695" y="976"/>
                    <a:pt x="4720" y="980"/>
                    <a:pt x="4732" y="979"/>
                  </a:cubicBezTo>
                  <a:cubicBezTo>
                    <a:pt x="4744" y="978"/>
                    <a:pt x="4796" y="982"/>
                    <a:pt x="4796" y="982"/>
                  </a:cubicBezTo>
                  <a:cubicBezTo>
                    <a:pt x="4807" y="993"/>
                    <a:pt x="4807" y="993"/>
                    <a:pt x="4807" y="993"/>
                  </a:cubicBezTo>
                  <a:cubicBezTo>
                    <a:pt x="4820" y="988"/>
                    <a:pt x="4820" y="988"/>
                    <a:pt x="4820" y="988"/>
                  </a:cubicBezTo>
                  <a:cubicBezTo>
                    <a:pt x="4815" y="976"/>
                    <a:pt x="4815" y="976"/>
                    <a:pt x="4815" y="976"/>
                  </a:cubicBezTo>
                  <a:cubicBezTo>
                    <a:pt x="4865" y="989"/>
                    <a:pt x="4865" y="989"/>
                    <a:pt x="4865" y="989"/>
                  </a:cubicBezTo>
                  <a:cubicBezTo>
                    <a:pt x="4885" y="977"/>
                    <a:pt x="4885" y="977"/>
                    <a:pt x="4885" y="977"/>
                  </a:cubicBezTo>
                  <a:cubicBezTo>
                    <a:pt x="4904" y="992"/>
                    <a:pt x="4904" y="992"/>
                    <a:pt x="4904" y="992"/>
                  </a:cubicBezTo>
                  <a:cubicBezTo>
                    <a:pt x="4909" y="968"/>
                    <a:pt x="4909" y="968"/>
                    <a:pt x="4909" y="968"/>
                  </a:cubicBezTo>
                  <a:cubicBezTo>
                    <a:pt x="4909" y="968"/>
                    <a:pt x="4932" y="966"/>
                    <a:pt x="4948" y="967"/>
                  </a:cubicBezTo>
                  <a:cubicBezTo>
                    <a:pt x="4964" y="968"/>
                    <a:pt x="4970" y="982"/>
                    <a:pt x="4976" y="980"/>
                  </a:cubicBezTo>
                  <a:cubicBezTo>
                    <a:pt x="4982" y="978"/>
                    <a:pt x="5000" y="967"/>
                    <a:pt x="5000" y="967"/>
                  </a:cubicBezTo>
                  <a:cubicBezTo>
                    <a:pt x="5016" y="981"/>
                    <a:pt x="5016" y="981"/>
                    <a:pt x="5016" y="981"/>
                  </a:cubicBezTo>
                  <a:cubicBezTo>
                    <a:pt x="5044" y="986"/>
                    <a:pt x="5044" y="986"/>
                    <a:pt x="5044" y="986"/>
                  </a:cubicBezTo>
                  <a:cubicBezTo>
                    <a:pt x="5008" y="993"/>
                    <a:pt x="5008" y="993"/>
                    <a:pt x="5008" y="993"/>
                  </a:cubicBezTo>
                  <a:cubicBezTo>
                    <a:pt x="5008" y="993"/>
                    <a:pt x="5019" y="1014"/>
                    <a:pt x="5030" y="1009"/>
                  </a:cubicBezTo>
                  <a:cubicBezTo>
                    <a:pt x="5041" y="1004"/>
                    <a:pt x="5061" y="996"/>
                    <a:pt x="5061" y="996"/>
                  </a:cubicBezTo>
                  <a:cubicBezTo>
                    <a:pt x="5079" y="1005"/>
                    <a:pt x="5079" y="1005"/>
                    <a:pt x="5079" y="1005"/>
                  </a:cubicBezTo>
                  <a:cubicBezTo>
                    <a:pt x="5094" y="993"/>
                    <a:pt x="5094" y="993"/>
                    <a:pt x="5094" y="993"/>
                  </a:cubicBezTo>
                  <a:cubicBezTo>
                    <a:pt x="5094" y="993"/>
                    <a:pt x="5121" y="1002"/>
                    <a:pt x="5129" y="998"/>
                  </a:cubicBezTo>
                  <a:cubicBezTo>
                    <a:pt x="5137" y="994"/>
                    <a:pt x="5131" y="986"/>
                    <a:pt x="5131" y="986"/>
                  </a:cubicBezTo>
                  <a:cubicBezTo>
                    <a:pt x="5155" y="988"/>
                    <a:pt x="5155" y="988"/>
                    <a:pt x="5155" y="988"/>
                  </a:cubicBezTo>
                  <a:cubicBezTo>
                    <a:pt x="5122" y="970"/>
                    <a:pt x="5122" y="970"/>
                    <a:pt x="5122" y="970"/>
                  </a:cubicBezTo>
                  <a:cubicBezTo>
                    <a:pt x="5104" y="977"/>
                    <a:pt x="5104" y="977"/>
                    <a:pt x="5104" y="977"/>
                  </a:cubicBezTo>
                  <a:cubicBezTo>
                    <a:pt x="5099" y="965"/>
                    <a:pt x="5099" y="965"/>
                    <a:pt x="5099" y="965"/>
                  </a:cubicBezTo>
                  <a:cubicBezTo>
                    <a:pt x="5099" y="965"/>
                    <a:pt x="5084" y="942"/>
                    <a:pt x="5086" y="937"/>
                  </a:cubicBezTo>
                  <a:cubicBezTo>
                    <a:pt x="5088" y="932"/>
                    <a:pt x="5105" y="918"/>
                    <a:pt x="5105" y="918"/>
                  </a:cubicBezTo>
                  <a:cubicBezTo>
                    <a:pt x="5101" y="898"/>
                    <a:pt x="5101" y="898"/>
                    <a:pt x="5101" y="898"/>
                  </a:cubicBezTo>
                  <a:cubicBezTo>
                    <a:pt x="5110" y="890"/>
                    <a:pt x="5110" y="890"/>
                    <a:pt x="5110" y="890"/>
                  </a:cubicBezTo>
                  <a:cubicBezTo>
                    <a:pt x="5110" y="890"/>
                    <a:pt x="5084" y="877"/>
                    <a:pt x="5101" y="866"/>
                  </a:cubicBezTo>
                  <a:cubicBezTo>
                    <a:pt x="5118" y="855"/>
                    <a:pt x="5154" y="866"/>
                    <a:pt x="5154" y="866"/>
                  </a:cubicBezTo>
                  <a:cubicBezTo>
                    <a:pt x="5168" y="852"/>
                    <a:pt x="5168" y="852"/>
                    <a:pt x="5168" y="852"/>
                  </a:cubicBezTo>
                  <a:cubicBezTo>
                    <a:pt x="5190" y="871"/>
                    <a:pt x="5190" y="871"/>
                    <a:pt x="5190" y="871"/>
                  </a:cubicBezTo>
                  <a:cubicBezTo>
                    <a:pt x="5209" y="860"/>
                    <a:pt x="5209" y="860"/>
                    <a:pt x="5209" y="860"/>
                  </a:cubicBezTo>
                  <a:cubicBezTo>
                    <a:pt x="5209" y="860"/>
                    <a:pt x="5222" y="893"/>
                    <a:pt x="5229" y="896"/>
                  </a:cubicBezTo>
                  <a:cubicBezTo>
                    <a:pt x="5236" y="899"/>
                    <a:pt x="5257" y="895"/>
                    <a:pt x="5257" y="895"/>
                  </a:cubicBezTo>
                  <a:cubicBezTo>
                    <a:pt x="5257" y="895"/>
                    <a:pt x="5257" y="926"/>
                    <a:pt x="5268" y="922"/>
                  </a:cubicBezTo>
                  <a:cubicBezTo>
                    <a:pt x="5279" y="918"/>
                    <a:pt x="5294" y="878"/>
                    <a:pt x="5294" y="878"/>
                  </a:cubicBezTo>
                  <a:cubicBezTo>
                    <a:pt x="5310" y="869"/>
                    <a:pt x="5310" y="869"/>
                    <a:pt x="5310" y="869"/>
                  </a:cubicBezTo>
                  <a:cubicBezTo>
                    <a:pt x="5330" y="876"/>
                    <a:pt x="5330" y="876"/>
                    <a:pt x="5330" y="876"/>
                  </a:cubicBezTo>
                  <a:cubicBezTo>
                    <a:pt x="5329" y="867"/>
                    <a:pt x="5329" y="867"/>
                    <a:pt x="5329" y="867"/>
                  </a:cubicBezTo>
                  <a:cubicBezTo>
                    <a:pt x="5310" y="857"/>
                    <a:pt x="5310" y="857"/>
                    <a:pt x="5310" y="857"/>
                  </a:cubicBezTo>
                  <a:cubicBezTo>
                    <a:pt x="5310" y="857"/>
                    <a:pt x="5263" y="823"/>
                    <a:pt x="5274" y="822"/>
                  </a:cubicBezTo>
                  <a:cubicBezTo>
                    <a:pt x="5285" y="821"/>
                    <a:pt x="5339" y="823"/>
                    <a:pt x="5339" y="823"/>
                  </a:cubicBezTo>
                  <a:cubicBezTo>
                    <a:pt x="5373" y="823"/>
                    <a:pt x="5373" y="823"/>
                    <a:pt x="5373" y="823"/>
                  </a:cubicBezTo>
                  <a:cubicBezTo>
                    <a:pt x="5373" y="823"/>
                    <a:pt x="5376" y="837"/>
                    <a:pt x="5372" y="836"/>
                  </a:cubicBezTo>
                  <a:cubicBezTo>
                    <a:pt x="5368" y="835"/>
                    <a:pt x="5329" y="823"/>
                    <a:pt x="5331" y="837"/>
                  </a:cubicBezTo>
                  <a:cubicBezTo>
                    <a:pt x="5333" y="851"/>
                    <a:pt x="5356" y="864"/>
                    <a:pt x="5356" y="864"/>
                  </a:cubicBezTo>
                  <a:cubicBezTo>
                    <a:pt x="5358" y="881"/>
                    <a:pt x="5358" y="881"/>
                    <a:pt x="5358" y="881"/>
                  </a:cubicBezTo>
                  <a:cubicBezTo>
                    <a:pt x="5378" y="884"/>
                    <a:pt x="5378" y="884"/>
                    <a:pt x="5378" y="884"/>
                  </a:cubicBezTo>
                  <a:cubicBezTo>
                    <a:pt x="5374" y="897"/>
                    <a:pt x="5374" y="897"/>
                    <a:pt x="5374" y="897"/>
                  </a:cubicBezTo>
                  <a:cubicBezTo>
                    <a:pt x="5387" y="908"/>
                    <a:pt x="5387" y="908"/>
                    <a:pt x="5387" y="908"/>
                  </a:cubicBezTo>
                  <a:cubicBezTo>
                    <a:pt x="5369" y="911"/>
                    <a:pt x="5369" y="911"/>
                    <a:pt x="5369" y="911"/>
                  </a:cubicBezTo>
                  <a:cubicBezTo>
                    <a:pt x="5364" y="922"/>
                    <a:pt x="5364" y="922"/>
                    <a:pt x="5364" y="922"/>
                  </a:cubicBezTo>
                  <a:cubicBezTo>
                    <a:pt x="5352" y="926"/>
                    <a:pt x="5352" y="926"/>
                    <a:pt x="5352" y="926"/>
                  </a:cubicBezTo>
                  <a:cubicBezTo>
                    <a:pt x="5352" y="926"/>
                    <a:pt x="5365" y="948"/>
                    <a:pt x="5358" y="960"/>
                  </a:cubicBezTo>
                  <a:cubicBezTo>
                    <a:pt x="5351" y="972"/>
                    <a:pt x="5340" y="992"/>
                    <a:pt x="5340" y="999"/>
                  </a:cubicBezTo>
                  <a:cubicBezTo>
                    <a:pt x="5340" y="1006"/>
                    <a:pt x="5358" y="1012"/>
                    <a:pt x="5345" y="1029"/>
                  </a:cubicBezTo>
                  <a:cubicBezTo>
                    <a:pt x="5332" y="1046"/>
                    <a:pt x="5310" y="1051"/>
                    <a:pt x="5310" y="1051"/>
                  </a:cubicBezTo>
                  <a:cubicBezTo>
                    <a:pt x="5313" y="1063"/>
                    <a:pt x="5313" y="1063"/>
                    <a:pt x="5313" y="1063"/>
                  </a:cubicBezTo>
                  <a:cubicBezTo>
                    <a:pt x="5300" y="1063"/>
                    <a:pt x="5300" y="1063"/>
                    <a:pt x="5300" y="1063"/>
                  </a:cubicBezTo>
                  <a:cubicBezTo>
                    <a:pt x="5300" y="1063"/>
                    <a:pt x="5324" y="1073"/>
                    <a:pt x="5322" y="1090"/>
                  </a:cubicBezTo>
                  <a:cubicBezTo>
                    <a:pt x="5320" y="1107"/>
                    <a:pt x="5313" y="1118"/>
                    <a:pt x="5320" y="1135"/>
                  </a:cubicBezTo>
                  <a:cubicBezTo>
                    <a:pt x="5327" y="1152"/>
                    <a:pt x="5392" y="1206"/>
                    <a:pt x="5392" y="1206"/>
                  </a:cubicBezTo>
                  <a:cubicBezTo>
                    <a:pt x="5432" y="1247"/>
                    <a:pt x="5432" y="1247"/>
                    <a:pt x="5432" y="1247"/>
                  </a:cubicBezTo>
                  <a:cubicBezTo>
                    <a:pt x="5441" y="1244"/>
                    <a:pt x="5441" y="1244"/>
                    <a:pt x="5441" y="1244"/>
                  </a:cubicBezTo>
                  <a:cubicBezTo>
                    <a:pt x="5494" y="1308"/>
                    <a:pt x="5494" y="1308"/>
                    <a:pt x="5494" y="1308"/>
                  </a:cubicBezTo>
                  <a:cubicBezTo>
                    <a:pt x="5529" y="1319"/>
                    <a:pt x="5529" y="1319"/>
                    <a:pt x="5529" y="1319"/>
                  </a:cubicBezTo>
                  <a:cubicBezTo>
                    <a:pt x="5544" y="1337"/>
                    <a:pt x="5544" y="1337"/>
                    <a:pt x="5544" y="1337"/>
                  </a:cubicBezTo>
                  <a:cubicBezTo>
                    <a:pt x="5544" y="1337"/>
                    <a:pt x="5583" y="1385"/>
                    <a:pt x="5590" y="1389"/>
                  </a:cubicBezTo>
                  <a:cubicBezTo>
                    <a:pt x="5597" y="1393"/>
                    <a:pt x="5608" y="1393"/>
                    <a:pt x="5608" y="1393"/>
                  </a:cubicBezTo>
                  <a:cubicBezTo>
                    <a:pt x="5608" y="1393"/>
                    <a:pt x="5602" y="1411"/>
                    <a:pt x="5617" y="1405"/>
                  </a:cubicBezTo>
                  <a:cubicBezTo>
                    <a:pt x="5632" y="1399"/>
                    <a:pt x="5630" y="1386"/>
                    <a:pt x="5630" y="1386"/>
                  </a:cubicBezTo>
                  <a:cubicBezTo>
                    <a:pt x="5623" y="1378"/>
                    <a:pt x="5623" y="1378"/>
                    <a:pt x="5623" y="1378"/>
                  </a:cubicBezTo>
                  <a:cubicBezTo>
                    <a:pt x="5623" y="1378"/>
                    <a:pt x="5638" y="1358"/>
                    <a:pt x="5635" y="1349"/>
                  </a:cubicBezTo>
                  <a:cubicBezTo>
                    <a:pt x="5632" y="1340"/>
                    <a:pt x="5601" y="1323"/>
                    <a:pt x="5608" y="1310"/>
                  </a:cubicBezTo>
                  <a:cubicBezTo>
                    <a:pt x="5615" y="1297"/>
                    <a:pt x="5624" y="1289"/>
                    <a:pt x="5627" y="1288"/>
                  </a:cubicBezTo>
                  <a:cubicBezTo>
                    <a:pt x="5630" y="1287"/>
                    <a:pt x="5650" y="1295"/>
                    <a:pt x="5650" y="1295"/>
                  </a:cubicBezTo>
                  <a:cubicBezTo>
                    <a:pt x="5650" y="1295"/>
                    <a:pt x="5628" y="1269"/>
                    <a:pt x="5622" y="1265"/>
                  </a:cubicBezTo>
                  <a:cubicBezTo>
                    <a:pt x="5616" y="1261"/>
                    <a:pt x="5601" y="1255"/>
                    <a:pt x="5604" y="1240"/>
                  </a:cubicBezTo>
                  <a:cubicBezTo>
                    <a:pt x="5607" y="1225"/>
                    <a:pt x="5625" y="1220"/>
                    <a:pt x="5625" y="1220"/>
                  </a:cubicBezTo>
                  <a:cubicBezTo>
                    <a:pt x="5625" y="1220"/>
                    <a:pt x="5654" y="1232"/>
                    <a:pt x="5652" y="1217"/>
                  </a:cubicBezTo>
                  <a:cubicBezTo>
                    <a:pt x="5650" y="1202"/>
                    <a:pt x="5637" y="1198"/>
                    <a:pt x="5621" y="1190"/>
                  </a:cubicBezTo>
                  <a:cubicBezTo>
                    <a:pt x="5605" y="1182"/>
                    <a:pt x="5591" y="1163"/>
                    <a:pt x="5590" y="1152"/>
                  </a:cubicBezTo>
                  <a:cubicBezTo>
                    <a:pt x="5589" y="1141"/>
                    <a:pt x="5583" y="1129"/>
                    <a:pt x="5583" y="1129"/>
                  </a:cubicBezTo>
                  <a:cubicBezTo>
                    <a:pt x="5590" y="1126"/>
                    <a:pt x="5590" y="1126"/>
                    <a:pt x="5590" y="1126"/>
                  </a:cubicBezTo>
                  <a:cubicBezTo>
                    <a:pt x="5590" y="1126"/>
                    <a:pt x="5616" y="1151"/>
                    <a:pt x="5622" y="1146"/>
                  </a:cubicBezTo>
                  <a:cubicBezTo>
                    <a:pt x="5628" y="1141"/>
                    <a:pt x="5604" y="1114"/>
                    <a:pt x="5604" y="1114"/>
                  </a:cubicBezTo>
                  <a:cubicBezTo>
                    <a:pt x="5581" y="1111"/>
                    <a:pt x="5581" y="1111"/>
                    <a:pt x="5581" y="1111"/>
                  </a:cubicBezTo>
                  <a:cubicBezTo>
                    <a:pt x="5548" y="1083"/>
                    <a:pt x="5548" y="1083"/>
                    <a:pt x="5548" y="1083"/>
                  </a:cubicBezTo>
                  <a:cubicBezTo>
                    <a:pt x="5548" y="1083"/>
                    <a:pt x="5552" y="1062"/>
                    <a:pt x="5536" y="1055"/>
                  </a:cubicBezTo>
                  <a:cubicBezTo>
                    <a:pt x="5520" y="1048"/>
                    <a:pt x="5508" y="1048"/>
                    <a:pt x="5508" y="1048"/>
                  </a:cubicBezTo>
                  <a:cubicBezTo>
                    <a:pt x="5509" y="1060"/>
                    <a:pt x="5509" y="1060"/>
                    <a:pt x="5509" y="1060"/>
                  </a:cubicBezTo>
                  <a:cubicBezTo>
                    <a:pt x="5509" y="1060"/>
                    <a:pt x="5465" y="1050"/>
                    <a:pt x="5464" y="1034"/>
                  </a:cubicBezTo>
                  <a:cubicBezTo>
                    <a:pt x="5463" y="1018"/>
                    <a:pt x="5471" y="1007"/>
                    <a:pt x="5463" y="992"/>
                  </a:cubicBezTo>
                  <a:cubicBezTo>
                    <a:pt x="5455" y="977"/>
                    <a:pt x="5439" y="969"/>
                    <a:pt x="5439" y="969"/>
                  </a:cubicBezTo>
                  <a:cubicBezTo>
                    <a:pt x="5439" y="969"/>
                    <a:pt x="5441" y="953"/>
                    <a:pt x="5445" y="951"/>
                  </a:cubicBezTo>
                  <a:cubicBezTo>
                    <a:pt x="5449" y="949"/>
                    <a:pt x="5458" y="956"/>
                    <a:pt x="5458" y="956"/>
                  </a:cubicBezTo>
                  <a:cubicBezTo>
                    <a:pt x="5467" y="945"/>
                    <a:pt x="5467" y="945"/>
                    <a:pt x="5467" y="945"/>
                  </a:cubicBezTo>
                  <a:cubicBezTo>
                    <a:pt x="5492" y="964"/>
                    <a:pt x="5492" y="964"/>
                    <a:pt x="5492" y="964"/>
                  </a:cubicBezTo>
                  <a:cubicBezTo>
                    <a:pt x="5497" y="959"/>
                    <a:pt x="5497" y="959"/>
                    <a:pt x="5497" y="959"/>
                  </a:cubicBezTo>
                  <a:cubicBezTo>
                    <a:pt x="5489" y="951"/>
                    <a:pt x="5489" y="951"/>
                    <a:pt x="5489" y="951"/>
                  </a:cubicBezTo>
                  <a:cubicBezTo>
                    <a:pt x="5489" y="951"/>
                    <a:pt x="5495" y="919"/>
                    <a:pt x="5506" y="925"/>
                  </a:cubicBezTo>
                  <a:cubicBezTo>
                    <a:pt x="5517" y="931"/>
                    <a:pt x="5544" y="964"/>
                    <a:pt x="5544" y="964"/>
                  </a:cubicBezTo>
                  <a:cubicBezTo>
                    <a:pt x="5551" y="931"/>
                    <a:pt x="5551" y="931"/>
                    <a:pt x="5551" y="931"/>
                  </a:cubicBezTo>
                  <a:cubicBezTo>
                    <a:pt x="5551" y="931"/>
                    <a:pt x="5608" y="924"/>
                    <a:pt x="5617" y="924"/>
                  </a:cubicBezTo>
                  <a:cubicBezTo>
                    <a:pt x="5626" y="924"/>
                    <a:pt x="5663" y="944"/>
                    <a:pt x="5663" y="944"/>
                  </a:cubicBezTo>
                  <a:cubicBezTo>
                    <a:pt x="5691" y="955"/>
                    <a:pt x="5691" y="955"/>
                    <a:pt x="5691" y="955"/>
                  </a:cubicBezTo>
                  <a:cubicBezTo>
                    <a:pt x="5671" y="915"/>
                    <a:pt x="5671" y="915"/>
                    <a:pt x="5671" y="915"/>
                  </a:cubicBezTo>
                  <a:cubicBezTo>
                    <a:pt x="5671" y="915"/>
                    <a:pt x="5703" y="916"/>
                    <a:pt x="5705" y="905"/>
                  </a:cubicBezTo>
                  <a:cubicBezTo>
                    <a:pt x="5707" y="894"/>
                    <a:pt x="5697" y="876"/>
                    <a:pt x="5697" y="876"/>
                  </a:cubicBezTo>
                  <a:cubicBezTo>
                    <a:pt x="5710" y="877"/>
                    <a:pt x="5710" y="877"/>
                    <a:pt x="5710" y="877"/>
                  </a:cubicBezTo>
                  <a:cubicBezTo>
                    <a:pt x="5713" y="861"/>
                    <a:pt x="5713" y="861"/>
                    <a:pt x="5713" y="861"/>
                  </a:cubicBezTo>
                  <a:cubicBezTo>
                    <a:pt x="5713" y="861"/>
                    <a:pt x="5752" y="870"/>
                    <a:pt x="5758" y="855"/>
                  </a:cubicBezTo>
                  <a:cubicBezTo>
                    <a:pt x="5764" y="840"/>
                    <a:pt x="5784" y="828"/>
                    <a:pt x="5784" y="828"/>
                  </a:cubicBezTo>
                  <a:cubicBezTo>
                    <a:pt x="5770" y="811"/>
                    <a:pt x="5770" y="811"/>
                    <a:pt x="5770" y="811"/>
                  </a:cubicBezTo>
                  <a:cubicBezTo>
                    <a:pt x="5791" y="813"/>
                    <a:pt x="5791" y="813"/>
                    <a:pt x="5791" y="813"/>
                  </a:cubicBezTo>
                  <a:cubicBezTo>
                    <a:pt x="5794" y="825"/>
                    <a:pt x="5794" y="825"/>
                    <a:pt x="5794" y="825"/>
                  </a:cubicBezTo>
                  <a:cubicBezTo>
                    <a:pt x="5835" y="828"/>
                    <a:pt x="5835" y="828"/>
                    <a:pt x="5835" y="828"/>
                  </a:cubicBezTo>
                  <a:cubicBezTo>
                    <a:pt x="5835" y="828"/>
                    <a:pt x="5877" y="838"/>
                    <a:pt x="5877" y="832"/>
                  </a:cubicBezTo>
                  <a:cubicBezTo>
                    <a:pt x="5877" y="826"/>
                    <a:pt x="5873" y="814"/>
                    <a:pt x="5873" y="814"/>
                  </a:cubicBezTo>
                  <a:cubicBezTo>
                    <a:pt x="5848" y="811"/>
                    <a:pt x="5848" y="811"/>
                    <a:pt x="5848" y="811"/>
                  </a:cubicBezTo>
                  <a:cubicBezTo>
                    <a:pt x="5844" y="797"/>
                    <a:pt x="5844" y="797"/>
                    <a:pt x="5844" y="797"/>
                  </a:cubicBezTo>
                  <a:cubicBezTo>
                    <a:pt x="5844" y="797"/>
                    <a:pt x="5807" y="784"/>
                    <a:pt x="5795" y="780"/>
                  </a:cubicBezTo>
                  <a:cubicBezTo>
                    <a:pt x="5783" y="776"/>
                    <a:pt x="5774" y="782"/>
                    <a:pt x="5774" y="782"/>
                  </a:cubicBezTo>
                  <a:cubicBezTo>
                    <a:pt x="5778" y="770"/>
                    <a:pt x="5778" y="770"/>
                    <a:pt x="5778" y="770"/>
                  </a:cubicBezTo>
                  <a:cubicBezTo>
                    <a:pt x="5730" y="736"/>
                    <a:pt x="5730" y="736"/>
                    <a:pt x="5730" y="736"/>
                  </a:cubicBezTo>
                  <a:cubicBezTo>
                    <a:pt x="5719" y="747"/>
                    <a:pt x="5719" y="747"/>
                    <a:pt x="5719" y="747"/>
                  </a:cubicBezTo>
                  <a:cubicBezTo>
                    <a:pt x="5719" y="747"/>
                    <a:pt x="5699" y="742"/>
                    <a:pt x="5691" y="739"/>
                  </a:cubicBezTo>
                  <a:cubicBezTo>
                    <a:pt x="5683" y="736"/>
                    <a:pt x="5672" y="727"/>
                    <a:pt x="5672" y="727"/>
                  </a:cubicBezTo>
                  <a:cubicBezTo>
                    <a:pt x="5649" y="732"/>
                    <a:pt x="5649" y="732"/>
                    <a:pt x="5649" y="732"/>
                  </a:cubicBezTo>
                  <a:cubicBezTo>
                    <a:pt x="5630" y="730"/>
                    <a:pt x="5630" y="730"/>
                    <a:pt x="5630" y="730"/>
                  </a:cubicBezTo>
                  <a:cubicBezTo>
                    <a:pt x="5630" y="730"/>
                    <a:pt x="5599" y="712"/>
                    <a:pt x="5611" y="709"/>
                  </a:cubicBezTo>
                  <a:cubicBezTo>
                    <a:pt x="5623" y="706"/>
                    <a:pt x="5635" y="713"/>
                    <a:pt x="5644" y="715"/>
                  </a:cubicBezTo>
                  <a:cubicBezTo>
                    <a:pt x="5653" y="717"/>
                    <a:pt x="5697" y="724"/>
                    <a:pt x="5697" y="724"/>
                  </a:cubicBezTo>
                  <a:cubicBezTo>
                    <a:pt x="5697" y="724"/>
                    <a:pt x="5749" y="709"/>
                    <a:pt x="5749" y="702"/>
                  </a:cubicBezTo>
                  <a:cubicBezTo>
                    <a:pt x="5749" y="695"/>
                    <a:pt x="5719" y="679"/>
                    <a:pt x="5716" y="677"/>
                  </a:cubicBezTo>
                  <a:cubicBezTo>
                    <a:pt x="5713" y="675"/>
                    <a:pt x="5664" y="658"/>
                    <a:pt x="5679" y="649"/>
                  </a:cubicBezTo>
                  <a:cubicBezTo>
                    <a:pt x="5694" y="640"/>
                    <a:pt x="5719" y="660"/>
                    <a:pt x="5719" y="660"/>
                  </a:cubicBezTo>
                  <a:cubicBezTo>
                    <a:pt x="5719" y="660"/>
                    <a:pt x="5766" y="689"/>
                    <a:pt x="5780" y="687"/>
                  </a:cubicBezTo>
                  <a:cubicBezTo>
                    <a:pt x="5794" y="685"/>
                    <a:pt x="5799" y="671"/>
                    <a:pt x="5838" y="684"/>
                  </a:cubicBezTo>
                  <a:cubicBezTo>
                    <a:pt x="5877" y="697"/>
                    <a:pt x="5911" y="711"/>
                    <a:pt x="5922" y="713"/>
                  </a:cubicBezTo>
                  <a:cubicBezTo>
                    <a:pt x="5933" y="715"/>
                    <a:pt x="5976" y="727"/>
                    <a:pt x="5976" y="727"/>
                  </a:cubicBezTo>
                  <a:cubicBezTo>
                    <a:pt x="5976" y="727"/>
                    <a:pt x="6035" y="762"/>
                    <a:pt x="6031" y="744"/>
                  </a:cubicBezTo>
                  <a:cubicBezTo>
                    <a:pt x="6027" y="726"/>
                    <a:pt x="6007" y="715"/>
                    <a:pt x="6007" y="715"/>
                  </a:cubicBezTo>
                  <a:cubicBezTo>
                    <a:pt x="6019" y="706"/>
                    <a:pt x="6019" y="706"/>
                    <a:pt x="6019" y="706"/>
                  </a:cubicBezTo>
                  <a:cubicBezTo>
                    <a:pt x="5989" y="693"/>
                    <a:pt x="5989" y="693"/>
                    <a:pt x="5989" y="693"/>
                  </a:cubicBezTo>
                  <a:cubicBezTo>
                    <a:pt x="5995" y="689"/>
                    <a:pt x="5995" y="689"/>
                    <a:pt x="5995" y="689"/>
                  </a:cubicBezTo>
                  <a:cubicBezTo>
                    <a:pt x="5962" y="672"/>
                    <a:pt x="5962" y="672"/>
                    <a:pt x="5962" y="672"/>
                  </a:cubicBezTo>
                  <a:cubicBezTo>
                    <a:pt x="5998" y="679"/>
                    <a:pt x="5998" y="679"/>
                    <a:pt x="5998" y="679"/>
                  </a:cubicBezTo>
                  <a:cubicBezTo>
                    <a:pt x="5994" y="666"/>
                    <a:pt x="5994" y="666"/>
                    <a:pt x="5994" y="666"/>
                  </a:cubicBezTo>
                  <a:cubicBezTo>
                    <a:pt x="5994" y="666"/>
                    <a:pt x="6045" y="678"/>
                    <a:pt x="6034" y="664"/>
                  </a:cubicBezTo>
                  <a:close/>
                  <a:moveTo>
                    <a:pt x="3574" y="1289"/>
                  </a:moveTo>
                  <a:cubicBezTo>
                    <a:pt x="3574" y="1289"/>
                    <a:pt x="3571" y="1303"/>
                    <a:pt x="3570" y="1306"/>
                  </a:cubicBezTo>
                  <a:cubicBezTo>
                    <a:pt x="3569" y="1309"/>
                    <a:pt x="3556" y="1316"/>
                    <a:pt x="3556" y="1316"/>
                  </a:cubicBezTo>
                  <a:cubicBezTo>
                    <a:pt x="3556" y="1316"/>
                    <a:pt x="3544" y="1322"/>
                    <a:pt x="3540" y="1322"/>
                  </a:cubicBezTo>
                  <a:cubicBezTo>
                    <a:pt x="3535" y="1322"/>
                    <a:pt x="3536" y="1334"/>
                    <a:pt x="3536" y="1334"/>
                  </a:cubicBezTo>
                  <a:cubicBezTo>
                    <a:pt x="3536" y="1334"/>
                    <a:pt x="3534" y="1327"/>
                    <a:pt x="3514" y="1334"/>
                  </a:cubicBezTo>
                  <a:cubicBezTo>
                    <a:pt x="3493" y="1340"/>
                    <a:pt x="3522" y="1350"/>
                    <a:pt x="3522" y="1350"/>
                  </a:cubicBezTo>
                  <a:cubicBezTo>
                    <a:pt x="3522" y="1350"/>
                    <a:pt x="3512" y="1358"/>
                    <a:pt x="3510" y="1367"/>
                  </a:cubicBezTo>
                  <a:cubicBezTo>
                    <a:pt x="3509" y="1377"/>
                    <a:pt x="3494" y="1368"/>
                    <a:pt x="3494" y="1368"/>
                  </a:cubicBezTo>
                  <a:cubicBezTo>
                    <a:pt x="3494" y="1368"/>
                    <a:pt x="3491" y="1382"/>
                    <a:pt x="3471" y="1382"/>
                  </a:cubicBezTo>
                  <a:cubicBezTo>
                    <a:pt x="3450" y="1382"/>
                    <a:pt x="3451" y="1377"/>
                    <a:pt x="3451" y="1377"/>
                  </a:cubicBezTo>
                  <a:cubicBezTo>
                    <a:pt x="3428" y="1371"/>
                    <a:pt x="3428" y="1371"/>
                    <a:pt x="3428" y="1371"/>
                  </a:cubicBezTo>
                  <a:cubicBezTo>
                    <a:pt x="3439" y="1365"/>
                    <a:pt x="3439" y="1365"/>
                    <a:pt x="3439" y="1365"/>
                  </a:cubicBezTo>
                  <a:cubicBezTo>
                    <a:pt x="3461" y="1365"/>
                    <a:pt x="3461" y="1365"/>
                    <a:pt x="3461" y="1365"/>
                  </a:cubicBezTo>
                  <a:cubicBezTo>
                    <a:pt x="3462" y="1360"/>
                    <a:pt x="3462" y="1360"/>
                    <a:pt x="3462" y="1360"/>
                  </a:cubicBezTo>
                  <a:cubicBezTo>
                    <a:pt x="3462" y="1360"/>
                    <a:pt x="3478" y="1360"/>
                    <a:pt x="3485" y="1353"/>
                  </a:cubicBezTo>
                  <a:cubicBezTo>
                    <a:pt x="3491" y="1347"/>
                    <a:pt x="3492" y="1328"/>
                    <a:pt x="3492" y="1328"/>
                  </a:cubicBezTo>
                  <a:cubicBezTo>
                    <a:pt x="3492" y="1328"/>
                    <a:pt x="3496" y="1327"/>
                    <a:pt x="3505" y="1325"/>
                  </a:cubicBezTo>
                  <a:cubicBezTo>
                    <a:pt x="3514" y="1323"/>
                    <a:pt x="3514" y="1307"/>
                    <a:pt x="3514" y="1307"/>
                  </a:cubicBezTo>
                  <a:cubicBezTo>
                    <a:pt x="3514" y="1307"/>
                    <a:pt x="3507" y="1303"/>
                    <a:pt x="3508" y="1297"/>
                  </a:cubicBezTo>
                  <a:cubicBezTo>
                    <a:pt x="3509" y="1292"/>
                    <a:pt x="3528" y="1275"/>
                    <a:pt x="3528" y="1275"/>
                  </a:cubicBezTo>
                  <a:cubicBezTo>
                    <a:pt x="3528" y="1264"/>
                    <a:pt x="3528" y="1264"/>
                    <a:pt x="3528" y="1264"/>
                  </a:cubicBezTo>
                  <a:cubicBezTo>
                    <a:pt x="3542" y="1251"/>
                    <a:pt x="3542" y="1251"/>
                    <a:pt x="3542" y="1251"/>
                  </a:cubicBezTo>
                  <a:cubicBezTo>
                    <a:pt x="3534" y="1240"/>
                    <a:pt x="3534" y="1240"/>
                    <a:pt x="3534" y="1240"/>
                  </a:cubicBezTo>
                  <a:cubicBezTo>
                    <a:pt x="3533" y="1187"/>
                    <a:pt x="3533" y="1187"/>
                    <a:pt x="3533" y="1187"/>
                  </a:cubicBezTo>
                  <a:cubicBezTo>
                    <a:pt x="3533" y="1187"/>
                    <a:pt x="3518" y="1165"/>
                    <a:pt x="3536" y="1160"/>
                  </a:cubicBezTo>
                  <a:cubicBezTo>
                    <a:pt x="3555" y="1156"/>
                    <a:pt x="3551" y="1181"/>
                    <a:pt x="3551" y="1181"/>
                  </a:cubicBezTo>
                  <a:cubicBezTo>
                    <a:pt x="3551" y="1181"/>
                    <a:pt x="3560" y="1188"/>
                    <a:pt x="3564" y="1203"/>
                  </a:cubicBezTo>
                  <a:cubicBezTo>
                    <a:pt x="3569" y="1219"/>
                    <a:pt x="3571" y="1229"/>
                    <a:pt x="3571" y="1229"/>
                  </a:cubicBezTo>
                  <a:cubicBezTo>
                    <a:pt x="3585" y="1248"/>
                    <a:pt x="3585" y="1248"/>
                    <a:pt x="3585" y="1248"/>
                  </a:cubicBezTo>
                  <a:cubicBezTo>
                    <a:pt x="3579" y="1259"/>
                    <a:pt x="3579" y="1259"/>
                    <a:pt x="3579" y="1259"/>
                  </a:cubicBezTo>
                  <a:cubicBezTo>
                    <a:pt x="3579" y="1259"/>
                    <a:pt x="3566" y="1265"/>
                    <a:pt x="3568" y="1272"/>
                  </a:cubicBezTo>
                  <a:cubicBezTo>
                    <a:pt x="3569" y="1280"/>
                    <a:pt x="3585" y="1271"/>
                    <a:pt x="3585" y="1271"/>
                  </a:cubicBezTo>
                  <a:cubicBezTo>
                    <a:pt x="3587" y="1282"/>
                    <a:pt x="3587" y="1282"/>
                    <a:pt x="3587" y="1282"/>
                  </a:cubicBezTo>
                  <a:lnTo>
                    <a:pt x="3574" y="1289"/>
                  </a:lnTo>
                  <a:close/>
                  <a:moveTo>
                    <a:pt x="4656" y="1185"/>
                  </a:moveTo>
                  <a:cubicBezTo>
                    <a:pt x="4650" y="1193"/>
                    <a:pt x="4662" y="1221"/>
                    <a:pt x="4684" y="1223"/>
                  </a:cubicBezTo>
                  <a:cubicBezTo>
                    <a:pt x="4702" y="1225"/>
                    <a:pt x="4662" y="1177"/>
                    <a:pt x="4656" y="1185"/>
                  </a:cubicBezTo>
                  <a:close/>
                  <a:moveTo>
                    <a:pt x="1020" y="0"/>
                  </a:moveTo>
                  <a:cubicBezTo>
                    <a:pt x="986" y="0"/>
                    <a:pt x="986" y="0"/>
                    <a:pt x="986" y="0"/>
                  </a:cubicBezTo>
                  <a:cubicBezTo>
                    <a:pt x="986" y="10"/>
                    <a:pt x="986" y="10"/>
                    <a:pt x="986" y="10"/>
                  </a:cubicBezTo>
                  <a:cubicBezTo>
                    <a:pt x="1007" y="11"/>
                    <a:pt x="1007" y="11"/>
                    <a:pt x="1007" y="11"/>
                  </a:cubicBezTo>
                  <a:cubicBezTo>
                    <a:pt x="1021" y="10"/>
                    <a:pt x="1020" y="0"/>
                    <a:pt x="1020" y="0"/>
                  </a:cubicBezTo>
                  <a:close/>
                  <a:moveTo>
                    <a:pt x="1012" y="37"/>
                  </a:moveTo>
                  <a:cubicBezTo>
                    <a:pt x="1026" y="35"/>
                    <a:pt x="1035" y="23"/>
                    <a:pt x="1017" y="23"/>
                  </a:cubicBezTo>
                  <a:cubicBezTo>
                    <a:pt x="999" y="23"/>
                    <a:pt x="1002" y="38"/>
                    <a:pt x="1012" y="37"/>
                  </a:cubicBezTo>
                  <a:close/>
                  <a:moveTo>
                    <a:pt x="943" y="537"/>
                  </a:moveTo>
                  <a:cubicBezTo>
                    <a:pt x="965" y="542"/>
                    <a:pt x="973" y="535"/>
                    <a:pt x="980" y="531"/>
                  </a:cubicBezTo>
                  <a:cubicBezTo>
                    <a:pt x="987" y="527"/>
                    <a:pt x="993" y="519"/>
                    <a:pt x="993" y="519"/>
                  </a:cubicBezTo>
                  <a:cubicBezTo>
                    <a:pt x="1002" y="518"/>
                    <a:pt x="1002" y="518"/>
                    <a:pt x="1002" y="518"/>
                  </a:cubicBezTo>
                  <a:cubicBezTo>
                    <a:pt x="1002" y="518"/>
                    <a:pt x="994" y="507"/>
                    <a:pt x="968" y="501"/>
                  </a:cubicBezTo>
                  <a:cubicBezTo>
                    <a:pt x="942" y="495"/>
                    <a:pt x="927" y="518"/>
                    <a:pt x="927" y="518"/>
                  </a:cubicBezTo>
                  <a:cubicBezTo>
                    <a:pt x="927" y="521"/>
                    <a:pt x="921" y="533"/>
                    <a:pt x="943" y="537"/>
                  </a:cubicBezTo>
                  <a:close/>
                  <a:moveTo>
                    <a:pt x="996" y="48"/>
                  </a:moveTo>
                  <a:cubicBezTo>
                    <a:pt x="1007" y="61"/>
                    <a:pt x="1000" y="62"/>
                    <a:pt x="1023" y="55"/>
                  </a:cubicBezTo>
                  <a:cubicBezTo>
                    <a:pt x="1045" y="48"/>
                    <a:pt x="1020" y="45"/>
                    <a:pt x="1016" y="45"/>
                  </a:cubicBezTo>
                  <a:cubicBezTo>
                    <a:pt x="1012" y="45"/>
                    <a:pt x="996" y="48"/>
                    <a:pt x="996" y="48"/>
                  </a:cubicBezTo>
                  <a:close/>
                  <a:moveTo>
                    <a:pt x="966" y="65"/>
                  </a:moveTo>
                  <a:cubicBezTo>
                    <a:pt x="976" y="65"/>
                    <a:pt x="1009" y="63"/>
                    <a:pt x="1003" y="62"/>
                  </a:cubicBezTo>
                  <a:cubicBezTo>
                    <a:pt x="997" y="61"/>
                    <a:pt x="985" y="52"/>
                    <a:pt x="985" y="52"/>
                  </a:cubicBezTo>
                  <a:cubicBezTo>
                    <a:pt x="954" y="52"/>
                    <a:pt x="954" y="52"/>
                    <a:pt x="954" y="52"/>
                  </a:cubicBezTo>
                  <a:cubicBezTo>
                    <a:pt x="954" y="52"/>
                    <a:pt x="957" y="65"/>
                    <a:pt x="966" y="65"/>
                  </a:cubicBezTo>
                  <a:close/>
                  <a:moveTo>
                    <a:pt x="893" y="23"/>
                  </a:moveTo>
                  <a:cubicBezTo>
                    <a:pt x="876" y="24"/>
                    <a:pt x="885" y="35"/>
                    <a:pt x="885" y="35"/>
                  </a:cubicBezTo>
                  <a:cubicBezTo>
                    <a:pt x="910" y="30"/>
                    <a:pt x="910" y="21"/>
                    <a:pt x="893" y="23"/>
                  </a:cubicBezTo>
                  <a:close/>
                  <a:moveTo>
                    <a:pt x="940" y="48"/>
                  </a:moveTo>
                  <a:cubicBezTo>
                    <a:pt x="924" y="45"/>
                    <a:pt x="924" y="45"/>
                    <a:pt x="924" y="45"/>
                  </a:cubicBezTo>
                  <a:cubicBezTo>
                    <a:pt x="930" y="61"/>
                    <a:pt x="930" y="61"/>
                    <a:pt x="930" y="61"/>
                  </a:cubicBezTo>
                  <a:lnTo>
                    <a:pt x="940" y="48"/>
                  </a:lnTo>
                  <a:close/>
                  <a:moveTo>
                    <a:pt x="972" y="10"/>
                  </a:moveTo>
                  <a:cubicBezTo>
                    <a:pt x="972" y="27"/>
                    <a:pt x="972" y="27"/>
                    <a:pt x="972" y="27"/>
                  </a:cubicBezTo>
                  <a:cubicBezTo>
                    <a:pt x="995" y="20"/>
                    <a:pt x="995" y="20"/>
                    <a:pt x="995" y="20"/>
                  </a:cubicBezTo>
                  <a:lnTo>
                    <a:pt x="972" y="10"/>
                  </a:lnTo>
                  <a:close/>
                  <a:moveTo>
                    <a:pt x="936" y="31"/>
                  </a:moveTo>
                  <a:cubicBezTo>
                    <a:pt x="936" y="31"/>
                    <a:pt x="931" y="25"/>
                    <a:pt x="924" y="25"/>
                  </a:cubicBezTo>
                  <a:cubicBezTo>
                    <a:pt x="917" y="25"/>
                    <a:pt x="919" y="38"/>
                    <a:pt x="919" y="38"/>
                  </a:cubicBezTo>
                  <a:lnTo>
                    <a:pt x="936" y="31"/>
                  </a:lnTo>
                  <a:close/>
                  <a:moveTo>
                    <a:pt x="957" y="31"/>
                  </a:moveTo>
                  <a:cubicBezTo>
                    <a:pt x="938" y="39"/>
                    <a:pt x="938" y="39"/>
                    <a:pt x="938" y="39"/>
                  </a:cubicBezTo>
                  <a:cubicBezTo>
                    <a:pt x="957" y="39"/>
                    <a:pt x="957" y="39"/>
                    <a:pt x="957" y="39"/>
                  </a:cubicBezTo>
                  <a:lnTo>
                    <a:pt x="957" y="31"/>
                  </a:lnTo>
                  <a:close/>
                  <a:moveTo>
                    <a:pt x="979" y="42"/>
                  </a:moveTo>
                  <a:cubicBezTo>
                    <a:pt x="995" y="47"/>
                    <a:pt x="1009" y="30"/>
                    <a:pt x="990" y="28"/>
                  </a:cubicBezTo>
                  <a:cubicBezTo>
                    <a:pt x="972" y="27"/>
                    <a:pt x="964" y="38"/>
                    <a:pt x="979" y="42"/>
                  </a:cubicBezTo>
                  <a:close/>
                  <a:moveTo>
                    <a:pt x="966" y="23"/>
                  </a:moveTo>
                  <a:cubicBezTo>
                    <a:pt x="965" y="7"/>
                    <a:pt x="965" y="7"/>
                    <a:pt x="965" y="7"/>
                  </a:cubicBezTo>
                  <a:cubicBezTo>
                    <a:pt x="938" y="14"/>
                    <a:pt x="938" y="14"/>
                    <a:pt x="938" y="14"/>
                  </a:cubicBezTo>
                  <a:cubicBezTo>
                    <a:pt x="944" y="24"/>
                    <a:pt x="944" y="24"/>
                    <a:pt x="944" y="24"/>
                  </a:cubicBezTo>
                  <a:lnTo>
                    <a:pt x="966" y="23"/>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74" name="Freeform 135"/>
            <p:cNvSpPr>
              <a:spLocks noEditPoints="1"/>
            </p:cNvSpPr>
            <p:nvPr/>
          </p:nvSpPr>
          <p:spPr bwMode="gray">
            <a:xfrm>
              <a:off x="4535488" y="1954213"/>
              <a:ext cx="257175" cy="371475"/>
            </a:xfrm>
            <a:custGeom>
              <a:avLst/>
              <a:gdLst>
                <a:gd name="T0" fmla="*/ 445 w 459"/>
                <a:gd name="T1" fmla="*/ 95 h 664"/>
                <a:gd name="T2" fmla="*/ 424 w 459"/>
                <a:gd name="T3" fmla="*/ 67 h 664"/>
                <a:gd name="T4" fmla="*/ 391 w 459"/>
                <a:gd name="T5" fmla="*/ 26 h 664"/>
                <a:gd name="T6" fmla="*/ 338 w 459"/>
                <a:gd name="T7" fmla="*/ 9 h 664"/>
                <a:gd name="T8" fmla="*/ 305 w 459"/>
                <a:gd name="T9" fmla="*/ 14 h 664"/>
                <a:gd name="T10" fmla="*/ 284 w 459"/>
                <a:gd name="T11" fmla="*/ 25 h 664"/>
                <a:gd name="T12" fmla="*/ 243 w 459"/>
                <a:gd name="T13" fmla="*/ 25 h 664"/>
                <a:gd name="T14" fmla="*/ 216 w 459"/>
                <a:gd name="T15" fmla="*/ 45 h 664"/>
                <a:gd name="T16" fmla="*/ 165 w 459"/>
                <a:gd name="T17" fmla="*/ 71 h 664"/>
                <a:gd name="T18" fmla="*/ 161 w 459"/>
                <a:gd name="T19" fmla="*/ 99 h 664"/>
                <a:gd name="T20" fmla="*/ 146 w 459"/>
                <a:gd name="T21" fmla="*/ 128 h 664"/>
                <a:gd name="T22" fmla="*/ 118 w 459"/>
                <a:gd name="T23" fmla="*/ 144 h 664"/>
                <a:gd name="T24" fmla="*/ 96 w 459"/>
                <a:gd name="T25" fmla="*/ 194 h 664"/>
                <a:gd name="T26" fmla="*/ 68 w 459"/>
                <a:gd name="T27" fmla="*/ 227 h 664"/>
                <a:gd name="T28" fmla="*/ 28 w 459"/>
                <a:gd name="T29" fmla="*/ 260 h 664"/>
                <a:gd name="T30" fmla="*/ 21 w 459"/>
                <a:gd name="T31" fmla="*/ 290 h 664"/>
                <a:gd name="T32" fmla="*/ 33 w 459"/>
                <a:gd name="T33" fmla="*/ 334 h 664"/>
                <a:gd name="T34" fmla="*/ 50 w 459"/>
                <a:gd name="T35" fmla="*/ 374 h 664"/>
                <a:gd name="T36" fmla="*/ 51 w 459"/>
                <a:gd name="T37" fmla="*/ 409 h 664"/>
                <a:gd name="T38" fmla="*/ 36 w 459"/>
                <a:gd name="T39" fmla="*/ 431 h 664"/>
                <a:gd name="T40" fmla="*/ 15 w 459"/>
                <a:gd name="T41" fmla="*/ 452 h 664"/>
                <a:gd name="T42" fmla="*/ 0 w 459"/>
                <a:gd name="T43" fmla="*/ 469 h 664"/>
                <a:gd name="T44" fmla="*/ 19 w 459"/>
                <a:gd name="T45" fmla="*/ 515 h 664"/>
                <a:gd name="T46" fmla="*/ 49 w 459"/>
                <a:gd name="T47" fmla="*/ 586 h 664"/>
                <a:gd name="T48" fmla="*/ 53 w 459"/>
                <a:gd name="T49" fmla="*/ 607 h 664"/>
                <a:gd name="T50" fmla="*/ 69 w 459"/>
                <a:gd name="T51" fmla="*/ 656 h 664"/>
                <a:gd name="T52" fmla="*/ 120 w 459"/>
                <a:gd name="T53" fmla="*/ 631 h 664"/>
                <a:gd name="T54" fmla="*/ 176 w 459"/>
                <a:gd name="T55" fmla="*/ 618 h 664"/>
                <a:gd name="T56" fmla="*/ 206 w 459"/>
                <a:gd name="T57" fmla="*/ 549 h 664"/>
                <a:gd name="T58" fmla="*/ 196 w 459"/>
                <a:gd name="T59" fmla="*/ 507 h 664"/>
                <a:gd name="T60" fmla="*/ 237 w 459"/>
                <a:gd name="T61" fmla="*/ 489 h 664"/>
                <a:gd name="T62" fmla="*/ 270 w 459"/>
                <a:gd name="T63" fmla="*/ 456 h 664"/>
                <a:gd name="T64" fmla="*/ 271 w 459"/>
                <a:gd name="T65" fmla="*/ 409 h 664"/>
                <a:gd name="T66" fmla="*/ 217 w 459"/>
                <a:gd name="T67" fmla="*/ 350 h 664"/>
                <a:gd name="T68" fmla="*/ 237 w 459"/>
                <a:gd name="T69" fmla="*/ 303 h 664"/>
                <a:gd name="T70" fmla="*/ 271 w 459"/>
                <a:gd name="T71" fmla="*/ 270 h 664"/>
                <a:gd name="T72" fmla="*/ 340 w 459"/>
                <a:gd name="T73" fmla="*/ 249 h 664"/>
                <a:gd name="T74" fmla="*/ 372 w 459"/>
                <a:gd name="T75" fmla="*/ 175 h 664"/>
                <a:gd name="T76" fmla="*/ 396 w 459"/>
                <a:gd name="T77" fmla="*/ 144 h 664"/>
                <a:gd name="T78" fmla="*/ 459 w 459"/>
                <a:gd name="T79" fmla="*/ 157 h 664"/>
                <a:gd name="T80" fmla="*/ 271 w 459"/>
                <a:gd name="T81" fmla="*/ 583 h 664"/>
                <a:gd name="T82" fmla="*/ 290 w 459"/>
                <a:gd name="T83" fmla="*/ 543 h 664"/>
                <a:gd name="T84" fmla="*/ 200 w 459"/>
                <a:gd name="T85" fmla="*/ 597 h 664"/>
                <a:gd name="T86" fmla="*/ 230 w 459"/>
                <a:gd name="T87" fmla="*/ 570 h 6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9" h="664">
                  <a:moveTo>
                    <a:pt x="451" y="136"/>
                  </a:moveTo>
                  <a:cubicBezTo>
                    <a:pt x="451" y="136"/>
                    <a:pt x="436" y="126"/>
                    <a:pt x="434" y="118"/>
                  </a:cubicBezTo>
                  <a:cubicBezTo>
                    <a:pt x="432" y="110"/>
                    <a:pt x="445" y="95"/>
                    <a:pt x="445" y="95"/>
                  </a:cubicBezTo>
                  <a:cubicBezTo>
                    <a:pt x="428" y="85"/>
                    <a:pt x="428" y="85"/>
                    <a:pt x="428" y="85"/>
                  </a:cubicBezTo>
                  <a:cubicBezTo>
                    <a:pt x="432" y="72"/>
                    <a:pt x="432" y="72"/>
                    <a:pt x="432" y="72"/>
                  </a:cubicBezTo>
                  <a:cubicBezTo>
                    <a:pt x="424" y="67"/>
                    <a:pt x="424" y="67"/>
                    <a:pt x="424" y="67"/>
                  </a:cubicBezTo>
                  <a:cubicBezTo>
                    <a:pt x="424" y="67"/>
                    <a:pt x="429" y="53"/>
                    <a:pt x="430" y="48"/>
                  </a:cubicBezTo>
                  <a:cubicBezTo>
                    <a:pt x="431" y="43"/>
                    <a:pt x="413" y="38"/>
                    <a:pt x="413" y="38"/>
                  </a:cubicBezTo>
                  <a:cubicBezTo>
                    <a:pt x="391" y="26"/>
                    <a:pt x="391" y="26"/>
                    <a:pt x="391" y="26"/>
                  </a:cubicBezTo>
                  <a:cubicBezTo>
                    <a:pt x="369" y="25"/>
                    <a:pt x="369" y="25"/>
                    <a:pt x="369" y="25"/>
                  </a:cubicBezTo>
                  <a:cubicBezTo>
                    <a:pt x="361" y="17"/>
                    <a:pt x="361" y="17"/>
                    <a:pt x="361" y="17"/>
                  </a:cubicBezTo>
                  <a:cubicBezTo>
                    <a:pt x="361" y="17"/>
                    <a:pt x="348" y="13"/>
                    <a:pt x="338" y="9"/>
                  </a:cubicBezTo>
                  <a:cubicBezTo>
                    <a:pt x="332" y="7"/>
                    <a:pt x="327" y="3"/>
                    <a:pt x="324" y="1"/>
                  </a:cubicBezTo>
                  <a:cubicBezTo>
                    <a:pt x="304" y="0"/>
                    <a:pt x="304" y="0"/>
                    <a:pt x="304" y="0"/>
                  </a:cubicBezTo>
                  <a:cubicBezTo>
                    <a:pt x="305" y="14"/>
                    <a:pt x="305" y="14"/>
                    <a:pt x="305" y="14"/>
                  </a:cubicBezTo>
                  <a:cubicBezTo>
                    <a:pt x="305" y="14"/>
                    <a:pt x="298" y="11"/>
                    <a:pt x="298" y="16"/>
                  </a:cubicBezTo>
                  <a:cubicBezTo>
                    <a:pt x="298" y="21"/>
                    <a:pt x="311" y="27"/>
                    <a:pt x="303" y="29"/>
                  </a:cubicBezTo>
                  <a:cubicBezTo>
                    <a:pt x="295" y="31"/>
                    <a:pt x="284" y="25"/>
                    <a:pt x="284" y="25"/>
                  </a:cubicBezTo>
                  <a:cubicBezTo>
                    <a:pt x="275" y="25"/>
                    <a:pt x="275" y="25"/>
                    <a:pt x="275" y="25"/>
                  </a:cubicBezTo>
                  <a:cubicBezTo>
                    <a:pt x="262" y="21"/>
                    <a:pt x="262" y="21"/>
                    <a:pt x="262" y="21"/>
                  </a:cubicBezTo>
                  <a:cubicBezTo>
                    <a:pt x="243" y="25"/>
                    <a:pt x="243" y="25"/>
                    <a:pt x="243" y="25"/>
                  </a:cubicBezTo>
                  <a:cubicBezTo>
                    <a:pt x="243" y="25"/>
                    <a:pt x="243" y="12"/>
                    <a:pt x="235" y="18"/>
                  </a:cubicBezTo>
                  <a:cubicBezTo>
                    <a:pt x="227" y="24"/>
                    <a:pt x="237" y="35"/>
                    <a:pt x="234" y="40"/>
                  </a:cubicBezTo>
                  <a:cubicBezTo>
                    <a:pt x="231" y="45"/>
                    <a:pt x="216" y="45"/>
                    <a:pt x="216" y="45"/>
                  </a:cubicBezTo>
                  <a:cubicBezTo>
                    <a:pt x="190" y="49"/>
                    <a:pt x="190" y="49"/>
                    <a:pt x="190" y="49"/>
                  </a:cubicBezTo>
                  <a:cubicBezTo>
                    <a:pt x="181" y="59"/>
                    <a:pt x="181" y="59"/>
                    <a:pt x="181" y="59"/>
                  </a:cubicBezTo>
                  <a:cubicBezTo>
                    <a:pt x="181" y="59"/>
                    <a:pt x="164" y="67"/>
                    <a:pt x="165" y="71"/>
                  </a:cubicBezTo>
                  <a:cubicBezTo>
                    <a:pt x="166" y="75"/>
                    <a:pt x="177" y="83"/>
                    <a:pt x="177" y="83"/>
                  </a:cubicBezTo>
                  <a:cubicBezTo>
                    <a:pt x="172" y="93"/>
                    <a:pt x="172" y="93"/>
                    <a:pt x="172" y="93"/>
                  </a:cubicBezTo>
                  <a:cubicBezTo>
                    <a:pt x="172" y="93"/>
                    <a:pt x="167" y="94"/>
                    <a:pt x="161" y="99"/>
                  </a:cubicBezTo>
                  <a:cubicBezTo>
                    <a:pt x="155" y="104"/>
                    <a:pt x="153" y="111"/>
                    <a:pt x="153" y="111"/>
                  </a:cubicBezTo>
                  <a:cubicBezTo>
                    <a:pt x="139" y="112"/>
                    <a:pt x="139" y="112"/>
                    <a:pt x="139" y="112"/>
                  </a:cubicBezTo>
                  <a:cubicBezTo>
                    <a:pt x="139" y="112"/>
                    <a:pt x="153" y="126"/>
                    <a:pt x="146" y="128"/>
                  </a:cubicBezTo>
                  <a:cubicBezTo>
                    <a:pt x="139" y="130"/>
                    <a:pt x="130" y="135"/>
                    <a:pt x="130" y="135"/>
                  </a:cubicBezTo>
                  <a:cubicBezTo>
                    <a:pt x="116" y="128"/>
                    <a:pt x="116" y="128"/>
                    <a:pt x="116" y="128"/>
                  </a:cubicBezTo>
                  <a:cubicBezTo>
                    <a:pt x="118" y="144"/>
                    <a:pt x="118" y="144"/>
                    <a:pt x="118" y="144"/>
                  </a:cubicBezTo>
                  <a:cubicBezTo>
                    <a:pt x="115" y="149"/>
                    <a:pt x="115" y="149"/>
                    <a:pt x="115" y="149"/>
                  </a:cubicBezTo>
                  <a:cubicBezTo>
                    <a:pt x="111" y="178"/>
                    <a:pt x="111" y="178"/>
                    <a:pt x="111" y="178"/>
                  </a:cubicBezTo>
                  <a:cubicBezTo>
                    <a:pt x="111" y="178"/>
                    <a:pt x="101" y="190"/>
                    <a:pt x="96" y="194"/>
                  </a:cubicBezTo>
                  <a:cubicBezTo>
                    <a:pt x="91" y="198"/>
                    <a:pt x="82" y="204"/>
                    <a:pt x="82" y="204"/>
                  </a:cubicBezTo>
                  <a:cubicBezTo>
                    <a:pt x="82" y="204"/>
                    <a:pt x="103" y="214"/>
                    <a:pt x="99" y="223"/>
                  </a:cubicBezTo>
                  <a:cubicBezTo>
                    <a:pt x="95" y="232"/>
                    <a:pt x="68" y="227"/>
                    <a:pt x="68" y="227"/>
                  </a:cubicBezTo>
                  <a:cubicBezTo>
                    <a:pt x="68" y="227"/>
                    <a:pt x="53" y="239"/>
                    <a:pt x="46" y="244"/>
                  </a:cubicBezTo>
                  <a:cubicBezTo>
                    <a:pt x="39" y="249"/>
                    <a:pt x="33" y="254"/>
                    <a:pt x="33" y="254"/>
                  </a:cubicBezTo>
                  <a:cubicBezTo>
                    <a:pt x="28" y="260"/>
                    <a:pt x="28" y="260"/>
                    <a:pt x="28" y="260"/>
                  </a:cubicBezTo>
                  <a:cubicBezTo>
                    <a:pt x="28" y="260"/>
                    <a:pt x="22" y="265"/>
                    <a:pt x="22" y="268"/>
                  </a:cubicBezTo>
                  <a:cubicBezTo>
                    <a:pt x="22" y="271"/>
                    <a:pt x="40" y="271"/>
                    <a:pt x="34" y="277"/>
                  </a:cubicBezTo>
                  <a:cubicBezTo>
                    <a:pt x="28" y="283"/>
                    <a:pt x="19" y="285"/>
                    <a:pt x="21" y="290"/>
                  </a:cubicBezTo>
                  <a:cubicBezTo>
                    <a:pt x="23" y="295"/>
                    <a:pt x="29" y="303"/>
                    <a:pt x="29" y="303"/>
                  </a:cubicBezTo>
                  <a:cubicBezTo>
                    <a:pt x="29" y="303"/>
                    <a:pt x="40" y="310"/>
                    <a:pt x="39" y="315"/>
                  </a:cubicBezTo>
                  <a:cubicBezTo>
                    <a:pt x="38" y="320"/>
                    <a:pt x="32" y="327"/>
                    <a:pt x="33" y="334"/>
                  </a:cubicBezTo>
                  <a:cubicBezTo>
                    <a:pt x="34" y="341"/>
                    <a:pt x="42" y="348"/>
                    <a:pt x="42" y="348"/>
                  </a:cubicBezTo>
                  <a:cubicBezTo>
                    <a:pt x="42" y="348"/>
                    <a:pt x="61" y="354"/>
                    <a:pt x="59" y="361"/>
                  </a:cubicBezTo>
                  <a:cubicBezTo>
                    <a:pt x="57" y="368"/>
                    <a:pt x="50" y="374"/>
                    <a:pt x="50" y="374"/>
                  </a:cubicBezTo>
                  <a:cubicBezTo>
                    <a:pt x="35" y="377"/>
                    <a:pt x="35" y="377"/>
                    <a:pt x="35" y="377"/>
                  </a:cubicBezTo>
                  <a:cubicBezTo>
                    <a:pt x="35" y="377"/>
                    <a:pt x="41" y="394"/>
                    <a:pt x="44" y="397"/>
                  </a:cubicBezTo>
                  <a:cubicBezTo>
                    <a:pt x="47" y="400"/>
                    <a:pt x="51" y="409"/>
                    <a:pt x="51" y="409"/>
                  </a:cubicBezTo>
                  <a:cubicBezTo>
                    <a:pt x="44" y="409"/>
                    <a:pt x="44" y="409"/>
                    <a:pt x="44" y="409"/>
                  </a:cubicBezTo>
                  <a:cubicBezTo>
                    <a:pt x="44" y="426"/>
                    <a:pt x="44" y="426"/>
                    <a:pt x="44" y="426"/>
                  </a:cubicBezTo>
                  <a:cubicBezTo>
                    <a:pt x="44" y="426"/>
                    <a:pt x="41" y="431"/>
                    <a:pt x="36" y="431"/>
                  </a:cubicBezTo>
                  <a:cubicBezTo>
                    <a:pt x="31" y="431"/>
                    <a:pt x="17" y="425"/>
                    <a:pt x="19" y="431"/>
                  </a:cubicBezTo>
                  <a:cubicBezTo>
                    <a:pt x="21" y="437"/>
                    <a:pt x="21" y="441"/>
                    <a:pt x="21" y="441"/>
                  </a:cubicBezTo>
                  <a:cubicBezTo>
                    <a:pt x="21" y="441"/>
                    <a:pt x="12" y="444"/>
                    <a:pt x="15" y="452"/>
                  </a:cubicBezTo>
                  <a:cubicBezTo>
                    <a:pt x="18" y="460"/>
                    <a:pt x="24" y="461"/>
                    <a:pt x="22" y="466"/>
                  </a:cubicBezTo>
                  <a:cubicBezTo>
                    <a:pt x="20" y="471"/>
                    <a:pt x="14" y="482"/>
                    <a:pt x="14" y="482"/>
                  </a:cubicBezTo>
                  <a:cubicBezTo>
                    <a:pt x="0" y="469"/>
                    <a:pt x="0" y="469"/>
                    <a:pt x="0" y="469"/>
                  </a:cubicBezTo>
                  <a:cubicBezTo>
                    <a:pt x="2" y="510"/>
                    <a:pt x="2" y="510"/>
                    <a:pt x="2" y="510"/>
                  </a:cubicBezTo>
                  <a:cubicBezTo>
                    <a:pt x="2" y="510"/>
                    <a:pt x="16" y="499"/>
                    <a:pt x="23" y="511"/>
                  </a:cubicBezTo>
                  <a:cubicBezTo>
                    <a:pt x="30" y="523"/>
                    <a:pt x="19" y="515"/>
                    <a:pt x="19" y="515"/>
                  </a:cubicBezTo>
                  <a:cubicBezTo>
                    <a:pt x="19" y="515"/>
                    <a:pt x="14" y="549"/>
                    <a:pt x="18" y="553"/>
                  </a:cubicBezTo>
                  <a:cubicBezTo>
                    <a:pt x="22" y="557"/>
                    <a:pt x="34" y="562"/>
                    <a:pt x="34" y="562"/>
                  </a:cubicBezTo>
                  <a:cubicBezTo>
                    <a:pt x="34" y="562"/>
                    <a:pt x="43" y="579"/>
                    <a:pt x="49" y="586"/>
                  </a:cubicBezTo>
                  <a:cubicBezTo>
                    <a:pt x="55" y="593"/>
                    <a:pt x="66" y="597"/>
                    <a:pt x="66" y="597"/>
                  </a:cubicBezTo>
                  <a:cubicBezTo>
                    <a:pt x="65" y="605"/>
                    <a:pt x="65" y="605"/>
                    <a:pt x="65" y="605"/>
                  </a:cubicBezTo>
                  <a:cubicBezTo>
                    <a:pt x="53" y="607"/>
                    <a:pt x="53" y="607"/>
                    <a:pt x="53" y="607"/>
                  </a:cubicBezTo>
                  <a:cubicBezTo>
                    <a:pt x="53" y="607"/>
                    <a:pt x="51" y="615"/>
                    <a:pt x="52" y="621"/>
                  </a:cubicBezTo>
                  <a:cubicBezTo>
                    <a:pt x="53" y="627"/>
                    <a:pt x="68" y="640"/>
                    <a:pt x="68" y="640"/>
                  </a:cubicBezTo>
                  <a:cubicBezTo>
                    <a:pt x="68" y="640"/>
                    <a:pt x="64" y="653"/>
                    <a:pt x="69" y="656"/>
                  </a:cubicBezTo>
                  <a:cubicBezTo>
                    <a:pt x="74" y="659"/>
                    <a:pt x="94" y="657"/>
                    <a:pt x="94" y="657"/>
                  </a:cubicBezTo>
                  <a:cubicBezTo>
                    <a:pt x="94" y="657"/>
                    <a:pt x="122" y="664"/>
                    <a:pt x="121" y="655"/>
                  </a:cubicBezTo>
                  <a:cubicBezTo>
                    <a:pt x="120" y="646"/>
                    <a:pt x="120" y="631"/>
                    <a:pt x="120" y="631"/>
                  </a:cubicBezTo>
                  <a:cubicBezTo>
                    <a:pt x="132" y="625"/>
                    <a:pt x="132" y="625"/>
                    <a:pt x="132" y="625"/>
                  </a:cubicBezTo>
                  <a:cubicBezTo>
                    <a:pt x="133" y="615"/>
                    <a:pt x="133" y="615"/>
                    <a:pt x="133" y="615"/>
                  </a:cubicBezTo>
                  <a:cubicBezTo>
                    <a:pt x="176" y="618"/>
                    <a:pt x="176" y="618"/>
                    <a:pt x="176" y="618"/>
                  </a:cubicBezTo>
                  <a:cubicBezTo>
                    <a:pt x="185" y="623"/>
                    <a:pt x="185" y="623"/>
                    <a:pt x="185" y="623"/>
                  </a:cubicBezTo>
                  <a:cubicBezTo>
                    <a:pt x="199" y="581"/>
                    <a:pt x="199" y="581"/>
                    <a:pt x="199" y="581"/>
                  </a:cubicBezTo>
                  <a:cubicBezTo>
                    <a:pt x="199" y="581"/>
                    <a:pt x="208" y="555"/>
                    <a:pt x="206" y="549"/>
                  </a:cubicBezTo>
                  <a:cubicBezTo>
                    <a:pt x="204" y="543"/>
                    <a:pt x="198" y="532"/>
                    <a:pt x="198" y="532"/>
                  </a:cubicBezTo>
                  <a:cubicBezTo>
                    <a:pt x="198" y="532"/>
                    <a:pt x="219" y="529"/>
                    <a:pt x="217" y="518"/>
                  </a:cubicBezTo>
                  <a:cubicBezTo>
                    <a:pt x="215" y="507"/>
                    <a:pt x="196" y="507"/>
                    <a:pt x="196" y="507"/>
                  </a:cubicBezTo>
                  <a:cubicBezTo>
                    <a:pt x="209" y="502"/>
                    <a:pt x="209" y="502"/>
                    <a:pt x="209" y="502"/>
                  </a:cubicBezTo>
                  <a:cubicBezTo>
                    <a:pt x="200" y="498"/>
                    <a:pt x="200" y="498"/>
                    <a:pt x="200" y="498"/>
                  </a:cubicBezTo>
                  <a:cubicBezTo>
                    <a:pt x="200" y="498"/>
                    <a:pt x="234" y="500"/>
                    <a:pt x="237" y="489"/>
                  </a:cubicBezTo>
                  <a:cubicBezTo>
                    <a:pt x="240" y="478"/>
                    <a:pt x="245" y="472"/>
                    <a:pt x="245" y="472"/>
                  </a:cubicBezTo>
                  <a:cubicBezTo>
                    <a:pt x="245" y="472"/>
                    <a:pt x="256" y="490"/>
                    <a:pt x="266" y="478"/>
                  </a:cubicBezTo>
                  <a:cubicBezTo>
                    <a:pt x="276" y="466"/>
                    <a:pt x="270" y="456"/>
                    <a:pt x="270" y="456"/>
                  </a:cubicBezTo>
                  <a:cubicBezTo>
                    <a:pt x="270" y="456"/>
                    <a:pt x="297" y="451"/>
                    <a:pt x="290" y="437"/>
                  </a:cubicBezTo>
                  <a:cubicBezTo>
                    <a:pt x="283" y="423"/>
                    <a:pt x="271" y="420"/>
                    <a:pt x="271" y="420"/>
                  </a:cubicBezTo>
                  <a:cubicBezTo>
                    <a:pt x="271" y="409"/>
                    <a:pt x="271" y="409"/>
                    <a:pt x="271" y="409"/>
                  </a:cubicBezTo>
                  <a:cubicBezTo>
                    <a:pt x="247" y="399"/>
                    <a:pt x="247" y="399"/>
                    <a:pt x="247" y="399"/>
                  </a:cubicBezTo>
                  <a:cubicBezTo>
                    <a:pt x="247" y="399"/>
                    <a:pt x="236" y="406"/>
                    <a:pt x="228" y="399"/>
                  </a:cubicBezTo>
                  <a:cubicBezTo>
                    <a:pt x="220" y="392"/>
                    <a:pt x="217" y="350"/>
                    <a:pt x="217" y="350"/>
                  </a:cubicBezTo>
                  <a:cubicBezTo>
                    <a:pt x="217" y="350"/>
                    <a:pt x="228" y="340"/>
                    <a:pt x="229" y="329"/>
                  </a:cubicBezTo>
                  <a:cubicBezTo>
                    <a:pt x="230" y="318"/>
                    <a:pt x="219" y="308"/>
                    <a:pt x="219" y="308"/>
                  </a:cubicBezTo>
                  <a:cubicBezTo>
                    <a:pt x="219" y="308"/>
                    <a:pt x="233" y="311"/>
                    <a:pt x="237" y="303"/>
                  </a:cubicBezTo>
                  <a:cubicBezTo>
                    <a:pt x="241" y="295"/>
                    <a:pt x="232" y="283"/>
                    <a:pt x="232" y="283"/>
                  </a:cubicBezTo>
                  <a:cubicBezTo>
                    <a:pt x="232" y="283"/>
                    <a:pt x="249" y="292"/>
                    <a:pt x="254" y="287"/>
                  </a:cubicBezTo>
                  <a:cubicBezTo>
                    <a:pt x="259" y="282"/>
                    <a:pt x="271" y="270"/>
                    <a:pt x="271" y="270"/>
                  </a:cubicBezTo>
                  <a:cubicBezTo>
                    <a:pt x="291" y="273"/>
                    <a:pt x="291" y="273"/>
                    <a:pt x="291" y="273"/>
                  </a:cubicBezTo>
                  <a:cubicBezTo>
                    <a:pt x="299" y="258"/>
                    <a:pt x="299" y="258"/>
                    <a:pt x="299" y="258"/>
                  </a:cubicBezTo>
                  <a:cubicBezTo>
                    <a:pt x="299" y="258"/>
                    <a:pt x="330" y="259"/>
                    <a:pt x="340" y="249"/>
                  </a:cubicBezTo>
                  <a:cubicBezTo>
                    <a:pt x="350" y="239"/>
                    <a:pt x="364" y="213"/>
                    <a:pt x="364" y="213"/>
                  </a:cubicBezTo>
                  <a:cubicBezTo>
                    <a:pt x="352" y="198"/>
                    <a:pt x="352" y="198"/>
                    <a:pt x="352" y="198"/>
                  </a:cubicBezTo>
                  <a:cubicBezTo>
                    <a:pt x="372" y="175"/>
                    <a:pt x="372" y="175"/>
                    <a:pt x="372" y="175"/>
                  </a:cubicBezTo>
                  <a:cubicBezTo>
                    <a:pt x="361" y="162"/>
                    <a:pt x="361" y="162"/>
                    <a:pt x="361" y="162"/>
                  </a:cubicBezTo>
                  <a:cubicBezTo>
                    <a:pt x="386" y="156"/>
                    <a:pt x="386" y="156"/>
                    <a:pt x="386" y="156"/>
                  </a:cubicBezTo>
                  <a:cubicBezTo>
                    <a:pt x="396" y="144"/>
                    <a:pt x="396" y="144"/>
                    <a:pt x="396" y="144"/>
                  </a:cubicBezTo>
                  <a:cubicBezTo>
                    <a:pt x="449" y="146"/>
                    <a:pt x="449" y="146"/>
                    <a:pt x="449" y="146"/>
                  </a:cubicBezTo>
                  <a:cubicBezTo>
                    <a:pt x="457" y="159"/>
                    <a:pt x="457" y="159"/>
                    <a:pt x="457" y="159"/>
                  </a:cubicBezTo>
                  <a:cubicBezTo>
                    <a:pt x="459" y="157"/>
                    <a:pt x="459" y="157"/>
                    <a:pt x="459" y="157"/>
                  </a:cubicBezTo>
                  <a:lnTo>
                    <a:pt x="451" y="136"/>
                  </a:lnTo>
                  <a:close/>
                  <a:moveTo>
                    <a:pt x="262" y="549"/>
                  </a:moveTo>
                  <a:cubicBezTo>
                    <a:pt x="259" y="560"/>
                    <a:pt x="271" y="583"/>
                    <a:pt x="271" y="583"/>
                  </a:cubicBezTo>
                  <a:cubicBezTo>
                    <a:pt x="279" y="566"/>
                    <a:pt x="279" y="566"/>
                    <a:pt x="279" y="566"/>
                  </a:cubicBezTo>
                  <a:cubicBezTo>
                    <a:pt x="279" y="566"/>
                    <a:pt x="285" y="569"/>
                    <a:pt x="290" y="560"/>
                  </a:cubicBezTo>
                  <a:cubicBezTo>
                    <a:pt x="296" y="552"/>
                    <a:pt x="290" y="543"/>
                    <a:pt x="290" y="543"/>
                  </a:cubicBezTo>
                  <a:cubicBezTo>
                    <a:pt x="302" y="531"/>
                    <a:pt x="302" y="531"/>
                    <a:pt x="302" y="531"/>
                  </a:cubicBezTo>
                  <a:cubicBezTo>
                    <a:pt x="302" y="531"/>
                    <a:pt x="265" y="538"/>
                    <a:pt x="262" y="549"/>
                  </a:cubicBezTo>
                  <a:close/>
                  <a:moveTo>
                    <a:pt x="200" y="597"/>
                  </a:moveTo>
                  <a:cubicBezTo>
                    <a:pt x="200" y="602"/>
                    <a:pt x="199" y="615"/>
                    <a:pt x="199" y="615"/>
                  </a:cubicBezTo>
                  <a:cubicBezTo>
                    <a:pt x="207" y="615"/>
                    <a:pt x="216" y="584"/>
                    <a:pt x="216" y="584"/>
                  </a:cubicBezTo>
                  <a:cubicBezTo>
                    <a:pt x="230" y="570"/>
                    <a:pt x="230" y="570"/>
                    <a:pt x="230" y="570"/>
                  </a:cubicBezTo>
                  <a:cubicBezTo>
                    <a:pt x="226" y="557"/>
                    <a:pt x="226" y="557"/>
                    <a:pt x="226" y="557"/>
                  </a:cubicBezTo>
                  <a:cubicBezTo>
                    <a:pt x="226" y="557"/>
                    <a:pt x="200" y="591"/>
                    <a:pt x="200" y="597"/>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75" name="Freeform 136"/>
            <p:cNvSpPr>
              <a:spLocks noEditPoints="1"/>
            </p:cNvSpPr>
            <p:nvPr/>
          </p:nvSpPr>
          <p:spPr bwMode="gray">
            <a:xfrm>
              <a:off x="4405313" y="1685925"/>
              <a:ext cx="506412" cy="565150"/>
            </a:xfrm>
            <a:custGeom>
              <a:avLst/>
              <a:gdLst>
                <a:gd name="T0" fmla="*/ 453 w 905"/>
                <a:gd name="T1" fmla="*/ 40 h 1010"/>
                <a:gd name="T2" fmla="*/ 653 w 905"/>
                <a:gd name="T3" fmla="*/ 48 h 1010"/>
                <a:gd name="T4" fmla="*/ 558 w 905"/>
                <a:gd name="T5" fmla="*/ 4 h 1010"/>
                <a:gd name="T6" fmla="*/ 429 w 905"/>
                <a:gd name="T7" fmla="*/ 28 h 1010"/>
                <a:gd name="T8" fmla="*/ 281 w 905"/>
                <a:gd name="T9" fmla="*/ 93 h 1010"/>
                <a:gd name="T10" fmla="*/ 345 w 905"/>
                <a:gd name="T11" fmla="*/ 111 h 1010"/>
                <a:gd name="T12" fmla="*/ 432 w 905"/>
                <a:gd name="T13" fmla="*/ 100 h 1010"/>
                <a:gd name="T14" fmla="*/ 515 w 905"/>
                <a:gd name="T15" fmla="*/ 123 h 1010"/>
                <a:gd name="T16" fmla="*/ 551 w 905"/>
                <a:gd name="T17" fmla="*/ 82 h 1010"/>
                <a:gd name="T18" fmla="*/ 453 w 905"/>
                <a:gd name="T19" fmla="*/ 54 h 1010"/>
                <a:gd name="T20" fmla="*/ 328 w 905"/>
                <a:gd name="T21" fmla="*/ 27 h 1010"/>
                <a:gd name="T22" fmla="*/ 240 w 905"/>
                <a:gd name="T23" fmla="*/ 24 h 1010"/>
                <a:gd name="T24" fmla="*/ 417 w 905"/>
                <a:gd name="T25" fmla="*/ 467 h 1010"/>
                <a:gd name="T26" fmla="*/ 363 w 905"/>
                <a:gd name="T27" fmla="*/ 482 h 1010"/>
                <a:gd name="T28" fmla="*/ 611 w 905"/>
                <a:gd name="T29" fmla="*/ 404 h 1010"/>
                <a:gd name="T30" fmla="*/ 320 w 905"/>
                <a:gd name="T31" fmla="*/ 509 h 1010"/>
                <a:gd name="T32" fmla="*/ 902 w 905"/>
                <a:gd name="T33" fmla="*/ 421 h 1010"/>
                <a:gd name="T34" fmla="*/ 749 w 905"/>
                <a:gd name="T35" fmla="*/ 425 h 1010"/>
                <a:gd name="T36" fmla="*/ 683 w 905"/>
                <a:gd name="T37" fmla="*/ 393 h 1010"/>
                <a:gd name="T38" fmla="*/ 593 w 905"/>
                <a:gd name="T39" fmla="*/ 446 h 1010"/>
                <a:gd name="T40" fmla="*/ 507 w 905"/>
                <a:gd name="T41" fmla="*/ 444 h 1010"/>
                <a:gd name="T42" fmla="*/ 494 w 905"/>
                <a:gd name="T43" fmla="*/ 437 h 1010"/>
                <a:gd name="T44" fmla="*/ 446 w 905"/>
                <a:gd name="T45" fmla="*/ 491 h 1010"/>
                <a:gd name="T46" fmla="*/ 399 w 905"/>
                <a:gd name="T47" fmla="*/ 505 h 1010"/>
                <a:gd name="T48" fmla="*/ 360 w 905"/>
                <a:gd name="T49" fmla="*/ 526 h 1010"/>
                <a:gd name="T50" fmla="*/ 365 w 905"/>
                <a:gd name="T51" fmla="*/ 561 h 1010"/>
                <a:gd name="T52" fmla="*/ 293 w 905"/>
                <a:gd name="T53" fmla="*/ 606 h 1010"/>
                <a:gd name="T54" fmla="*/ 266 w 905"/>
                <a:gd name="T55" fmla="*/ 642 h 1010"/>
                <a:gd name="T56" fmla="*/ 237 w 905"/>
                <a:gd name="T57" fmla="*/ 689 h 1010"/>
                <a:gd name="T58" fmla="*/ 180 w 905"/>
                <a:gd name="T59" fmla="*/ 715 h 1010"/>
                <a:gd name="T60" fmla="*/ 118 w 905"/>
                <a:gd name="T61" fmla="*/ 741 h 1010"/>
                <a:gd name="T62" fmla="*/ 111 w 905"/>
                <a:gd name="T63" fmla="*/ 775 h 1010"/>
                <a:gd name="T64" fmla="*/ 72 w 905"/>
                <a:gd name="T65" fmla="*/ 808 h 1010"/>
                <a:gd name="T66" fmla="*/ 20 w 905"/>
                <a:gd name="T67" fmla="*/ 804 h 1010"/>
                <a:gd name="T68" fmla="*/ 21 w 905"/>
                <a:gd name="T69" fmla="*/ 834 h 1010"/>
                <a:gd name="T70" fmla="*/ 71 w 905"/>
                <a:gd name="T71" fmla="*/ 854 h 1010"/>
                <a:gd name="T72" fmla="*/ 0 w 905"/>
                <a:gd name="T73" fmla="*/ 858 h 1010"/>
                <a:gd name="T74" fmla="*/ 65 w 905"/>
                <a:gd name="T75" fmla="*/ 884 h 1010"/>
                <a:gd name="T76" fmla="*/ 14 w 905"/>
                <a:gd name="T77" fmla="*/ 926 h 1010"/>
                <a:gd name="T78" fmla="*/ 36 w 905"/>
                <a:gd name="T79" fmla="*/ 967 h 1010"/>
                <a:gd name="T80" fmla="*/ 103 w 905"/>
                <a:gd name="T81" fmla="*/ 1004 h 1010"/>
                <a:gd name="T82" fmla="*/ 207 w 905"/>
                <a:gd name="T83" fmla="*/ 942 h 1010"/>
                <a:gd name="T84" fmla="*/ 252 w 905"/>
                <a:gd name="T85" fmla="*/ 911 h 1010"/>
                <a:gd name="T86" fmla="*/ 268 w 905"/>
                <a:gd name="T87" fmla="*/ 857 h 1010"/>
                <a:gd name="T88" fmla="*/ 262 w 905"/>
                <a:gd name="T89" fmla="*/ 783 h 1010"/>
                <a:gd name="T90" fmla="*/ 279 w 905"/>
                <a:gd name="T91" fmla="*/ 724 h 1010"/>
                <a:gd name="T92" fmla="*/ 348 w 905"/>
                <a:gd name="T93" fmla="*/ 629 h 1010"/>
                <a:gd name="T94" fmla="*/ 386 w 905"/>
                <a:gd name="T95" fmla="*/ 591 h 1010"/>
                <a:gd name="T96" fmla="*/ 423 w 905"/>
                <a:gd name="T97" fmla="*/ 529 h 1010"/>
                <a:gd name="T98" fmla="*/ 508 w 905"/>
                <a:gd name="T99" fmla="*/ 505 h 1010"/>
                <a:gd name="T100" fmla="*/ 557 w 905"/>
                <a:gd name="T101" fmla="*/ 481 h 1010"/>
                <a:gd name="T102" fmla="*/ 594 w 905"/>
                <a:gd name="T103" fmla="*/ 480 h 1010"/>
                <a:gd name="T104" fmla="*/ 677 w 905"/>
                <a:gd name="T105" fmla="*/ 489 h 1010"/>
                <a:gd name="T106" fmla="*/ 752 w 905"/>
                <a:gd name="T107" fmla="*/ 438 h 1010"/>
                <a:gd name="T108" fmla="*/ 834 w 905"/>
                <a:gd name="T109" fmla="*/ 469 h 1010"/>
                <a:gd name="T110" fmla="*/ 891 w 905"/>
                <a:gd name="T111" fmla="*/ 456 h 1010"/>
                <a:gd name="T112" fmla="*/ 380 w 905"/>
                <a:gd name="T113" fmla="*/ 512 h 1010"/>
                <a:gd name="T114" fmla="*/ 346 w 905"/>
                <a:gd name="T115" fmla="*/ 483 h 10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905" h="1010">
                  <a:moveTo>
                    <a:pt x="215" y="87"/>
                  </a:moveTo>
                  <a:cubicBezTo>
                    <a:pt x="229" y="97"/>
                    <a:pt x="250" y="93"/>
                    <a:pt x="250" y="93"/>
                  </a:cubicBezTo>
                  <a:cubicBezTo>
                    <a:pt x="228" y="82"/>
                    <a:pt x="228" y="82"/>
                    <a:pt x="228" y="82"/>
                  </a:cubicBezTo>
                  <a:cubicBezTo>
                    <a:pt x="195" y="65"/>
                    <a:pt x="195" y="65"/>
                    <a:pt x="195" y="65"/>
                  </a:cubicBezTo>
                  <a:cubicBezTo>
                    <a:pt x="191" y="78"/>
                    <a:pt x="201" y="78"/>
                    <a:pt x="215" y="87"/>
                  </a:cubicBezTo>
                  <a:close/>
                  <a:moveTo>
                    <a:pt x="453" y="40"/>
                  </a:moveTo>
                  <a:cubicBezTo>
                    <a:pt x="481" y="40"/>
                    <a:pt x="481" y="40"/>
                    <a:pt x="481" y="40"/>
                  </a:cubicBezTo>
                  <a:cubicBezTo>
                    <a:pt x="481" y="40"/>
                    <a:pt x="512" y="51"/>
                    <a:pt x="516" y="49"/>
                  </a:cubicBezTo>
                  <a:cubicBezTo>
                    <a:pt x="520" y="48"/>
                    <a:pt x="542" y="44"/>
                    <a:pt x="547" y="44"/>
                  </a:cubicBezTo>
                  <a:cubicBezTo>
                    <a:pt x="553" y="44"/>
                    <a:pt x="599" y="62"/>
                    <a:pt x="599" y="62"/>
                  </a:cubicBezTo>
                  <a:cubicBezTo>
                    <a:pt x="613" y="47"/>
                    <a:pt x="613" y="47"/>
                    <a:pt x="613" y="47"/>
                  </a:cubicBezTo>
                  <a:cubicBezTo>
                    <a:pt x="653" y="48"/>
                    <a:pt x="653" y="48"/>
                    <a:pt x="653" y="48"/>
                  </a:cubicBezTo>
                  <a:cubicBezTo>
                    <a:pt x="656" y="35"/>
                    <a:pt x="656" y="35"/>
                    <a:pt x="656" y="35"/>
                  </a:cubicBezTo>
                  <a:cubicBezTo>
                    <a:pt x="656" y="35"/>
                    <a:pt x="677" y="42"/>
                    <a:pt x="688" y="21"/>
                  </a:cubicBezTo>
                  <a:cubicBezTo>
                    <a:pt x="699" y="0"/>
                    <a:pt x="653" y="17"/>
                    <a:pt x="653" y="17"/>
                  </a:cubicBezTo>
                  <a:cubicBezTo>
                    <a:pt x="653" y="17"/>
                    <a:pt x="650" y="7"/>
                    <a:pt x="626" y="7"/>
                  </a:cubicBezTo>
                  <a:cubicBezTo>
                    <a:pt x="602" y="7"/>
                    <a:pt x="585" y="19"/>
                    <a:pt x="578" y="17"/>
                  </a:cubicBezTo>
                  <a:cubicBezTo>
                    <a:pt x="571" y="16"/>
                    <a:pt x="577" y="4"/>
                    <a:pt x="558" y="4"/>
                  </a:cubicBezTo>
                  <a:cubicBezTo>
                    <a:pt x="540" y="4"/>
                    <a:pt x="535" y="20"/>
                    <a:pt x="535" y="20"/>
                  </a:cubicBezTo>
                  <a:cubicBezTo>
                    <a:pt x="491" y="4"/>
                    <a:pt x="491" y="4"/>
                    <a:pt x="491" y="4"/>
                  </a:cubicBezTo>
                  <a:cubicBezTo>
                    <a:pt x="491" y="4"/>
                    <a:pt x="470" y="11"/>
                    <a:pt x="447" y="16"/>
                  </a:cubicBezTo>
                  <a:cubicBezTo>
                    <a:pt x="425" y="20"/>
                    <a:pt x="440" y="4"/>
                    <a:pt x="440" y="4"/>
                  </a:cubicBezTo>
                  <a:cubicBezTo>
                    <a:pt x="419" y="14"/>
                    <a:pt x="419" y="14"/>
                    <a:pt x="419" y="14"/>
                  </a:cubicBezTo>
                  <a:cubicBezTo>
                    <a:pt x="429" y="28"/>
                    <a:pt x="429" y="28"/>
                    <a:pt x="429" y="28"/>
                  </a:cubicBezTo>
                  <a:lnTo>
                    <a:pt x="453" y="40"/>
                  </a:lnTo>
                  <a:close/>
                  <a:moveTo>
                    <a:pt x="214" y="49"/>
                  </a:moveTo>
                  <a:cubicBezTo>
                    <a:pt x="221" y="54"/>
                    <a:pt x="236" y="51"/>
                    <a:pt x="239" y="55"/>
                  </a:cubicBezTo>
                  <a:cubicBezTo>
                    <a:pt x="242" y="59"/>
                    <a:pt x="223" y="69"/>
                    <a:pt x="223" y="69"/>
                  </a:cubicBezTo>
                  <a:cubicBezTo>
                    <a:pt x="252" y="80"/>
                    <a:pt x="252" y="80"/>
                    <a:pt x="252" y="80"/>
                  </a:cubicBezTo>
                  <a:cubicBezTo>
                    <a:pt x="252" y="80"/>
                    <a:pt x="267" y="90"/>
                    <a:pt x="281" y="93"/>
                  </a:cubicBezTo>
                  <a:cubicBezTo>
                    <a:pt x="295" y="96"/>
                    <a:pt x="305" y="76"/>
                    <a:pt x="305" y="76"/>
                  </a:cubicBezTo>
                  <a:cubicBezTo>
                    <a:pt x="333" y="71"/>
                    <a:pt x="333" y="71"/>
                    <a:pt x="333" y="71"/>
                  </a:cubicBezTo>
                  <a:cubicBezTo>
                    <a:pt x="356" y="85"/>
                    <a:pt x="356" y="85"/>
                    <a:pt x="356" y="85"/>
                  </a:cubicBezTo>
                  <a:cubicBezTo>
                    <a:pt x="356" y="85"/>
                    <a:pt x="337" y="90"/>
                    <a:pt x="319" y="94"/>
                  </a:cubicBezTo>
                  <a:cubicBezTo>
                    <a:pt x="301" y="99"/>
                    <a:pt x="302" y="106"/>
                    <a:pt x="302" y="106"/>
                  </a:cubicBezTo>
                  <a:cubicBezTo>
                    <a:pt x="302" y="106"/>
                    <a:pt x="352" y="110"/>
                    <a:pt x="345" y="111"/>
                  </a:cubicBezTo>
                  <a:cubicBezTo>
                    <a:pt x="337" y="113"/>
                    <a:pt x="307" y="125"/>
                    <a:pt x="307" y="125"/>
                  </a:cubicBezTo>
                  <a:cubicBezTo>
                    <a:pt x="340" y="137"/>
                    <a:pt x="340" y="137"/>
                    <a:pt x="340" y="137"/>
                  </a:cubicBezTo>
                  <a:cubicBezTo>
                    <a:pt x="340" y="137"/>
                    <a:pt x="370" y="152"/>
                    <a:pt x="395" y="148"/>
                  </a:cubicBezTo>
                  <a:cubicBezTo>
                    <a:pt x="421" y="144"/>
                    <a:pt x="402" y="128"/>
                    <a:pt x="402" y="121"/>
                  </a:cubicBezTo>
                  <a:cubicBezTo>
                    <a:pt x="402" y="114"/>
                    <a:pt x="432" y="114"/>
                    <a:pt x="432" y="114"/>
                  </a:cubicBezTo>
                  <a:cubicBezTo>
                    <a:pt x="432" y="100"/>
                    <a:pt x="432" y="100"/>
                    <a:pt x="432" y="100"/>
                  </a:cubicBezTo>
                  <a:cubicBezTo>
                    <a:pt x="451" y="96"/>
                    <a:pt x="451" y="96"/>
                    <a:pt x="451" y="96"/>
                  </a:cubicBezTo>
                  <a:cubicBezTo>
                    <a:pt x="460" y="75"/>
                    <a:pt x="460" y="75"/>
                    <a:pt x="460" y="75"/>
                  </a:cubicBezTo>
                  <a:cubicBezTo>
                    <a:pt x="473" y="82"/>
                    <a:pt x="473" y="82"/>
                    <a:pt x="473" y="82"/>
                  </a:cubicBezTo>
                  <a:cubicBezTo>
                    <a:pt x="489" y="73"/>
                    <a:pt x="489" y="73"/>
                    <a:pt x="489" y="73"/>
                  </a:cubicBezTo>
                  <a:cubicBezTo>
                    <a:pt x="489" y="73"/>
                    <a:pt x="498" y="87"/>
                    <a:pt x="518" y="92"/>
                  </a:cubicBezTo>
                  <a:cubicBezTo>
                    <a:pt x="537" y="96"/>
                    <a:pt x="515" y="123"/>
                    <a:pt x="515" y="123"/>
                  </a:cubicBezTo>
                  <a:cubicBezTo>
                    <a:pt x="551" y="121"/>
                    <a:pt x="551" y="121"/>
                    <a:pt x="551" y="121"/>
                  </a:cubicBezTo>
                  <a:cubicBezTo>
                    <a:pt x="551" y="121"/>
                    <a:pt x="570" y="137"/>
                    <a:pt x="571" y="132"/>
                  </a:cubicBezTo>
                  <a:cubicBezTo>
                    <a:pt x="572" y="128"/>
                    <a:pt x="623" y="114"/>
                    <a:pt x="627" y="106"/>
                  </a:cubicBezTo>
                  <a:cubicBezTo>
                    <a:pt x="632" y="97"/>
                    <a:pt x="589" y="99"/>
                    <a:pt x="589" y="99"/>
                  </a:cubicBezTo>
                  <a:cubicBezTo>
                    <a:pt x="587" y="87"/>
                    <a:pt x="587" y="87"/>
                    <a:pt x="587" y="87"/>
                  </a:cubicBezTo>
                  <a:cubicBezTo>
                    <a:pt x="551" y="82"/>
                    <a:pt x="551" y="82"/>
                    <a:pt x="551" y="82"/>
                  </a:cubicBezTo>
                  <a:cubicBezTo>
                    <a:pt x="550" y="71"/>
                    <a:pt x="550" y="71"/>
                    <a:pt x="550" y="71"/>
                  </a:cubicBezTo>
                  <a:cubicBezTo>
                    <a:pt x="529" y="73"/>
                    <a:pt x="529" y="73"/>
                    <a:pt x="529" y="73"/>
                  </a:cubicBezTo>
                  <a:cubicBezTo>
                    <a:pt x="532" y="61"/>
                    <a:pt x="532" y="61"/>
                    <a:pt x="532" y="61"/>
                  </a:cubicBezTo>
                  <a:cubicBezTo>
                    <a:pt x="481" y="62"/>
                    <a:pt x="481" y="62"/>
                    <a:pt x="481" y="62"/>
                  </a:cubicBezTo>
                  <a:cubicBezTo>
                    <a:pt x="477" y="54"/>
                    <a:pt x="477" y="54"/>
                    <a:pt x="477" y="54"/>
                  </a:cubicBezTo>
                  <a:cubicBezTo>
                    <a:pt x="453" y="54"/>
                    <a:pt x="453" y="54"/>
                    <a:pt x="453" y="54"/>
                  </a:cubicBezTo>
                  <a:cubicBezTo>
                    <a:pt x="453" y="54"/>
                    <a:pt x="450" y="41"/>
                    <a:pt x="435" y="37"/>
                  </a:cubicBezTo>
                  <a:cubicBezTo>
                    <a:pt x="419" y="33"/>
                    <a:pt x="412" y="38"/>
                    <a:pt x="412" y="38"/>
                  </a:cubicBezTo>
                  <a:cubicBezTo>
                    <a:pt x="415" y="26"/>
                    <a:pt x="415" y="26"/>
                    <a:pt x="415" y="26"/>
                  </a:cubicBezTo>
                  <a:cubicBezTo>
                    <a:pt x="415" y="26"/>
                    <a:pt x="394" y="20"/>
                    <a:pt x="366" y="21"/>
                  </a:cubicBezTo>
                  <a:cubicBezTo>
                    <a:pt x="337" y="23"/>
                    <a:pt x="374" y="55"/>
                    <a:pt x="374" y="55"/>
                  </a:cubicBezTo>
                  <a:cubicBezTo>
                    <a:pt x="374" y="55"/>
                    <a:pt x="343" y="30"/>
                    <a:pt x="328" y="27"/>
                  </a:cubicBezTo>
                  <a:cubicBezTo>
                    <a:pt x="312" y="24"/>
                    <a:pt x="307" y="44"/>
                    <a:pt x="307" y="44"/>
                  </a:cubicBezTo>
                  <a:cubicBezTo>
                    <a:pt x="307" y="44"/>
                    <a:pt x="284" y="40"/>
                    <a:pt x="278" y="37"/>
                  </a:cubicBezTo>
                  <a:cubicBezTo>
                    <a:pt x="273" y="34"/>
                    <a:pt x="291" y="24"/>
                    <a:pt x="291" y="24"/>
                  </a:cubicBezTo>
                  <a:cubicBezTo>
                    <a:pt x="254" y="27"/>
                    <a:pt x="254" y="27"/>
                    <a:pt x="254" y="27"/>
                  </a:cubicBezTo>
                  <a:cubicBezTo>
                    <a:pt x="245" y="35"/>
                    <a:pt x="245" y="35"/>
                    <a:pt x="245" y="35"/>
                  </a:cubicBezTo>
                  <a:cubicBezTo>
                    <a:pt x="240" y="24"/>
                    <a:pt x="240" y="24"/>
                    <a:pt x="240" y="24"/>
                  </a:cubicBezTo>
                  <a:cubicBezTo>
                    <a:pt x="240" y="24"/>
                    <a:pt x="216" y="31"/>
                    <a:pt x="208" y="38"/>
                  </a:cubicBezTo>
                  <a:cubicBezTo>
                    <a:pt x="208" y="38"/>
                    <a:pt x="207" y="45"/>
                    <a:pt x="214" y="49"/>
                  </a:cubicBezTo>
                  <a:close/>
                  <a:moveTo>
                    <a:pt x="425" y="477"/>
                  </a:moveTo>
                  <a:cubicBezTo>
                    <a:pt x="441" y="474"/>
                    <a:pt x="440" y="464"/>
                    <a:pt x="447" y="464"/>
                  </a:cubicBezTo>
                  <a:cubicBezTo>
                    <a:pt x="453" y="464"/>
                    <a:pt x="447" y="453"/>
                    <a:pt x="447" y="453"/>
                  </a:cubicBezTo>
                  <a:cubicBezTo>
                    <a:pt x="417" y="467"/>
                    <a:pt x="417" y="467"/>
                    <a:pt x="417" y="467"/>
                  </a:cubicBezTo>
                  <a:lnTo>
                    <a:pt x="425" y="477"/>
                  </a:lnTo>
                  <a:close/>
                  <a:moveTo>
                    <a:pt x="513" y="437"/>
                  </a:moveTo>
                  <a:cubicBezTo>
                    <a:pt x="522" y="434"/>
                    <a:pt x="535" y="424"/>
                    <a:pt x="517" y="423"/>
                  </a:cubicBezTo>
                  <a:cubicBezTo>
                    <a:pt x="500" y="422"/>
                    <a:pt x="513" y="437"/>
                    <a:pt x="513" y="437"/>
                  </a:cubicBezTo>
                  <a:close/>
                  <a:moveTo>
                    <a:pt x="392" y="470"/>
                  </a:moveTo>
                  <a:cubicBezTo>
                    <a:pt x="373" y="465"/>
                    <a:pt x="363" y="482"/>
                    <a:pt x="363" y="482"/>
                  </a:cubicBezTo>
                  <a:cubicBezTo>
                    <a:pt x="379" y="486"/>
                    <a:pt x="379" y="486"/>
                    <a:pt x="379" y="486"/>
                  </a:cubicBezTo>
                  <a:cubicBezTo>
                    <a:pt x="385" y="482"/>
                    <a:pt x="411" y="474"/>
                    <a:pt x="392" y="470"/>
                  </a:cubicBezTo>
                  <a:close/>
                  <a:moveTo>
                    <a:pt x="610" y="414"/>
                  </a:moveTo>
                  <a:cubicBezTo>
                    <a:pt x="623" y="417"/>
                    <a:pt x="623" y="417"/>
                    <a:pt x="623" y="417"/>
                  </a:cubicBezTo>
                  <a:cubicBezTo>
                    <a:pt x="631" y="408"/>
                    <a:pt x="631" y="402"/>
                    <a:pt x="631" y="402"/>
                  </a:cubicBezTo>
                  <a:cubicBezTo>
                    <a:pt x="611" y="404"/>
                    <a:pt x="611" y="404"/>
                    <a:pt x="611" y="404"/>
                  </a:cubicBezTo>
                  <a:lnTo>
                    <a:pt x="610" y="414"/>
                  </a:lnTo>
                  <a:close/>
                  <a:moveTo>
                    <a:pt x="320" y="509"/>
                  </a:moveTo>
                  <a:cubicBezTo>
                    <a:pt x="304" y="509"/>
                    <a:pt x="279" y="528"/>
                    <a:pt x="285" y="532"/>
                  </a:cubicBezTo>
                  <a:cubicBezTo>
                    <a:pt x="290" y="535"/>
                    <a:pt x="315" y="520"/>
                    <a:pt x="315" y="520"/>
                  </a:cubicBezTo>
                  <a:cubicBezTo>
                    <a:pt x="338" y="516"/>
                    <a:pt x="338" y="516"/>
                    <a:pt x="338" y="516"/>
                  </a:cubicBezTo>
                  <a:cubicBezTo>
                    <a:pt x="335" y="516"/>
                    <a:pt x="336" y="509"/>
                    <a:pt x="320" y="509"/>
                  </a:cubicBezTo>
                  <a:close/>
                  <a:moveTo>
                    <a:pt x="901" y="448"/>
                  </a:moveTo>
                  <a:cubicBezTo>
                    <a:pt x="884" y="451"/>
                    <a:pt x="884" y="451"/>
                    <a:pt x="884" y="451"/>
                  </a:cubicBezTo>
                  <a:cubicBezTo>
                    <a:pt x="856" y="444"/>
                    <a:pt x="856" y="444"/>
                    <a:pt x="856" y="444"/>
                  </a:cubicBezTo>
                  <a:cubicBezTo>
                    <a:pt x="836" y="433"/>
                    <a:pt x="836" y="433"/>
                    <a:pt x="836" y="433"/>
                  </a:cubicBezTo>
                  <a:cubicBezTo>
                    <a:pt x="836" y="433"/>
                    <a:pt x="862" y="437"/>
                    <a:pt x="873" y="432"/>
                  </a:cubicBezTo>
                  <a:cubicBezTo>
                    <a:pt x="884" y="427"/>
                    <a:pt x="902" y="421"/>
                    <a:pt x="902" y="421"/>
                  </a:cubicBezTo>
                  <a:cubicBezTo>
                    <a:pt x="902" y="421"/>
                    <a:pt x="876" y="406"/>
                    <a:pt x="862" y="406"/>
                  </a:cubicBezTo>
                  <a:cubicBezTo>
                    <a:pt x="848" y="406"/>
                    <a:pt x="827" y="395"/>
                    <a:pt x="827" y="395"/>
                  </a:cubicBezTo>
                  <a:cubicBezTo>
                    <a:pt x="827" y="395"/>
                    <a:pt x="819" y="421"/>
                    <a:pt x="803" y="418"/>
                  </a:cubicBezTo>
                  <a:cubicBezTo>
                    <a:pt x="787" y="415"/>
                    <a:pt x="815" y="397"/>
                    <a:pt x="815" y="397"/>
                  </a:cubicBezTo>
                  <a:cubicBezTo>
                    <a:pt x="771" y="382"/>
                    <a:pt x="771" y="382"/>
                    <a:pt x="771" y="382"/>
                  </a:cubicBezTo>
                  <a:cubicBezTo>
                    <a:pt x="771" y="382"/>
                    <a:pt x="763" y="431"/>
                    <a:pt x="749" y="425"/>
                  </a:cubicBezTo>
                  <a:cubicBezTo>
                    <a:pt x="735" y="419"/>
                    <a:pt x="746" y="393"/>
                    <a:pt x="746" y="393"/>
                  </a:cubicBezTo>
                  <a:cubicBezTo>
                    <a:pt x="746" y="393"/>
                    <a:pt x="708" y="437"/>
                    <a:pt x="698" y="430"/>
                  </a:cubicBezTo>
                  <a:cubicBezTo>
                    <a:pt x="688" y="423"/>
                    <a:pt x="734" y="387"/>
                    <a:pt x="734" y="387"/>
                  </a:cubicBezTo>
                  <a:cubicBezTo>
                    <a:pt x="711" y="385"/>
                    <a:pt x="711" y="385"/>
                    <a:pt x="711" y="385"/>
                  </a:cubicBezTo>
                  <a:cubicBezTo>
                    <a:pt x="699" y="395"/>
                    <a:pt x="699" y="395"/>
                    <a:pt x="699" y="395"/>
                  </a:cubicBezTo>
                  <a:cubicBezTo>
                    <a:pt x="683" y="393"/>
                    <a:pt x="683" y="393"/>
                    <a:pt x="683" y="393"/>
                  </a:cubicBezTo>
                  <a:cubicBezTo>
                    <a:pt x="653" y="411"/>
                    <a:pt x="653" y="411"/>
                    <a:pt x="653" y="411"/>
                  </a:cubicBezTo>
                  <a:cubicBezTo>
                    <a:pt x="637" y="412"/>
                    <a:pt x="637" y="412"/>
                    <a:pt x="637" y="412"/>
                  </a:cubicBezTo>
                  <a:cubicBezTo>
                    <a:pt x="635" y="432"/>
                    <a:pt x="635" y="432"/>
                    <a:pt x="635" y="432"/>
                  </a:cubicBezTo>
                  <a:cubicBezTo>
                    <a:pt x="611" y="423"/>
                    <a:pt x="611" y="423"/>
                    <a:pt x="611" y="423"/>
                  </a:cubicBezTo>
                  <a:cubicBezTo>
                    <a:pt x="585" y="428"/>
                    <a:pt x="585" y="428"/>
                    <a:pt x="585" y="428"/>
                  </a:cubicBezTo>
                  <a:cubicBezTo>
                    <a:pt x="593" y="446"/>
                    <a:pt x="593" y="446"/>
                    <a:pt x="593" y="446"/>
                  </a:cubicBezTo>
                  <a:cubicBezTo>
                    <a:pt x="562" y="437"/>
                    <a:pt x="562" y="437"/>
                    <a:pt x="562" y="437"/>
                  </a:cubicBezTo>
                  <a:cubicBezTo>
                    <a:pt x="551" y="443"/>
                    <a:pt x="551" y="443"/>
                    <a:pt x="551" y="443"/>
                  </a:cubicBezTo>
                  <a:cubicBezTo>
                    <a:pt x="554" y="459"/>
                    <a:pt x="554" y="459"/>
                    <a:pt x="554" y="459"/>
                  </a:cubicBezTo>
                  <a:cubicBezTo>
                    <a:pt x="524" y="465"/>
                    <a:pt x="524" y="465"/>
                    <a:pt x="524" y="465"/>
                  </a:cubicBezTo>
                  <a:cubicBezTo>
                    <a:pt x="527" y="444"/>
                    <a:pt x="527" y="444"/>
                    <a:pt x="527" y="444"/>
                  </a:cubicBezTo>
                  <a:cubicBezTo>
                    <a:pt x="507" y="444"/>
                    <a:pt x="507" y="444"/>
                    <a:pt x="507" y="444"/>
                  </a:cubicBezTo>
                  <a:cubicBezTo>
                    <a:pt x="513" y="457"/>
                    <a:pt x="513" y="457"/>
                    <a:pt x="513" y="457"/>
                  </a:cubicBezTo>
                  <a:cubicBezTo>
                    <a:pt x="497" y="447"/>
                    <a:pt x="497" y="447"/>
                    <a:pt x="497" y="447"/>
                  </a:cubicBezTo>
                  <a:cubicBezTo>
                    <a:pt x="499" y="467"/>
                    <a:pt x="499" y="467"/>
                    <a:pt x="499" y="467"/>
                  </a:cubicBezTo>
                  <a:cubicBezTo>
                    <a:pt x="482" y="466"/>
                    <a:pt x="482" y="466"/>
                    <a:pt x="482" y="466"/>
                  </a:cubicBezTo>
                  <a:cubicBezTo>
                    <a:pt x="482" y="466"/>
                    <a:pt x="479" y="453"/>
                    <a:pt x="481" y="450"/>
                  </a:cubicBezTo>
                  <a:cubicBezTo>
                    <a:pt x="483" y="447"/>
                    <a:pt x="494" y="437"/>
                    <a:pt x="494" y="437"/>
                  </a:cubicBezTo>
                  <a:cubicBezTo>
                    <a:pt x="471" y="434"/>
                    <a:pt x="471" y="434"/>
                    <a:pt x="471" y="434"/>
                  </a:cubicBezTo>
                  <a:cubicBezTo>
                    <a:pt x="468" y="463"/>
                    <a:pt x="468" y="463"/>
                    <a:pt x="468" y="463"/>
                  </a:cubicBezTo>
                  <a:cubicBezTo>
                    <a:pt x="450" y="472"/>
                    <a:pt x="450" y="472"/>
                    <a:pt x="450" y="472"/>
                  </a:cubicBezTo>
                  <a:cubicBezTo>
                    <a:pt x="460" y="480"/>
                    <a:pt x="460" y="480"/>
                    <a:pt x="460" y="480"/>
                  </a:cubicBezTo>
                  <a:cubicBezTo>
                    <a:pt x="438" y="483"/>
                    <a:pt x="438" y="483"/>
                    <a:pt x="438" y="483"/>
                  </a:cubicBezTo>
                  <a:cubicBezTo>
                    <a:pt x="446" y="491"/>
                    <a:pt x="446" y="491"/>
                    <a:pt x="446" y="491"/>
                  </a:cubicBezTo>
                  <a:cubicBezTo>
                    <a:pt x="418" y="492"/>
                    <a:pt x="418" y="492"/>
                    <a:pt x="418" y="492"/>
                  </a:cubicBezTo>
                  <a:cubicBezTo>
                    <a:pt x="418" y="500"/>
                    <a:pt x="418" y="500"/>
                    <a:pt x="418" y="500"/>
                  </a:cubicBezTo>
                  <a:cubicBezTo>
                    <a:pt x="439" y="505"/>
                    <a:pt x="439" y="505"/>
                    <a:pt x="439" y="505"/>
                  </a:cubicBezTo>
                  <a:cubicBezTo>
                    <a:pt x="432" y="514"/>
                    <a:pt x="432" y="514"/>
                    <a:pt x="432" y="514"/>
                  </a:cubicBezTo>
                  <a:cubicBezTo>
                    <a:pt x="408" y="504"/>
                    <a:pt x="408" y="504"/>
                    <a:pt x="408" y="504"/>
                  </a:cubicBezTo>
                  <a:cubicBezTo>
                    <a:pt x="399" y="505"/>
                    <a:pt x="399" y="505"/>
                    <a:pt x="399" y="505"/>
                  </a:cubicBezTo>
                  <a:cubicBezTo>
                    <a:pt x="415" y="516"/>
                    <a:pt x="415" y="516"/>
                    <a:pt x="415" y="516"/>
                  </a:cubicBezTo>
                  <a:cubicBezTo>
                    <a:pt x="400" y="527"/>
                    <a:pt x="400" y="527"/>
                    <a:pt x="400" y="527"/>
                  </a:cubicBezTo>
                  <a:cubicBezTo>
                    <a:pt x="392" y="514"/>
                    <a:pt x="392" y="514"/>
                    <a:pt x="392" y="514"/>
                  </a:cubicBezTo>
                  <a:cubicBezTo>
                    <a:pt x="382" y="520"/>
                    <a:pt x="382" y="520"/>
                    <a:pt x="382" y="520"/>
                  </a:cubicBezTo>
                  <a:cubicBezTo>
                    <a:pt x="383" y="525"/>
                    <a:pt x="383" y="525"/>
                    <a:pt x="383" y="525"/>
                  </a:cubicBezTo>
                  <a:cubicBezTo>
                    <a:pt x="360" y="526"/>
                    <a:pt x="360" y="526"/>
                    <a:pt x="360" y="526"/>
                  </a:cubicBezTo>
                  <a:cubicBezTo>
                    <a:pt x="357" y="535"/>
                    <a:pt x="357" y="535"/>
                    <a:pt x="357" y="535"/>
                  </a:cubicBezTo>
                  <a:cubicBezTo>
                    <a:pt x="374" y="544"/>
                    <a:pt x="374" y="544"/>
                    <a:pt x="374" y="544"/>
                  </a:cubicBezTo>
                  <a:cubicBezTo>
                    <a:pt x="372" y="554"/>
                    <a:pt x="372" y="554"/>
                    <a:pt x="372" y="554"/>
                  </a:cubicBezTo>
                  <a:cubicBezTo>
                    <a:pt x="350" y="546"/>
                    <a:pt x="350" y="546"/>
                    <a:pt x="350" y="546"/>
                  </a:cubicBezTo>
                  <a:cubicBezTo>
                    <a:pt x="347" y="556"/>
                    <a:pt x="347" y="556"/>
                    <a:pt x="347" y="556"/>
                  </a:cubicBezTo>
                  <a:cubicBezTo>
                    <a:pt x="365" y="561"/>
                    <a:pt x="365" y="561"/>
                    <a:pt x="365" y="561"/>
                  </a:cubicBezTo>
                  <a:cubicBezTo>
                    <a:pt x="365" y="561"/>
                    <a:pt x="344" y="562"/>
                    <a:pt x="337" y="563"/>
                  </a:cubicBezTo>
                  <a:cubicBezTo>
                    <a:pt x="330" y="564"/>
                    <a:pt x="334" y="574"/>
                    <a:pt x="334" y="574"/>
                  </a:cubicBezTo>
                  <a:cubicBezTo>
                    <a:pt x="334" y="574"/>
                    <a:pt x="321" y="567"/>
                    <a:pt x="313" y="573"/>
                  </a:cubicBezTo>
                  <a:cubicBezTo>
                    <a:pt x="305" y="579"/>
                    <a:pt x="298" y="584"/>
                    <a:pt x="303" y="587"/>
                  </a:cubicBezTo>
                  <a:cubicBezTo>
                    <a:pt x="308" y="590"/>
                    <a:pt x="297" y="596"/>
                    <a:pt x="297" y="596"/>
                  </a:cubicBezTo>
                  <a:cubicBezTo>
                    <a:pt x="297" y="596"/>
                    <a:pt x="290" y="605"/>
                    <a:pt x="293" y="606"/>
                  </a:cubicBezTo>
                  <a:cubicBezTo>
                    <a:pt x="296" y="607"/>
                    <a:pt x="316" y="608"/>
                    <a:pt x="316" y="608"/>
                  </a:cubicBezTo>
                  <a:cubicBezTo>
                    <a:pt x="309" y="616"/>
                    <a:pt x="309" y="616"/>
                    <a:pt x="309" y="616"/>
                  </a:cubicBezTo>
                  <a:cubicBezTo>
                    <a:pt x="286" y="612"/>
                    <a:pt x="286" y="612"/>
                    <a:pt x="286" y="612"/>
                  </a:cubicBezTo>
                  <a:cubicBezTo>
                    <a:pt x="286" y="612"/>
                    <a:pt x="273" y="614"/>
                    <a:pt x="273" y="622"/>
                  </a:cubicBezTo>
                  <a:cubicBezTo>
                    <a:pt x="273" y="630"/>
                    <a:pt x="283" y="636"/>
                    <a:pt x="279" y="639"/>
                  </a:cubicBezTo>
                  <a:cubicBezTo>
                    <a:pt x="275" y="642"/>
                    <a:pt x="271" y="642"/>
                    <a:pt x="266" y="642"/>
                  </a:cubicBezTo>
                  <a:cubicBezTo>
                    <a:pt x="261" y="642"/>
                    <a:pt x="255" y="643"/>
                    <a:pt x="257" y="650"/>
                  </a:cubicBezTo>
                  <a:cubicBezTo>
                    <a:pt x="259" y="657"/>
                    <a:pt x="267" y="661"/>
                    <a:pt x="267" y="661"/>
                  </a:cubicBezTo>
                  <a:cubicBezTo>
                    <a:pt x="267" y="661"/>
                    <a:pt x="273" y="672"/>
                    <a:pt x="266" y="673"/>
                  </a:cubicBezTo>
                  <a:cubicBezTo>
                    <a:pt x="259" y="674"/>
                    <a:pt x="252" y="673"/>
                    <a:pt x="249" y="673"/>
                  </a:cubicBezTo>
                  <a:cubicBezTo>
                    <a:pt x="246" y="673"/>
                    <a:pt x="243" y="674"/>
                    <a:pt x="240" y="678"/>
                  </a:cubicBezTo>
                  <a:cubicBezTo>
                    <a:pt x="237" y="682"/>
                    <a:pt x="237" y="689"/>
                    <a:pt x="237" y="689"/>
                  </a:cubicBezTo>
                  <a:cubicBezTo>
                    <a:pt x="237" y="689"/>
                    <a:pt x="239" y="696"/>
                    <a:pt x="232" y="696"/>
                  </a:cubicBezTo>
                  <a:cubicBezTo>
                    <a:pt x="225" y="696"/>
                    <a:pt x="222" y="689"/>
                    <a:pt x="216" y="690"/>
                  </a:cubicBezTo>
                  <a:cubicBezTo>
                    <a:pt x="210" y="691"/>
                    <a:pt x="212" y="691"/>
                    <a:pt x="207" y="695"/>
                  </a:cubicBezTo>
                  <a:cubicBezTo>
                    <a:pt x="202" y="699"/>
                    <a:pt x="202" y="700"/>
                    <a:pt x="199" y="704"/>
                  </a:cubicBezTo>
                  <a:cubicBezTo>
                    <a:pt x="196" y="708"/>
                    <a:pt x="187" y="708"/>
                    <a:pt x="187" y="708"/>
                  </a:cubicBezTo>
                  <a:cubicBezTo>
                    <a:pt x="187" y="708"/>
                    <a:pt x="183" y="709"/>
                    <a:pt x="180" y="715"/>
                  </a:cubicBezTo>
                  <a:cubicBezTo>
                    <a:pt x="177" y="721"/>
                    <a:pt x="186" y="725"/>
                    <a:pt x="181" y="728"/>
                  </a:cubicBezTo>
                  <a:cubicBezTo>
                    <a:pt x="176" y="731"/>
                    <a:pt x="175" y="733"/>
                    <a:pt x="170" y="733"/>
                  </a:cubicBezTo>
                  <a:cubicBezTo>
                    <a:pt x="165" y="733"/>
                    <a:pt x="156" y="728"/>
                    <a:pt x="153" y="728"/>
                  </a:cubicBezTo>
                  <a:cubicBezTo>
                    <a:pt x="150" y="728"/>
                    <a:pt x="157" y="720"/>
                    <a:pt x="144" y="727"/>
                  </a:cubicBezTo>
                  <a:cubicBezTo>
                    <a:pt x="131" y="734"/>
                    <a:pt x="130" y="735"/>
                    <a:pt x="126" y="734"/>
                  </a:cubicBezTo>
                  <a:cubicBezTo>
                    <a:pt x="122" y="733"/>
                    <a:pt x="117" y="731"/>
                    <a:pt x="118" y="741"/>
                  </a:cubicBezTo>
                  <a:cubicBezTo>
                    <a:pt x="119" y="751"/>
                    <a:pt x="125" y="750"/>
                    <a:pt x="126" y="753"/>
                  </a:cubicBezTo>
                  <a:cubicBezTo>
                    <a:pt x="127" y="756"/>
                    <a:pt x="130" y="764"/>
                    <a:pt x="122" y="760"/>
                  </a:cubicBezTo>
                  <a:cubicBezTo>
                    <a:pt x="114" y="756"/>
                    <a:pt x="113" y="747"/>
                    <a:pt x="108" y="750"/>
                  </a:cubicBezTo>
                  <a:cubicBezTo>
                    <a:pt x="103" y="753"/>
                    <a:pt x="97" y="760"/>
                    <a:pt x="102" y="763"/>
                  </a:cubicBezTo>
                  <a:cubicBezTo>
                    <a:pt x="107" y="766"/>
                    <a:pt x="122" y="762"/>
                    <a:pt x="119" y="768"/>
                  </a:cubicBezTo>
                  <a:cubicBezTo>
                    <a:pt x="116" y="774"/>
                    <a:pt x="126" y="777"/>
                    <a:pt x="111" y="775"/>
                  </a:cubicBezTo>
                  <a:cubicBezTo>
                    <a:pt x="96" y="773"/>
                    <a:pt x="92" y="773"/>
                    <a:pt x="92" y="773"/>
                  </a:cubicBezTo>
                  <a:cubicBezTo>
                    <a:pt x="92" y="773"/>
                    <a:pt x="94" y="767"/>
                    <a:pt x="88" y="772"/>
                  </a:cubicBezTo>
                  <a:cubicBezTo>
                    <a:pt x="82" y="777"/>
                    <a:pt x="84" y="786"/>
                    <a:pt x="84" y="786"/>
                  </a:cubicBezTo>
                  <a:cubicBezTo>
                    <a:pt x="84" y="786"/>
                    <a:pt x="55" y="773"/>
                    <a:pt x="59" y="781"/>
                  </a:cubicBezTo>
                  <a:cubicBezTo>
                    <a:pt x="63" y="789"/>
                    <a:pt x="85" y="794"/>
                    <a:pt x="85" y="794"/>
                  </a:cubicBezTo>
                  <a:cubicBezTo>
                    <a:pt x="72" y="808"/>
                    <a:pt x="72" y="808"/>
                    <a:pt x="72" y="808"/>
                  </a:cubicBezTo>
                  <a:cubicBezTo>
                    <a:pt x="72" y="808"/>
                    <a:pt x="73" y="798"/>
                    <a:pt x="66" y="797"/>
                  </a:cubicBezTo>
                  <a:cubicBezTo>
                    <a:pt x="59" y="796"/>
                    <a:pt x="53" y="804"/>
                    <a:pt x="53" y="804"/>
                  </a:cubicBezTo>
                  <a:cubicBezTo>
                    <a:pt x="40" y="793"/>
                    <a:pt x="40" y="793"/>
                    <a:pt x="40" y="793"/>
                  </a:cubicBezTo>
                  <a:cubicBezTo>
                    <a:pt x="34" y="802"/>
                    <a:pt x="34" y="802"/>
                    <a:pt x="34" y="802"/>
                  </a:cubicBezTo>
                  <a:cubicBezTo>
                    <a:pt x="43" y="805"/>
                    <a:pt x="43" y="805"/>
                    <a:pt x="43" y="805"/>
                  </a:cubicBezTo>
                  <a:cubicBezTo>
                    <a:pt x="20" y="804"/>
                    <a:pt x="20" y="804"/>
                    <a:pt x="20" y="804"/>
                  </a:cubicBezTo>
                  <a:cubicBezTo>
                    <a:pt x="19" y="813"/>
                    <a:pt x="19" y="813"/>
                    <a:pt x="19" y="813"/>
                  </a:cubicBezTo>
                  <a:cubicBezTo>
                    <a:pt x="52" y="815"/>
                    <a:pt x="52" y="815"/>
                    <a:pt x="52" y="815"/>
                  </a:cubicBezTo>
                  <a:cubicBezTo>
                    <a:pt x="35" y="820"/>
                    <a:pt x="35" y="820"/>
                    <a:pt x="35" y="820"/>
                  </a:cubicBezTo>
                  <a:cubicBezTo>
                    <a:pt x="11" y="814"/>
                    <a:pt x="11" y="814"/>
                    <a:pt x="11" y="814"/>
                  </a:cubicBezTo>
                  <a:cubicBezTo>
                    <a:pt x="11" y="814"/>
                    <a:pt x="3" y="821"/>
                    <a:pt x="3" y="827"/>
                  </a:cubicBezTo>
                  <a:cubicBezTo>
                    <a:pt x="3" y="833"/>
                    <a:pt x="21" y="834"/>
                    <a:pt x="21" y="834"/>
                  </a:cubicBezTo>
                  <a:cubicBezTo>
                    <a:pt x="10" y="839"/>
                    <a:pt x="10" y="839"/>
                    <a:pt x="10" y="839"/>
                  </a:cubicBezTo>
                  <a:cubicBezTo>
                    <a:pt x="10" y="839"/>
                    <a:pt x="1" y="846"/>
                    <a:pt x="10" y="847"/>
                  </a:cubicBezTo>
                  <a:cubicBezTo>
                    <a:pt x="19" y="848"/>
                    <a:pt x="42" y="848"/>
                    <a:pt x="42" y="848"/>
                  </a:cubicBezTo>
                  <a:cubicBezTo>
                    <a:pt x="52" y="854"/>
                    <a:pt x="52" y="854"/>
                    <a:pt x="52" y="854"/>
                  </a:cubicBezTo>
                  <a:cubicBezTo>
                    <a:pt x="63" y="846"/>
                    <a:pt x="63" y="846"/>
                    <a:pt x="63" y="846"/>
                  </a:cubicBezTo>
                  <a:cubicBezTo>
                    <a:pt x="71" y="854"/>
                    <a:pt x="71" y="854"/>
                    <a:pt x="71" y="854"/>
                  </a:cubicBezTo>
                  <a:cubicBezTo>
                    <a:pt x="89" y="845"/>
                    <a:pt x="89" y="845"/>
                    <a:pt x="89" y="845"/>
                  </a:cubicBezTo>
                  <a:cubicBezTo>
                    <a:pt x="89" y="845"/>
                    <a:pt x="86" y="858"/>
                    <a:pt x="80" y="858"/>
                  </a:cubicBezTo>
                  <a:cubicBezTo>
                    <a:pt x="74" y="858"/>
                    <a:pt x="62" y="857"/>
                    <a:pt x="62" y="857"/>
                  </a:cubicBezTo>
                  <a:cubicBezTo>
                    <a:pt x="44" y="858"/>
                    <a:pt x="44" y="858"/>
                    <a:pt x="44" y="858"/>
                  </a:cubicBezTo>
                  <a:cubicBezTo>
                    <a:pt x="44" y="858"/>
                    <a:pt x="28" y="856"/>
                    <a:pt x="25" y="856"/>
                  </a:cubicBezTo>
                  <a:cubicBezTo>
                    <a:pt x="22" y="856"/>
                    <a:pt x="0" y="858"/>
                    <a:pt x="0" y="858"/>
                  </a:cubicBezTo>
                  <a:cubicBezTo>
                    <a:pt x="0" y="858"/>
                    <a:pt x="2" y="870"/>
                    <a:pt x="7" y="872"/>
                  </a:cubicBezTo>
                  <a:cubicBezTo>
                    <a:pt x="12" y="874"/>
                    <a:pt x="20" y="874"/>
                    <a:pt x="20" y="874"/>
                  </a:cubicBezTo>
                  <a:cubicBezTo>
                    <a:pt x="20" y="874"/>
                    <a:pt x="7" y="884"/>
                    <a:pt x="13" y="891"/>
                  </a:cubicBezTo>
                  <a:cubicBezTo>
                    <a:pt x="19" y="898"/>
                    <a:pt x="29" y="899"/>
                    <a:pt x="29" y="899"/>
                  </a:cubicBezTo>
                  <a:cubicBezTo>
                    <a:pt x="47" y="888"/>
                    <a:pt x="47" y="888"/>
                    <a:pt x="47" y="888"/>
                  </a:cubicBezTo>
                  <a:cubicBezTo>
                    <a:pt x="65" y="884"/>
                    <a:pt x="65" y="884"/>
                    <a:pt x="65" y="884"/>
                  </a:cubicBezTo>
                  <a:cubicBezTo>
                    <a:pt x="59" y="898"/>
                    <a:pt x="59" y="898"/>
                    <a:pt x="59" y="898"/>
                  </a:cubicBezTo>
                  <a:cubicBezTo>
                    <a:pt x="49" y="895"/>
                    <a:pt x="49" y="895"/>
                    <a:pt x="49" y="895"/>
                  </a:cubicBezTo>
                  <a:cubicBezTo>
                    <a:pt x="43" y="907"/>
                    <a:pt x="43" y="907"/>
                    <a:pt x="43" y="907"/>
                  </a:cubicBezTo>
                  <a:cubicBezTo>
                    <a:pt x="43" y="907"/>
                    <a:pt x="13" y="901"/>
                    <a:pt x="17" y="908"/>
                  </a:cubicBezTo>
                  <a:cubicBezTo>
                    <a:pt x="21" y="915"/>
                    <a:pt x="30" y="918"/>
                    <a:pt x="30" y="918"/>
                  </a:cubicBezTo>
                  <a:cubicBezTo>
                    <a:pt x="14" y="926"/>
                    <a:pt x="14" y="926"/>
                    <a:pt x="14" y="926"/>
                  </a:cubicBezTo>
                  <a:cubicBezTo>
                    <a:pt x="2" y="926"/>
                    <a:pt x="2" y="926"/>
                    <a:pt x="2" y="926"/>
                  </a:cubicBezTo>
                  <a:cubicBezTo>
                    <a:pt x="2" y="926"/>
                    <a:pt x="4" y="938"/>
                    <a:pt x="7" y="938"/>
                  </a:cubicBezTo>
                  <a:cubicBezTo>
                    <a:pt x="10" y="938"/>
                    <a:pt x="42" y="939"/>
                    <a:pt x="42" y="939"/>
                  </a:cubicBezTo>
                  <a:cubicBezTo>
                    <a:pt x="33" y="953"/>
                    <a:pt x="33" y="953"/>
                    <a:pt x="33" y="953"/>
                  </a:cubicBezTo>
                  <a:cubicBezTo>
                    <a:pt x="41" y="955"/>
                    <a:pt x="41" y="955"/>
                    <a:pt x="41" y="955"/>
                  </a:cubicBezTo>
                  <a:cubicBezTo>
                    <a:pt x="36" y="967"/>
                    <a:pt x="36" y="967"/>
                    <a:pt x="36" y="967"/>
                  </a:cubicBezTo>
                  <a:cubicBezTo>
                    <a:pt x="36" y="967"/>
                    <a:pt x="10" y="954"/>
                    <a:pt x="11" y="962"/>
                  </a:cubicBezTo>
                  <a:cubicBezTo>
                    <a:pt x="12" y="970"/>
                    <a:pt x="23" y="981"/>
                    <a:pt x="23" y="981"/>
                  </a:cubicBezTo>
                  <a:cubicBezTo>
                    <a:pt x="55" y="995"/>
                    <a:pt x="55" y="995"/>
                    <a:pt x="55" y="995"/>
                  </a:cubicBezTo>
                  <a:cubicBezTo>
                    <a:pt x="55" y="995"/>
                    <a:pt x="48" y="1000"/>
                    <a:pt x="55" y="1003"/>
                  </a:cubicBezTo>
                  <a:cubicBezTo>
                    <a:pt x="62" y="1006"/>
                    <a:pt x="83" y="1001"/>
                    <a:pt x="83" y="1001"/>
                  </a:cubicBezTo>
                  <a:cubicBezTo>
                    <a:pt x="83" y="1001"/>
                    <a:pt x="86" y="1010"/>
                    <a:pt x="103" y="1004"/>
                  </a:cubicBezTo>
                  <a:cubicBezTo>
                    <a:pt x="120" y="998"/>
                    <a:pt x="148" y="973"/>
                    <a:pt x="148" y="973"/>
                  </a:cubicBezTo>
                  <a:cubicBezTo>
                    <a:pt x="172" y="954"/>
                    <a:pt x="172" y="954"/>
                    <a:pt x="172" y="954"/>
                  </a:cubicBezTo>
                  <a:cubicBezTo>
                    <a:pt x="172" y="954"/>
                    <a:pt x="183" y="959"/>
                    <a:pt x="193" y="950"/>
                  </a:cubicBezTo>
                  <a:cubicBezTo>
                    <a:pt x="203" y="941"/>
                    <a:pt x="193" y="922"/>
                    <a:pt x="193" y="922"/>
                  </a:cubicBezTo>
                  <a:cubicBezTo>
                    <a:pt x="205" y="920"/>
                    <a:pt x="205" y="920"/>
                    <a:pt x="205" y="920"/>
                  </a:cubicBezTo>
                  <a:cubicBezTo>
                    <a:pt x="205" y="920"/>
                    <a:pt x="192" y="937"/>
                    <a:pt x="207" y="942"/>
                  </a:cubicBezTo>
                  <a:cubicBezTo>
                    <a:pt x="222" y="947"/>
                    <a:pt x="233" y="949"/>
                    <a:pt x="233" y="949"/>
                  </a:cubicBezTo>
                  <a:cubicBezTo>
                    <a:pt x="247" y="962"/>
                    <a:pt x="247" y="962"/>
                    <a:pt x="247" y="962"/>
                  </a:cubicBezTo>
                  <a:cubicBezTo>
                    <a:pt x="247" y="962"/>
                    <a:pt x="253" y="951"/>
                    <a:pt x="255" y="946"/>
                  </a:cubicBezTo>
                  <a:cubicBezTo>
                    <a:pt x="257" y="941"/>
                    <a:pt x="251" y="940"/>
                    <a:pt x="248" y="932"/>
                  </a:cubicBezTo>
                  <a:cubicBezTo>
                    <a:pt x="245" y="924"/>
                    <a:pt x="254" y="921"/>
                    <a:pt x="254" y="921"/>
                  </a:cubicBezTo>
                  <a:cubicBezTo>
                    <a:pt x="254" y="921"/>
                    <a:pt x="254" y="917"/>
                    <a:pt x="252" y="911"/>
                  </a:cubicBezTo>
                  <a:cubicBezTo>
                    <a:pt x="250" y="905"/>
                    <a:pt x="264" y="911"/>
                    <a:pt x="269" y="911"/>
                  </a:cubicBezTo>
                  <a:cubicBezTo>
                    <a:pt x="274" y="911"/>
                    <a:pt x="277" y="906"/>
                    <a:pt x="277" y="906"/>
                  </a:cubicBezTo>
                  <a:cubicBezTo>
                    <a:pt x="277" y="889"/>
                    <a:pt x="277" y="889"/>
                    <a:pt x="277" y="889"/>
                  </a:cubicBezTo>
                  <a:cubicBezTo>
                    <a:pt x="284" y="889"/>
                    <a:pt x="284" y="889"/>
                    <a:pt x="284" y="889"/>
                  </a:cubicBezTo>
                  <a:cubicBezTo>
                    <a:pt x="284" y="889"/>
                    <a:pt x="280" y="880"/>
                    <a:pt x="277" y="877"/>
                  </a:cubicBezTo>
                  <a:cubicBezTo>
                    <a:pt x="274" y="874"/>
                    <a:pt x="268" y="857"/>
                    <a:pt x="268" y="857"/>
                  </a:cubicBezTo>
                  <a:cubicBezTo>
                    <a:pt x="283" y="854"/>
                    <a:pt x="283" y="854"/>
                    <a:pt x="283" y="854"/>
                  </a:cubicBezTo>
                  <a:cubicBezTo>
                    <a:pt x="283" y="854"/>
                    <a:pt x="290" y="848"/>
                    <a:pt x="292" y="841"/>
                  </a:cubicBezTo>
                  <a:cubicBezTo>
                    <a:pt x="294" y="834"/>
                    <a:pt x="275" y="828"/>
                    <a:pt x="275" y="828"/>
                  </a:cubicBezTo>
                  <a:cubicBezTo>
                    <a:pt x="275" y="828"/>
                    <a:pt x="267" y="821"/>
                    <a:pt x="266" y="814"/>
                  </a:cubicBezTo>
                  <a:cubicBezTo>
                    <a:pt x="265" y="807"/>
                    <a:pt x="271" y="800"/>
                    <a:pt x="272" y="795"/>
                  </a:cubicBezTo>
                  <a:cubicBezTo>
                    <a:pt x="273" y="790"/>
                    <a:pt x="262" y="783"/>
                    <a:pt x="262" y="783"/>
                  </a:cubicBezTo>
                  <a:cubicBezTo>
                    <a:pt x="262" y="783"/>
                    <a:pt x="256" y="775"/>
                    <a:pt x="254" y="770"/>
                  </a:cubicBezTo>
                  <a:cubicBezTo>
                    <a:pt x="252" y="765"/>
                    <a:pt x="261" y="763"/>
                    <a:pt x="267" y="757"/>
                  </a:cubicBezTo>
                  <a:cubicBezTo>
                    <a:pt x="273" y="751"/>
                    <a:pt x="255" y="751"/>
                    <a:pt x="255" y="748"/>
                  </a:cubicBezTo>
                  <a:cubicBezTo>
                    <a:pt x="255" y="745"/>
                    <a:pt x="261" y="740"/>
                    <a:pt x="261" y="740"/>
                  </a:cubicBezTo>
                  <a:cubicBezTo>
                    <a:pt x="266" y="734"/>
                    <a:pt x="266" y="734"/>
                    <a:pt x="266" y="734"/>
                  </a:cubicBezTo>
                  <a:cubicBezTo>
                    <a:pt x="266" y="734"/>
                    <a:pt x="272" y="729"/>
                    <a:pt x="279" y="724"/>
                  </a:cubicBezTo>
                  <a:cubicBezTo>
                    <a:pt x="286" y="719"/>
                    <a:pt x="301" y="707"/>
                    <a:pt x="301" y="707"/>
                  </a:cubicBezTo>
                  <a:cubicBezTo>
                    <a:pt x="301" y="707"/>
                    <a:pt x="328" y="712"/>
                    <a:pt x="332" y="703"/>
                  </a:cubicBezTo>
                  <a:cubicBezTo>
                    <a:pt x="336" y="694"/>
                    <a:pt x="315" y="684"/>
                    <a:pt x="315" y="684"/>
                  </a:cubicBezTo>
                  <a:cubicBezTo>
                    <a:pt x="315" y="684"/>
                    <a:pt x="324" y="678"/>
                    <a:pt x="329" y="674"/>
                  </a:cubicBezTo>
                  <a:cubicBezTo>
                    <a:pt x="334" y="670"/>
                    <a:pt x="344" y="658"/>
                    <a:pt x="344" y="658"/>
                  </a:cubicBezTo>
                  <a:cubicBezTo>
                    <a:pt x="348" y="629"/>
                    <a:pt x="348" y="629"/>
                    <a:pt x="348" y="629"/>
                  </a:cubicBezTo>
                  <a:cubicBezTo>
                    <a:pt x="351" y="624"/>
                    <a:pt x="351" y="624"/>
                    <a:pt x="351" y="624"/>
                  </a:cubicBezTo>
                  <a:cubicBezTo>
                    <a:pt x="349" y="608"/>
                    <a:pt x="349" y="608"/>
                    <a:pt x="349" y="608"/>
                  </a:cubicBezTo>
                  <a:cubicBezTo>
                    <a:pt x="363" y="615"/>
                    <a:pt x="363" y="615"/>
                    <a:pt x="363" y="615"/>
                  </a:cubicBezTo>
                  <a:cubicBezTo>
                    <a:pt x="363" y="615"/>
                    <a:pt x="372" y="610"/>
                    <a:pt x="379" y="608"/>
                  </a:cubicBezTo>
                  <a:cubicBezTo>
                    <a:pt x="386" y="606"/>
                    <a:pt x="372" y="592"/>
                    <a:pt x="372" y="592"/>
                  </a:cubicBezTo>
                  <a:cubicBezTo>
                    <a:pt x="386" y="591"/>
                    <a:pt x="386" y="591"/>
                    <a:pt x="386" y="591"/>
                  </a:cubicBezTo>
                  <a:cubicBezTo>
                    <a:pt x="386" y="591"/>
                    <a:pt x="388" y="584"/>
                    <a:pt x="394" y="579"/>
                  </a:cubicBezTo>
                  <a:cubicBezTo>
                    <a:pt x="400" y="574"/>
                    <a:pt x="405" y="573"/>
                    <a:pt x="405" y="573"/>
                  </a:cubicBezTo>
                  <a:cubicBezTo>
                    <a:pt x="410" y="563"/>
                    <a:pt x="410" y="563"/>
                    <a:pt x="410" y="563"/>
                  </a:cubicBezTo>
                  <a:cubicBezTo>
                    <a:pt x="410" y="563"/>
                    <a:pt x="399" y="555"/>
                    <a:pt x="398" y="551"/>
                  </a:cubicBezTo>
                  <a:cubicBezTo>
                    <a:pt x="397" y="547"/>
                    <a:pt x="414" y="539"/>
                    <a:pt x="414" y="539"/>
                  </a:cubicBezTo>
                  <a:cubicBezTo>
                    <a:pt x="423" y="529"/>
                    <a:pt x="423" y="529"/>
                    <a:pt x="423" y="529"/>
                  </a:cubicBezTo>
                  <a:cubicBezTo>
                    <a:pt x="449" y="525"/>
                    <a:pt x="449" y="525"/>
                    <a:pt x="449" y="525"/>
                  </a:cubicBezTo>
                  <a:cubicBezTo>
                    <a:pt x="449" y="525"/>
                    <a:pt x="464" y="525"/>
                    <a:pt x="467" y="520"/>
                  </a:cubicBezTo>
                  <a:cubicBezTo>
                    <a:pt x="470" y="515"/>
                    <a:pt x="460" y="504"/>
                    <a:pt x="468" y="498"/>
                  </a:cubicBezTo>
                  <a:cubicBezTo>
                    <a:pt x="476" y="492"/>
                    <a:pt x="476" y="505"/>
                    <a:pt x="476" y="505"/>
                  </a:cubicBezTo>
                  <a:cubicBezTo>
                    <a:pt x="495" y="501"/>
                    <a:pt x="495" y="501"/>
                    <a:pt x="495" y="501"/>
                  </a:cubicBezTo>
                  <a:cubicBezTo>
                    <a:pt x="508" y="505"/>
                    <a:pt x="508" y="505"/>
                    <a:pt x="508" y="505"/>
                  </a:cubicBezTo>
                  <a:cubicBezTo>
                    <a:pt x="517" y="505"/>
                    <a:pt x="517" y="505"/>
                    <a:pt x="517" y="505"/>
                  </a:cubicBezTo>
                  <a:cubicBezTo>
                    <a:pt x="517" y="505"/>
                    <a:pt x="528" y="511"/>
                    <a:pt x="536" y="509"/>
                  </a:cubicBezTo>
                  <a:cubicBezTo>
                    <a:pt x="544" y="507"/>
                    <a:pt x="531" y="501"/>
                    <a:pt x="531" y="496"/>
                  </a:cubicBezTo>
                  <a:cubicBezTo>
                    <a:pt x="531" y="491"/>
                    <a:pt x="538" y="494"/>
                    <a:pt x="538" y="494"/>
                  </a:cubicBezTo>
                  <a:cubicBezTo>
                    <a:pt x="537" y="480"/>
                    <a:pt x="537" y="480"/>
                    <a:pt x="537" y="480"/>
                  </a:cubicBezTo>
                  <a:cubicBezTo>
                    <a:pt x="557" y="481"/>
                    <a:pt x="557" y="481"/>
                    <a:pt x="557" y="481"/>
                  </a:cubicBezTo>
                  <a:cubicBezTo>
                    <a:pt x="555" y="479"/>
                    <a:pt x="554" y="478"/>
                    <a:pt x="554" y="478"/>
                  </a:cubicBezTo>
                  <a:cubicBezTo>
                    <a:pt x="556" y="473"/>
                    <a:pt x="556" y="473"/>
                    <a:pt x="556" y="473"/>
                  </a:cubicBezTo>
                  <a:cubicBezTo>
                    <a:pt x="568" y="478"/>
                    <a:pt x="568" y="478"/>
                    <a:pt x="568" y="478"/>
                  </a:cubicBezTo>
                  <a:cubicBezTo>
                    <a:pt x="570" y="469"/>
                    <a:pt x="570" y="469"/>
                    <a:pt x="570" y="469"/>
                  </a:cubicBezTo>
                  <a:cubicBezTo>
                    <a:pt x="570" y="469"/>
                    <a:pt x="577" y="466"/>
                    <a:pt x="581" y="466"/>
                  </a:cubicBezTo>
                  <a:cubicBezTo>
                    <a:pt x="585" y="466"/>
                    <a:pt x="594" y="480"/>
                    <a:pt x="594" y="480"/>
                  </a:cubicBezTo>
                  <a:cubicBezTo>
                    <a:pt x="603" y="481"/>
                    <a:pt x="603" y="481"/>
                    <a:pt x="603" y="481"/>
                  </a:cubicBezTo>
                  <a:cubicBezTo>
                    <a:pt x="603" y="481"/>
                    <a:pt x="604" y="491"/>
                    <a:pt x="618" y="492"/>
                  </a:cubicBezTo>
                  <a:cubicBezTo>
                    <a:pt x="632" y="493"/>
                    <a:pt x="632" y="494"/>
                    <a:pt x="632" y="494"/>
                  </a:cubicBezTo>
                  <a:cubicBezTo>
                    <a:pt x="632" y="494"/>
                    <a:pt x="632" y="494"/>
                    <a:pt x="642" y="497"/>
                  </a:cubicBezTo>
                  <a:cubicBezTo>
                    <a:pt x="652" y="500"/>
                    <a:pt x="661" y="492"/>
                    <a:pt x="661" y="492"/>
                  </a:cubicBezTo>
                  <a:cubicBezTo>
                    <a:pt x="661" y="492"/>
                    <a:pt x="672" y="488"/>
                    <a:pt x="677" y="489"/>
                  </a:cubicBezTo>
                  <a:cubicBezTo>
                    <a:pt x="682" y="490"/>
                    <a:pt x="694" y="498"/>
                    <a:pt x="702" y="498"/>
                  </a:cubicBezTo>
                  <a:cubicBezTo>
                    <a:pt x="710" y="498"/>
                    <a:pt x="704" y="488"/>
                    <a:pt x="711" y="483"/>
                  </a:cubicBezTo>
                  <a:cubicBezTo>
                    <a:pt x="718" y="478"/>
                    <a:pt x="727" y="483"/>
                    <a:pt x="727" y="483"/>
                  </a:cubicBezTo>
                  <a:cubicBezTo>
                    <a:pt x="727" y="483"/>
                    <a:pt x="728" y="467"/>
                    <a:pt x="727" y="463"/>
                  </a:cubicBezTo>
                  <a:cubicBezTo>
                    <a:pt x="726" y="459"/>
                    <a:pt x="730" y="446"/>
                    <a:pt x="730" y="446"/>
                  </a:cubicBezTo>
                  <a:cubicBezTo>
                    <a:pt x="730" y="446"/>
                    <a:pt x="747" y="437"/>
                    <a:pt x="752" y="438"/>
                  </a:cubicBezTo>
                  <a:cubicBezTo>
                    <a:pt x="757" y="439"/>
                    <a:pt x="768" y="440"/>
                    <a:pt x="768" y="440"/>
                  </a:cubicBezTo>
                  <a:cubicBezTo>
                    <a:pt x="768" y="440"/>
                    <a:pt x="779" y="433"/>
                    <a:pt x="794" y="434"/>
                  </a:cubicBezTo>
                  <a:cubicBezTo>
                    <a:pt x="809" y="435"/>
                    <a:pt x="802" y="441"/>
                    <a:pt x="802" y="441"/>
                  </a:cubicBezTo>
                  <a:cubicBezTo>
                    <a:pt x="825" y="446"/>
                    <a:pt x="825" y="446"/>
                    <a:pt x="825" y="446"/>
                  </a:cubicBezTo>
                  <a:cubicBezTo>
                    <a:pt x="825" y="446"/>
                    <a:pt x="839" y="447"/>
                    <a:pt x="843" y="464"/>
                  </a:cubicBezTo>
                  <a:cubicBezTo>
                    <a:pt x="847" y="481"/>
                    <a:pt x="834" y="469"/>
                    <a:pt x="834" y="469"/>
                  </a:cubicBezTo>
                  <a:cubicBezTo>
                    <a:pt x="832" y="477"/>
                    <a:pt x="832" y="477"/>
                    <a:pt x="832" y="477"/>
                  </a:cubicBezTo>
                  <a:cubicBezTo>
                    <a:pt x="836" y="479"/>
                    <a:pt x="840" y="480"/>
                    <a:pt x="845" y="480"/>
                  </a:cubicBezTo>
                  <a:cubicBezTo>
                    <a:pt x="854" y="479"/>
                    <a:pt x="855" y="465"/>
                    <a:pt x="855" y="465"/>
                  </a:cubicBezTo>
                  <a:cubicBezTo>
                    <a:pt x="870" y="464"/>
                    <a:pt x="870" y="464"/>
                    <a:pt x="870" y="464"/>
                  </a:cubicBezTo>
                  <a:cubicBezTo>
                    <a:pt x="874" y="456"/>
                    <a:pt x="874" y="456"/>
                    <a:pt x="874" y="456"/>
                  </a:cubicBezTo>
                  <a:cubicBezTo>
                    <a:pt x="874" y="456"/>
                    <a:pt x="873" y="459"/>
                    <a:pt x="891" y="456"/>
                  </a:cubicBezTo>
                  <a:cubicBezTo>
                    <a:pt x="899" y="455"/>
                    <a:pt x="903" y="451"/>
                    <a:pt x="905" y="448"/>
                  </a:cubicBezTo>
                  <a:lnTo>
                    <a:pt x="901" y="448"/>
                  </a:lnTo>
                  <a:close/>
                  <a:moveTo>
                    <a:pt x="372" y="489"/>
                  </a:moveTo>
                  <a:cubicBezTo>
                    <a:pt x="357" y="498"/>
                    <a:pt x="357" y="498"/>
                    <a:pt x="357" y="498"/>
                  </a:cubicBezTo>
                  <a:cubicBezTo>
                    <a:pt x="362" y="511"/>
                    <a:pt x="362" y="511"/>
                    <a:pt x="362" y="511"/>
                  </a:cubicBezTo>
                  <a:cubicBezTo>
                    <a:pt x="380" y="512"/>
                    <a:pt x="380" y="512"/>
                    <a:pt x="380" y="512"/>
                  </a:cubicBezTo>
                  <a:cubicBezTo>
                    <a:pt x="376" y="499"/>
                    <a:pt x="376" y="499"/>
                    <a:pt x="376" y="499"/>
                  </a:cubicBezTo>
                  <a:lnTo>
                    <a:pt x="372" y="489"/>
                  </a:lnTo>
                  <a:close/>
                  <a:moveTo>
                    <a:pt x="346" y="483"/>
                  </a:moveTo>
                  <a:cubicBezTo>
                    <a:pt x="335" y="487"/>
                    <a:pt x="339" y="504"/>
                    <a:pt x="339" y="504"/>
                  </a:cubicBezTo>
                  <a:cubicBezTo>
                    <a:pt x="351" y="516"/>
                    <a:pt x="351" y="516"/>
                    <a:pt x="351" y="516"/>
                  </a:cubicBezTo>
                  <a:cubicBezTo>
                    <a:pt x="351" y="516"/>
                    <a:pt x="357" y="479"/>
                    <a:pt x="346" y="483"/>
                  </a:cubicBezTo>
                  <a:close/>
                  <a:moveTo>
                    <a:pt x="403" y="498"/>
                  </a:moveTo>
                  <a:cubicBezTo>
                    <a:pt x="412" y="493"/>
                    <a:pt x="427" y="490"/>
                    <a:pt x="408" y="486"/>
                  </a:cubicBezTo>
                  <a:cubicBezTo>
                    <a:pt x="389" y="483"/>
                    <a:pt x="380" y="494"/>
                    <a:pt x="380" y="494"/>
                  </a:cubicBezTo>
                  <a:cubicBezTo>
                    <a:pt x="386" y="501"/>
                    <a:pt x="386" y="501"/>
                    <a:pt x="386" y="501"/>
                  </a:cubicBezTo>
                  <a:lnTo>
                    <a:pt x="403" y="498"/>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76" name="Freeform 137"/>
            <p:cNvSpPr>
              <a:spLocks/>
            </p:cNvSpPr>
            <p:nvPr/>
          </p:nvSpPr>
          <p:spPr bwMode="gray">
            <a:xfrm>
              <a:off x="5364163" y="3405188"/>
              <a:ext cx="273050" cy="184150"/>
            </a:xfrm>
            <a:custGeom>
              <a:avLst/>
              <a:gdLst>
                <a:gd name="T0" fmla="*/ 311 w 487"/>
                <a:gd name="T1" fmla="*/ 13 h 330"/>
                <a:gd name="T2" fmla="*/ 247 w 487"/>
                <a:gd name="T3" fmla="*/ 45 h 330"/>
                <a:gd name="T4" fmla="*/ 222 w 487"/>
                <a:gd name="T5" fmla="*/ 82 h 330"/>
                <a:gd name="T6" fmla="*/ 222 w 487"/>
                <a:gd name="T7" fmla="*/ 94 h 330"/>
                <a:gd name="T8" fmla="*/ 210 w 487"/>
                <a:gd name="T9" fmla="*/ 106 h 330"/>
                <a:gd name="T10" fmla="*/ 187 w 487"/>
                <a:gd name="T11" fmla="*/ 89 h 330"/>
                <a:gd name="T12" fmla="*/ 143 w 487"/>
                <a:gd name="T13" fmla="*/ 89 h 330"/>
                <a:gd name="T14" fmla="*/ 116 w 487"/>
                <a:gd name="T15" fmla="*/ 81 h 330"/>
                <a:gd name="T16" fmla="*/ 76 w 487"/>
                <a:gd name="T17" fmla="*/ 82 h 330"/>
                <a:gd name="T18" fmla="*/ 64 w 487"/>
                <a:gd name="T19" fmla="*/ 88 h 330"/>
                <a:gd name="T20" fmla="*/ 46 w 487"/>
                <a:gd name="T21" fmla="*/ 89 h 330"/>
                <a:gd name="T22" fmla="*/ 31 w 487"/>
                <a:gd name="T23" fmla="*/ 80 h 330"/>
                <a:gd name="T24" fmla="*/ 22 w 487"/>
                <a:gd name="T25" fmla="*/ 114 h 330"/>
                <a:gd name="T26" fmla="*/ 21 w 487"/>
                <a:gd name="T27" fmla="*/ 127 h 330"/>
                <a:gd name="T28" fmla="*/ 8 w 487"/>
                <a:gd name="T29" fmla="*/ 141 h 330"/>
                <a:gd name="T30" fmla="*/ 2 w 487"/>
                <a:gd name="T31" fmla="*/ 164 h 330"/>
                <a:gd name="T32" fmla="*/ 24 w 487"/>
                <a:gd name="T33" fmla="*/ 193 h 330"/>
                <a:gd name="T34" fmla="*/ 15 w 487"/>
                <a:gd name="T35" fmla="*/ 270 h 330"/>
                <a:gd name="T36" fmla="*/ 36 w 487"/>
                <a:gd name="T37" fmla="*/ 292 h 330"/>
                <a:gd name="T38" fmla="*/ 60 w 487"/>
                <a:gd name="T39" fmla="*/ 325 h 330"/>
                <a:gd name="T40" fmla="*/ 106 w 487"/>
                <a:gd name="T41" fmla="*/ 321 h 330"/>
                <a:gd name="T42" fmla="*/ 133 w 487"/>
                <a:gd name="T43" fmla="*/ 287 h 330"/>
                <a:gd name="T44" fmla="*/ 182 w 487"/>
                <a:gd name="T45" fmla="*/ 290 h 330"/>
                <a:gd name="T46" fmla="*/ 243 w 487"/>
                <a:gd name="T47" fmla="*/ 282 h 330"/>
                <a:gd name="T48" fmla="*/ 292 w 487"/>
                <a:gd name="T49" fmla="*/ 243 h 330"/>
                <a:gd name="T50" fmla="*/ 334 w 487"/>
                <a:gd name="T51" fmla="*/ 213 h 330"/>
                <a:gd name="T52" fmla="*/ 397 w 487"/>
                <a:gd name="T53" fmla="*/ 181 h 330"/>
                <a:gd name="T54" fmla="*/ 446 w 487"/>
                <a:gd name="T55" fmla="*/ 180 h 330"/>
                <a:gd name="T56" fmla="*/ 479 w 487"/>
                <a:gd name="T57" fmla="*/ 125 h 330"/>
                <a:gd name="T58" fmla="*/ 487 w 487"/>
                <a:gd name="T59" fmla="*/ 120 h 330"/>
                <a:gd name="T60" fmla="*/ 433 w 487"/>
                <a:gd name="T61" fmla="*/ 0 h 330"/>
                <a:gd name="T62" fmla="*/ 311 w 487"/>
                <a:gd name="T63" fmla="*/ 13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7" h="330">
                  <a:moveTo>
                    <a:pt x="311" y="13"/>
                  </a:moveTo>
                  <a:cubicBezTo>
                    <a:pt x="299" y="13"/>
                    <a:pt x="257" y="32"/>
                    <a:pt x="247" y="45"/>
                  </a:cubicBezTo>
                  <a:cubicBezTo>
                    <a:pt x="237" y="58"/>
                    <a:pt x="222" y="82"/>
                    <a:pt x="222" y="82"/>
                  </a:cubicBezTo>
                  <a:cubicBezTo>
                    <a:pt x="222" y="94"/>
                    <a:pt x="222" y="94"/>
                    <a:pt x="222" y="94"/>
                  </a:cubicBezTo>
                  <a:cubicBezTo>
                    <a:pt x="222" y="94"/>
                    <a:pt x="215" y="106"/>
                    <a:pt x="210" y="106"/>
                  </a:cubicBezTo>
                  <a:cubicBezTo>
                    <a:pt x="205" y="106"/>
                    <a:pt x="191" y="91"/>
                    <a:pt x="187" y="89"/>
                  </a:cubicBezTo>
                  <a:cubicBezTo>
                    <a:pt x="183" y="87"/>
                    <a:pt x="143" y="89"/>
                    <a:pt x="143" y="89"/>
                  </a:cubicBezTo>
                  <a:cubicBezTo>
                    <a:pt x="143" y="89"/>
                    <a:pt x="132" y="81"/>
                    <a:pt x="116" y="81"/>
                  </a:cubicBezTo>
                  <a:cubicBezTo>
                    <a:pt x="100" y="81"/>
                    <a:pt x="81" y="82"/>
                    <a:pt x="76" y="82"/>
                  </a:cubicBezTo>
                  <a:cubicBezTo>
                    <a:pt x="71" y="82"/>
                    <a:pt x="64" y="88"/>
                    <a:pt x="64" y="88"/>
                  </a:cubicBezTo>
                  <a:cubicBezTo>
                    <a:pt x="46" y="89"/>
                    <a:pt x="46" y="89"/>
                    <a:pt x="46" y="89"/>
                  </a:cubicBezTo>
                  <a:cubicBezTo>
                    <a:pt x="46" y="89"/>
                    <a:pt x="41" y="75"/>
                    <a:pt x="31" y="80"/>
                  </a:cubicBezTo>
                  <a:cubicBezTo>
                    <a:pt x="21" y="85"/>
                    <a:pt x="22" y="114"/>
                    <a:pt x="22" y="114"/>
                  </a:cubicBezTo>
                  <a:cubicBezTo>
                    <a:pt x="22" y="114"/>
                    <a:pt x="28" y="116"/>
                    <a:pt x="21" y="127"/>
                  </a:cubicBezTo>
                  <a:cubicBezTo>
                    <a:pt x="17" y="134"/>
                    <a:pt x="12" y="138"/>
                    <a:pt x="8" y="141"/>
                  </a:cubicBezTo>
                  <a:cubicBezTo>
                    <a:pt x="6" y="150"/>
                    <a:pt x="3" y="159"/>
                    <a:pt x="2" y="164"/>
                  </a:cubicBezTo>
                  <a:cubicBezTo>
                    <a:pt x="0" y="174"/>
                    <a:pt x="24" y="193"/>
                    <a:pt x="24" y="193"/>
                  </a:cubicBezTo>
                  <a:cubicBezTo>
                    <a:pt x="15" y="270"/>
                    <a:pt x="15" y="270"/>
                    <a:pt x="15" y="270"/>
                  </a:cubicBezTo>
                  <a:cubicBezTo>
                    <a:pt x="36" y="292"/>
                    <a:pt x="36" y="292"/>
                    <a:pt x="36" y="292"/>
                  </a:cubicBezTo>
                  <a:cubicBezTo>
                    <a:pt x="36" y="292"/>
                    <a:pt x="41" y="321"/>
                    <a:pt x="60" y="325"/>
                  </a:cubicBezTo>
                  <a:cubicBezTo>
                    <a:pt x="79" y="330"/>
                    <a:pt x="94" y="329"/>
                    <a:pt x="106" y="321"/>
                  </a:cubicBezTo>
                  <a:cubicBezTo>
                    <a:pt x="118" y="313"/>
                    <a:pt x="122" y="287"/>
                    <a:pt x="133" y="287"/>
                  </a:cubicBezTo>
                  <a:cubicBezTo>
                    <a:pt x="145" y="286"/>
                    <a:pt x="160" y="293"/>
                    <a:pt x="182" y="290"/>
                  </a:cubicBezTo>
                  <a:cubicBezTo>
                    <a:pt x="204" y="287"/>
                    <a:pt x="230" y="282"/>
                    <a:pt x="243" y="282"/>
                  </a:cubicBezTo>
                  <a:cubicBezTo>
                    <a:pt x="256" y="283"/>
                    <a:pt x="277" y="249"/>
                    <a:pt x="292" y="243"/>
                  </a:cubicBezTo>
                  <a:cubicBezTo>
                    <a:pt x="308" y="238"/>
                    <a:pt x="316" y="218"/>
                    <a:pt x="334" y="213"/>
                  </a:cubicBezTo>
                  <a:cubicBezTo>
                    <a:pt x="352" y="207"/>
                    <a:pt x="397" y="181"/>
                    <a:pt x="397" y="181"/>
                  </a:cubicBezTo>
                  <a:cubicBezTo>
                    <a:pt x="446" y="180"/>
                    <a:pt x="446" y="180"/>
                    <a:pt x="446" y="180"/>
                  </a:cubicBezTo>
                  <a:cubicBezTo>
                    <a:pt x="446" y="180"/>
                    <a:pt x="466" y="135"/>
                    <a:pt x="479" y="125"/>
                  </a:cubicBezTo>
                  <a:cubicBezTo>
                    <a:pt x="480" y="123"/>
                    <a:pt x="483" y="122"/>
                    <a:pt x="487" y="120"/>
                  </a:cubicBezTo>
                  <a:cubicBezTo>
                    <a:pt x="433" y="0"/>
                    <a:pt x="433" y="0"/>
                    <a:pt x="433" y="0"/>
                  </a:cubicBezTo>
                  <a:cubicBezTo>
                    <a:pt x="433" y="0"/>
                    <a:pt x="323" y="13"/>
                    <a:pt x="311" y="13"/>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77" name="Freeform 138"/>
            <p:cNvSpPr>
              <a:spLocks/>
            </p:cNvSpPr>
            <p:nvPr/>
          </p:nvSpPr>
          <p:spPr bwMode="gray">
            <a:xfrm>
              <a:off x="4486275" y="3906838"/>
              <a:ext cx="57150" cy="39688"/>
            </a:xfrm>
            <a:custGeom>
              <a:avLst/>
              <a:gdLst>
                <a:gd name="T0" fmla="*/ 97 w 103"/>
                <a:gd name="T1" fmla="*/ 29 h 71"/>
                <a:gd name="T2" fmla="*/ 100 w 103"/>
                <a:gd name="T3" fmla="*/ 6 h 71"/>
                <a:gd name="T4" fmla="*/ 36 w 103"/>
                <a:gd name="T5" fmla="*/ 6 h 71"/>
                <a:gd name="T6" fmla="*/ 30 w 103"/>
                <a:gd name="T7" fmla="*/ 0 h 71"/>
                <a:gd name="T8" fmla="*/ 24 w 103"/>
                <a:gd name="T9" fmla="*/ 3 h 71"/>
                <a:gd name="T10" fmla="*/ 23 w 103"/>
                <a:gd name="T11" fmla="*/ 29 h 71"/>
                <a:gd name="T12" fmla="*/ 4 w 103"/>
                <a:gd name="T13" fmla="*/ 57 h 71"/>
                <a:gd name="T14" fmla="*/ 21 w 103"/>
                <a:gd name="T15" fmla="*/ 67 h 71"/>
                <a:gd name="T16" fmla="*/ 29 w 103"/>
                <a:gd name="T17" fmla="*/ 65 h 71"/>
                <a:gd name="T18" fmla="*/ 31 w 103"/>
                <a:gd name="T19" fmla="*/ 71 h 71"/>
                <a:gd name="T20" fmla="*/ 98 w 103"/>
                <a:gd name="T21" fmla="*/ 69 h 71"/>
                <a:gd name="T22" fmla="*/ 103 w 103"/>
                <a:gd name="T23" fmla="*/ 33 h 71"/>
                <a:gd name="T24" fmla="*/ 97 w 103"/>
                <a:gd name="T25" fmla="*/ 29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3" h="71">
                  <a:moveTo>
                    <a:pt x="97" y="29"/>
                  </a:moveTo>
                  <a:cubicBezTo>
                    <a:pt x="100" y="6"/>
                    <a:pt x="100" y="6"/>
                    <a:pt x="100" y="6"/>
                  </a:cubicBezTo>
                  <a:cubicBezTo>
                    <a:pt x="36" y="6"/>
                    <a:pt x="36" y="6"/>
                    <a:pt x="36" y="6"/>
                  </a:cubicBezTo>
                  <a:cubicBezTo>
                    <a:pt x="30" y="0"/>
                    <a:pt x="30" y="0"/>
                    <a:pt x="30" y="0"/>
                  </a:cubicBezTo>
                  <a:cubicBezTo>
                    <a:pt x="24" y="3"/>
                    <a:pt x="24" y="3"/>
                    <a:pt x="24" y="3"/>
                  </a:cubicBezTo>
                  <a:cubicBezTo>
                    <a:pt x="24" y="3"/>
                    <a:pt x="28" y="21"/>
                    <a:pt x="23" y="29"/>
                  </a:cubicBezTo>
                  <a:cubicBezTo>
                    <a:pt x="18" y="37"/>
                    <a:pt x="0" y="50"/>
                    <a:pt x="4" y="57"/>
                  </a:cubicBezTo>
                  <a:cubicBezTo>
                    <a:pt x="7" y="63"/>
                    <a:pt x="17" y="66"/>
                    <a:pt x="21" y="67"/>
                  </a:cubicBezTo>
                  <a:cubicBezTo>
                    <a:pt x="29" y="65"/>
                    <a:pt x="29" y="65"/>
                    <a:pt x="29" y="65"/>
                  </a:cubicBezTo>
                  <a:cubicBezTo>
                    <a:pt x="31" y="71"/>
                    <a:pt x="31" y="71"/>
                    <a:pt x="31" y="71"/>
                  </a:cubicBezTo>
                  <a:cubicBezTo>
                    <a:pt x="31" y="71"/>
                    <a:pt x="93" y="70"/>
                    <a:pt x="98" y="69"/>
                  </a:cubicBezTo>
                  <a:cubicBezTo>
                    <a:pt x="103" y="68"/>
                    <a:pt x="103" y="33"/>
                    <a:pt x="103" y="33"/>
                  </a:cubicBezTo>
                  <a:lnTo>
                    <a:pt x="97" y="29"/>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78" name="Freeform 139"/>
            <p:cNvSpPr>
              <a:spLocks noEditPoints="1"/>
            </p:cNvSpPr>
            <p:nvPr/>
          </p:nvSpPr>
          <p:spPr bwMode="gray">
            <a:xfrm>
              <a:off x="4040188" y="2660650"/>
              <a:ext cx="331787" cy="231775"/>
            </a:xfrm>
            <a:custGeom>
              <a:avLst/>
              <a:gdLst>
                <a:gd name="T0" fmla="*/ 527 w 591"/>
                <a:gd name="T1" fmla="*/ 205 h 413"/>
                <a:gd name="T2" fmla="*/ 511 w 591"/>
                <a:gd name="T3" fmla="*/ 226 h 413"/>
                <a:gd name="T4" fmla="*/ 531 w 591"/>
                <a:gd name="T5" fmla="*/ 237 h 413"/>
                <a:gd name="T6" fmla="*/ 536 w 591"/>
                <a:gd name="T7" fmla="*/ 212 h 413"/>
                <a:gd name="T8" fmla="*/ 461 w 591"/>
                <a:gd name="T9" fmla="*/ 249 h 413"/>
                <a:gd name="T10" fmla="*/ 560 w 591"/>
                <a:gd name="T11" fmla="*/ 198 h 413"/>
                <a:gd name="T12" fmla="*/ 560 w 591"/>
                <a:gd name="T13" fmla="*/ 198 h 413"/>
                <a:gd name="T14" fmla="*/ 534 w 591"/>
                <a:gd name="T15" fmla="*/ 86 h 413"/>
                <a:gd name="T16" fmla="*/ 527 w 591"/>
                <a:gd name="T17" fmla="*/ 67 h 413"/>
                <a:gd name="T18" fmla="*/ 514 w 591"/>
                <a:gd name="T19" fmla="*/ 77 h 413"/>
                <a:gd name="T20" fmla="*/ 496 w 591"/>
                <a:gd name="T21" fmla="*/ 70 h 413"/>
                <a:gd name="T22" fmla="*/ 479 w 591"/>
                <a:gd name="T23" fmla="*/ 68 h 413"/>
                <a:gd name="T24" fmla="*/ 459 w 591"/>
                <a:gd name="T25" fmla="*/ 56 h 413"/>
                <a:gd name="T26" fmla="*/ 437 w 591"/>
                <a:gd name="T27" fmla="*/ 48 h 413"/>
                <a:gd name="T28" fmla="*/ 417 w 591"/>
                <a:gd name="T29" fmla="*/ 63 h 413"/>
                <a:gd name="T30" fmla="*/ 395 w 591"/>
                <a:gd name="T31" fmla="*/ 54 h 413"/>
                <a:gd name="T32" fmla="*/ 376 w 591"/>
                <a:gd name="T33" fmla="*/ 51 h 413"/>
                <a:gd name="T34" fmla="*/ 342 w 591"/>
                <a:gd name="T35" fmla="*/ 38 h 413"/>
                <a:gd name="T36" fmla="*/ 327 w 591"/>
                <a:gd name="T37" fmla="*/ 29 h 413"/>
                <a:gd name="T38" fmla="*/ 320 w 591"/>
                <a:gd name="T39" fmla="*/ 23 h 413"/>
                <a:gd name="T40" fmla="*/ 234 w 591"/>
                <a:gd name="T41" fmla="*/ 22 h 413"/>
                <a:gd name="T42" fmla="*/ 156 w 591"/>
                <a:gd name="T43" fmla="*/ 7 h 413"/>
                <a:gd name="T44" fmla="*/ 91 w 591"/>
                <a:gd name="T45" fmla="*/ 8 h 413"/>
                <a:gd name="T46" fmla="*/ 49 w 591"/>
                <a:gd name="T47" fmla="*/ 18 h 413"/>
                <a:gd name="T48" fmla="*/ 21 w 591"/>
                <a:gd name="T49" fmla="*/ 67 h 413"/>
                <a:gd name="T50" fmla="*/ 15 w 591"/>
                <a:gd name="T51" fmla="*/ 101 h 413"/>
                <a:gd name="T52" fmla="*/ 50 w 591"/>
                <a:gd name="T53" fmla="*/ 94 h 413"/>
                <a:gd name="T54" fmla="*/ 61 w 591"/>
                <a:gd name="T55" fmla="*/ 99 h 413"/>
                <a:gd name="T56" fmla="*/ 85 w 591"/>
                <a:gd name="T57" fmla="*/ 96 h 413"/>
                <a:gd name="T58" fmla="*/ 115 w 591"/>
                <a:gd name="T59" fmla="*/ 108 h 413"/>
                <a:gd name="T60" fmla="*/ 94 w 591"/>
                <a:gd name="T61" fmla="*/ 144 h 413"/>
                <a:gd name="T62" fmla="*/ 96 w 591"/>
                <a:gd name="T63" fmla="*/ 181 h 413"/>
                <a:gd name="T64" fmla="*/ 94 w 591"/>
                <a:gd name="T65" fmla="*/ 205 h 413"/>
                <a:gd name="T66" fmla="*/ 61 w 591"/>
                <a:gd name="T67" fmla="*/ 217 h 413"/>
                <a:gd name="T68" fmla="*/ 77 w 591"/>
                <a:gd name="T69" fmla="*/ 240 h 413"/>
                <a:gd name="T70" fmla="*/ 66 w 591"/>
                <a:gd name="T71" fmla="*/ 276 h 413"/>
                <a:gd name="T72" fmla="*/ 84 w 591"/>
                <a:gd name="T73" fmla="*/ 301 h 413"/>
                <a:gd name="T74" fmla="*/ 60 w 591"/>
                <a:gd name="T75" fmla="*/ 325 h 413"/>
                <a:gd name="T76" fmla="*/ 61 w 591"/>
                <a:gd name="T77" fmla="*/ 351 h 413"/>
                <a:gd name="T78" fmla="*/ 81 w 591"/>
                <a:gd name="T79" fmla="*/ 350 h 413"/>
                <a:gd name="T80" fmla="*/ 109 w 591"/>
                <a:gd name="T81" fmla="*/ 365 h 413"/>
                <a:gd name="T82" fmla="*/ 110 w 591"/>
                <a:gd name="T83" fmla="*/ 383 h 413"/>
                <a:gd name="T84" fmla="*/ 136 w 591"/>
                <a:gd name="T85" fmla="*/ 413 h 413"/>
                <a:gd name="T86" fmla="*/ 177 w 591"/>
                <a:gd name="T87" fmla="*/ 389 h 413"/>
                <a:gd name="T88" fmla="*/ 235 w 591"/>
                <a:gd name="T89" fmla="*/ 377 h 413"/>
                <a:gd name="T90" fmla="*/ 265 w 591"/>
                <a:gd name="T91" fmla="*/ 378 h 413"/>
                <a:gd name="T92" fmla="*/ 297 w 591"/>
                <a:gd name="T93" fmla="*/ 374 h 413"/>
                <a:gd name="T94" fmla="*/ 331 w 591"/>
                <a:gd name="T95" fmla="*/ 329 h 413"/>
                <a:gd name="T96" fmla="*/ 356 w 591"/>
                <a:gd name="T97" fmla="*/ 315 h 413"/>
                <a:gd name="T98" fmla="*/ 401 w 591"/>
                <a:gd name="T99" fmla="*/ 270 h 413"/>
                <a:gd name="T100" fmla="*/ 385 w 591"/>
                <a:gd name="T101" fmla="*/ 215 h 413"/>
                <a:gd name="T102" fmla="*/ 424 w 591"/>
                <a:gd name="T103" fmla="*/ 172 h 413"/>
                <a:gd name="T104" fmla="*/ 438 w 591"/>
                <a:gd name="T105" fmla="*/ 146 h 413"/>
                <a:gd name="T106" fmla="*/ 514 w 591"/>
                <a:gd name="T107" fmla="*/ 113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91" h="413">
                  <a:moveTo>
                    <a:pt x="536" y="212"/>
                  </a:moveTo>
                  <a:cubicBezTo>
                    <a:pt x="536" y="212"/>
                    <a:pt x="533" y="205"/>
                    <a:pt x="527" y="205"/>
                  </a:cubicBezTo>
                  <a:cubicBezTo>
                    <a:pt x="521" y="205"/>
                    <a:pt x="498" y="218"/>
                    <a:pt x="501" y="223"/>
                  </a:cubicBezTo>
                  <a:cubicBezTo>
                    <a:pt x="504" y="228"/>
                    <a:pt x="511" y="226"/>
                    <a:pt x="511" y="226"/>
                  </a:cubicBezTo>
                  <a:cubicBezTo>
                    <a:pt x="511" y="226"/>
                    <a:pt x="515" y="235"/>
                    <a:pt x="519" y="236"/>
                  </a:cubicBezTo>
                  <a:cubicBezTo>
                    <a:pt x="523" y="237"/>
                    <a:pt x="531" y="237"/>
                    <a:pt x="531" y="237"/>
                  </a:cubicBezTo>
                  <a:cubicBezTo>
                    <a:pt x="537" y="235"/>
                    <a:pt x="547" y="225"/>
                    <a:pt x="546" y="218"/>
                  </a:cubicBezTo>
                  <a:cubicBezTo>
                    <a:pt x="545" y="211"/>
                    <a:pt x="536" y="212"/>
                    <a:pt x="536" y="212"/>
                  </a:cubicBezTo>
                  <a:close/>
                  <a:moveTo>
                    <a:pt x="447" y="261"/>
                  </a:moveTo>
                  <a:cubicBezTo>
                    <a:pt x="456" y="270"/>
                    <a:pt x="466" y="259"/>
                    <a:pt x="461" y="249"/>
                  </a:cubicBezTo>
                  <a:cubicBezTo>
                    <a:pt x="456" y="239"/>
                    <a:pt x="447" y="261"/>
                    <a:pt x="447" y="261"/>
                  </a:cubicBezTo>
                  <a:close/>
                  <a:moveTo>
                    <a:pt x="560" y="198"/>
                  </a:moveTo>
                  <a:cubicBezTo>
                    <a:pt x="560" y="198"/>
                    <a:pt x="573" y="218"/>
                    <a:pt x="582" y="213"/>
                  </a:cubicBezTo>
                  <a:cubicBezTo>
                    <a:pt x="591" y="208"/>
                    <a:pt x="570" y="191"/>
                    <a:pt x="560" y="198"/>
                  </a:cubicBezTo>
                  <a:close/>
                  <a:moveTo>
                    <a:pt x="535" y="101"/>
                  </a:moveTo>
                  <a:cubicBezTo>
                    <a:pt x="536" y="98"/>
                    <a:pt x="534" y="86"/>
                    <a:pt x="534" y="86"/>
                  </a:cubicBezTo>
                  <a:cubicBezTo>
                    <a:pt x="542" y="81"/>
                    <a:pt x="542" y="81"/>
                    <a:pt x="542" y="81"/>
                  </a:cubicBezTo>
                  <a:cubicBezTo>
                    <a:pt x="542" y="81"/>
                    <a:pt x="530" y="75"/>
                    <a:pt x="527" y="67"/>
                  </a:cubicBezTo>
                  <a:cubicBezTo>
                    <a:pt x="521" y="67"/>
                    <a:pt x="521" y="67"/>
                    <a:pt x="521" y="67"/>
                  </a:cubicBezTo>
                  <a:cubicBezTo>
                    <a:pt x="521" y="67"/>
                    <a:pt x="521" y="77"/>
                    <a:pt x="514" y="77"/>
                  </a:cubicBezTo>
                  <a:cubicBezTo>
                    <a:pt x="507" y="77"/>
                    <a:pt x="506" y="77"/>
                    <a:pt x="506" y="77"/>
                  </a:cubicBezTo>
                  <a:cubicBezTo>
                    <a:pt x="506" y="77"/>
                    <a:pt x="499" y="69"/>
                    <a:pt x="496" y="70"/>
                  </a:cubicBezTo>
                  <a:cubicBezTo>
                    <a:pt x="493" y="71"/>
                    <a:pt x="486" y="73"/>
                    <a:pt x="486" y="73"/>
                  </a:cubicBezTo>
                  <a:cubicBezTo>
                    <a:pt x="486" y="73"/>
                    <a:pt x="483" y="67"/>
                    <a:pt x="479" y="68"/>
                  </a:cubicBezTo>
                  <a:cubicBezTo>
                    <a:pt x="475" y="69"/>
                    <a:pt x="466" y="71"/>
                    <a:pt x="466" y="71"/>
                  </a:cubicBezTo>
                  <a:cubicBezTo>
                    <a:pt x="459" y="56"/>
                    <a:pt x="459" y="56"/>
                    <a:pt x="459" y="56"/>
                  </a:cubicBezTo>
                  <a:cubicBezTo>
                    <a:pt x="450" y="55"/>
                    <a:pt x="450" y="55"/>
                    <a:pt x="450" y="55"/>
                  </a:cubicBezTo>
                  <a:cubicBezTo>
                    <a:pt x="450" y="55"/>
                    <a:pt x="450" y="48"/>
                    <a:pt x="437" y="48"/>
                  </a:cubicBezTo>
                  <a:cubicBezTo>
                    <a:pt x="424" y="48"/>
                    <a:pt x="430" y="60"/>
                    <a:pt x="430" y="60"/>
                  </a:cubicBezTo>
                  <a:cubicBezTo>
                    <a:pt x="417" y="63"/>
                    <a:pt x="417" y="63"/>
                    <a:pt x="417" y="63"/>
                  </a:cubicBezTo>
                  <a:cubicBezTo>
                    <a:pt x="415" y="55"/>
                    <a:pt x="415" y="55"/>
                    <a:pt x="415" y="55"/>
                  </a:cubicBezTo>
                  <a:cubicBezTo>
                    <a:pt x="395" y="54"/>
                    <a:pt x="395" y="54"/>
                    <a:pt x="395" y="54"/>
                  </a:cubicBezTo>
                  <a:cubicBezTo>
                    <a:pt x="395" y="54"/>
                    <a:pt x="394" y="51"/>
                    <a:pt x="390" y="49"/>
                  </a:cubicBezTo>
                  <a:cubicBezTo>
                    <a:pt x="386" y="47"/>
                    <a:pt x="376" y="51"/>
                    <a:pt x="376" y="51"/>
                  </a:cubicBezTo>
                  <a:cubicBezTo>
                    <a:pt x="376" y="51"/>
                    <a:pt x="370" y="42"/>
                    <a:pt x="363" y="41"/>
                  </a:cubicBezTo>
                  <a:cubicBezTo>
                    <a:pt x="356" y="40"/>
                    <a:pt x="342" y="38"/>
                    <a:pt x="342" y="38"/>
                  </a:cubicBezTo>
                  <a:cubicBezTo>
                    <a:pt x="342" y="38"/>
                    <a:pt x="348" y="35"/>
                    <a:pt x="342" y="28"/>
                  </a:cubicBezTo>
                  <a:cubicBezTo>
                    <a:pt x="336" y="21"/>
                    <a:pt x="327" y="29"/>
                    <a:pt x="327" y="29"/>
                  </a:cubicBezTo>
                  <a:cubicBezTo>
                    <a:pt x="326" y="23"/>
                    <a:pt x="326" y="23"/>
                    <a:pt x="326" y="23"/>
                  </a:cubicBezTo>
                  <a:cubicBezTo>
                    <a:pt x="324" y="23"/>
                    <a:pt x="322" y="23"/>
                    <a:pt x="320" y="23"/>
                  </a:cubicBezTo>
                  <a:cubicBezTo>
                    <a:pt x="301" y="23"/>
                    <a:pt x="254" y="14"/>
                    <a:pt x="254" y="14"/>
                  </a:cubicBezTo>
                  <a:cubicBezTo>
                    <a:pt x="234" y="22"/>
                    <a:pt x="234" y="22"/>
                    <a:pt x="234" y="22"/>
                  </a:cubicBezTo>
                  <a:cubicBezTo>
                    <a:pt x="196" y="18"/>
                    <a:pt x="196" y="18"/>
                    <a:pt x="196" y="18"/>
                  </a:cubicBezTo>
                  <a:cubicBezTo>
                    <a:pt x="196" y="18"/>
                    <a:pt x="171" y="4"/>
                    <a:pt x="156" y="7"/>
                  </a:cubicBezTo>
                  <a:cubicBezTo>
                    <a:pt x="141" y="10"/>
                    <a:pt x="120" y="11"/>
                    <a:pt x="115" y="11"/>
                  </a:cubicBezTo>
                  <a:cubicBezTo>
                    <a:pt x="110" y="11"/>
                    <a:pt x="91" y="8"/>
                    <a:pt x="91" y="8"/>
                  </a:cubicBezTo>
                  <a:cubicBezTo>
                    <a:pt x="91" y="8"/>
                    <a:pt x="81" y="0"/>
                    <a:pt x="75" y="0"/>
                  </a:cubicBezTo>
                  <a:cubicBezTo>
                    <a:pt x="69" y="0"/>
                    <a:pt x="49" y="18"/>
                    <a:pt x="49" y="18"/>
                  </a:cubicBezTo>
                  <a:cubicBezTo>
                    <a:pt x="49" y="18"/>
                    <a:pt x="4" y="25"/>
                    <a:pt x="2" y="38"/>
                  </a:cubicBezTo>
                  <a:cubicBezTo>
                    <a:pt x="0" y="51"/>
                    <a:pt x="21" y="67"/>
                    <a:pt x="21" y="67"/>
                  </a:cubicBezTo>
                  <a:cubicBezTo>
                    <a:pt x="13" y="90"/>
                    <a:pt x="13" y="90"/>
                    <a:pt x="13" y="90"/>
                  </a:cubicBezTo>
                  <a:cubicBezTo>
                    <a:pt x="13" y="90"/>
                    <a:pt x="14" y="94"/>
                    <a:pt x="15" y="101"/>
                  </a:cubicBezTo>
                  <a:cubicBezTo>
                    <a:pt x="20" y="95"/>
                    <a:pt x="27" y="88"/>
                    <a:pt x="36" y="88"/>
                  </a:cubicBezTo>
                  <a:cubicBezTo>
                    <a:pt x="50" y="88"/>
                    <a:pt x="55" y="89"/>
                    <a:pt x="50" y="94"/>
                  </a:cubicBezTo>
                  <a:cubicBezTo>
                    <a:pt x="45" y="99"/>
                    <a:pt x="38" y="103"/>
                    <a:pt x="44" y="103"/>
                  </a:cubicBezTo>
                  <a:cubicBezTo>
                    <a:pt x="50" y="103"/>
                    <a:pt x="54" y="99"/>
                    <a:pt x="61" y="99"/>
                  </a:cubicBezTo>
                  <a:cubicBezTo>
                    <a:pt x="68" y="99"/>
                    <a:pt x="70" y="108"/>
                    <a:pt x="78" y="104"/>
                  </a:cubicBezTo>
                  <a:cubicBezTo>
                    <a:pt x="86" y="100"/>
                    <a:pt x="76" y="96"/>
                    <a:pt x="85" y="96"/>
                  </a:cubicBezTo>
                  <a:cubicBezTo>
                    <a:pt x="94" y="96"/>
                    <a:pt x="110" y="93"/>
                    <a:pt x="114" y="95"/>
                  </a:cubicBezTo>
                  <a:cubicBezTo>
                    <a:pt x="118" y="97"/>
                    <a:pt x="115" y="108"/>
                    <a:pt x="115" y="108"/>
                  </a:cubicBezTo>
                  <a:cubicBezTo>
                    <a:pt x="115" y="108"/>
                    <a:pt x="129" y="109"/>
                    <a:pt x="128" y="117"/>
                  </a:cubicBezTo>
                  <a:cubicBezTo>
                    <a:pt x="127" y="125"/>
                    <a:pt x="95" y="140"/>
                    <a:pt x="94" y="144"/>
                  </a:cubicBezTo>
                  <a:cubicBezTo>
                    <a:pt x="93" y="148"/>
                    <a:pt x="102" y="153"/>
                    <a:pt x="102" y="153"/>
                  </a:cubicBezTo>
                  <a:cubicBezTo>
                    <a:pt x="102" y="153"/>
                    <a:pt x="97" y="178"/>
                    <a:pt x="96" y="181"/>
                  </a:cubicBezTo>
                  <a:cubicBezTo>
                    <a:pt x="95" y="184"/>
                    <a:pt x="90" y="188"/>
                    <a:pt x="90" y="188"/>
                  </a:cubicBezTo>
                  <a:cubicBezTo>
                    <a:pt x="90" y="188"/>
                    <a:pt x="94" y="202"/>
                    <a:pt x="94" y="205"/>
                  </a:cubicBezTo>
                  <a:cubicBezTo>
                    <a:pt x="94" y="208"/>
                    <a:pt x="86" y="215"/>
                    <a:pt x="82" y="216"/>
                  </a:cubicBezTo>
                  <a:cubicBezTo>
                    <a:pt x="78" y="217"/>
                    <a:pt x="61" y="217"/>
                    <a:pt x="61" y="217"/>
                  </a:cubicBezTo>
                  <a:cubicBezTo>
                    <a:pt x="77" y="231"/>
                    <a:pt x="77" y="231"/>
                    <a:pt x="77" y="231"/>
                  </a:cubicBezTo>
                  <a:cubicBezTo>
                    <a:pt x="77" y="240"/>
                    <a:pt x="77" y="240"/>
                    <a:pt x="77" y="240"/>
                  </a:cubicBezTo>
                  <a:cubicBezTo>
                    <a:pt x="77" y="240"/>
                    <a:pt x="90" y="242"/>
                    <a:pt x="88" y="250"/>
                  </a:cubicBezTo>
                  <a:cubicBezTo>
                    <a:pt x="86" y="258"/>
                    <a:pt x="62" y="272"/>
                    <a:pt x="66" y="276"/>
                  </a:cubicBezTo>
                  <a:cubicBezTo>
                    <a:pt x="70" y="280"/>
                    <a:pt x="75" y="294"/>
                    <a:pt x="75" y="294"/>
                  </a:cubicBezTo>
                  <a:cubicBezTo>
                    <a:pt x="75" y="294"/>
                    <a:pt x="88" y="295"/>
                    <a:pt x="84" y="301"/>
                  </a:cubicBezTo>
                  <a:cubicBezTo>
                    <a:pt x="80" y="307"/>
                    <a:pt x="70" y="308"/>
                    <a:pt x="70" y="308"/>
                  </a:cubicBezTo>
                  <a:cubicBezTo>
                    <a:pt x="70" y="308"/>
                    <a:pt x="62" y="318"/>
                    <a:pt x="60" y="325"/>
                  </a:cubicBezTo>
                  <a:cubicBezTo>
                    <a:pt x="58" y="332"/>
                    <a:pt x="59" y="340"/>
                    <a:pt x="59" y="340"/>
                  </a:cubicBezTo>
                  <a:cubicBezTo>
                    <a:pt x="61" y="351"/>
                    <a:pt x="61" y="351"/>
                    <a:pt x="61" y="351"/>
                  </a:cubicBezTo>
                  <a:cubicBezTo>
                    <a:pt x="62" y="351"/>
                    <a:pt x="62" y="351"/>
                    <a:pt x="62" y="351"/>
                  </a:cubicBezTo>
                  <a:cubicBezTo>
                    <a:pt x="81" y="350"/>
                    <a:pt x="81" y="350"/>
                    <a:pt x="81" y="350"/>
                  </a:cubicBezTo>
                  <a:cubicBezTo>
                    <a:pt x="97" y="365"/>
                    <a:pt x="97" y="365"/>
                    <a:pt x="97" y="365"/>
                  </a:cubicBezTo>
                  <a:cubicBezTo>
                    <a:pt x="109" y="365"/>
                    <a:pt x="109" y="365"/>
                    <a:pt x="109" y="365"/>
                  </a:cubicBezTo>
                  <a:cubicBezTo>
                    <a:pt x="103" y="382"/>
                    <a:pt x="103" y="382"/>
                    <a:pt x="103" y="382"/>
                  </a:cubicBezTo>
                  <a:cubicBezTo>
                    <a:pt x="110" y="383"/>
                    <a:pt x="110" y="383"/>
                    <a:pt x="110" y="383"/>
                  </a:cubicBezTo>
                  <a:cubicBezTo>
                    <a:pt x="110" y="383"/>
                    <a:pt x="110" y="403"/>
                    <a:pt x="117" y="406"/>
                  </a:cubicBezTo>
                  <a:cubicBezTo>
                    <a:pt x="124" y="409"/>
                    <a:pt x="136" y="413"/>
                    <a:pt x="136" y="413"/>
                  </a:cubicBezTo>
                  <a:cubicBezTo>
                    <a:pt x="136" y="413"/>
                    <a:pt x="153" y="401"/>
                    <a:pt x="156" y="395"/>
                  </a:cubicBezTo>
                  <a:cubicBezTo>
                    <a:pt x="159" y="389"/>
                    <a:pt x="177" y="389"/>
                    <a:pt x="177" y="389"/>
                  </a:cubicBezTo>
                  <a:cubicBezTo>
                    <a:pt x="196" y="377"/>
                    <a:pt x="196" y="377"/>
                    <a:pt x="196" y="377"/>
                  </a:cubicBezTo>
                  <a:cubicBezTo>
                    <a:pt x="196" y="377"/>
                    <a:pt x="229" y="379"/>
                    <a:pt x="235" y="377"/>
                  </a:cubicBezTo>
                  <a:cubicBezTo>
                    <a:pt x="241" y="375"/>
                    <a:pt x="251" y="371"/>
                    <a:pt x="251" y="371"/>
                  </a:cubicBezTo>
                  <a:cubicBezTo>
                    <a:pt x="251" y="371"/>
                    <a:pt x="259" y="379"/>
                    <a:pt x="265" y="378"/>
                  </a:cubicBezTo>
                  <a:cubicBezTo>
                    <a:pt x="271" y="377"/>
                    <a:pt x="287" y="370"/>
                    <a:pt x="287" y="370"/>
                  </a:cubicBezTo>
                  <a:cubicBezTo>
                    <a:pt x="287" y="370"/>
                    <a:pt x="286" y="382"/>
                    <a:pt x="297" y="374"/>
                  </a:cubicBezTo>
                  <a:cubicBezTo>
                    <a:pt x="308" y="366"/>
                    <a:pt x="310" y="347"/>
                    <a:pt x="310" y="347"/>
                  </a:cubicBezTo>
                  <a:cubicBezTo>
                    <a:pt x="331" y="329"/>
                    <a:pt x="331" y="329"/>
                    <a:pt x="331" y="329"/>
                  </a:cubicBezTo>
                  <a:cubicBezTo>
                    <a:pt x="354" y="328"/>
                    <a:pt x="354" y="328"/>
                    <a:pt x="354" y="328"/>
                  </a:cubicBezTo>
                  <a:cubicBezTo>
                    <a:pt x="356" y="315"/>
                    <a:pt x="356" y="315"/>
                    <a:pt x="356" y="315"/>
                  </a:cubicBezTo>
                  <a:cubicBezTo>
                    <a:pt x="356" y="315"/>
                    <a:pt x="367" y="286"/>
                    <a:pt x="370" y="284"/>
                  </a:cubicBezTo>
                  <a:cubicBezTo>
                    <a:pt x="373" y="282"/>
                    <a:pt x="400" y="279"/>
                    <a:pt x="401" y="270"/>
                  </a:cubicBezTo>
                  <a:cubicBezTo>
                    <a:pt x="402" y="261"/>
                    <a:pt x="379" y="249"/>
                    <a:pt x="379" y="249"/>
                  </a:cubicBezTo>
                  <a:cubicBezTo>
                    <a:pt x="379" y="249"/>
                    <a:pt x="377" y="226"/>
                    <a:pt x="385" y="215"/>
                  </a:cubicBezTo>
                  <a:cubicBezTo>
                    <a:pt x="393" y="204"/>
                    <a:pt x="404" y="191"/>
                    <a:pt x="404" y="191"/>
                  </a:cubicBezTo>
                  <a:cubicBezTo>
                    <a:pt x="404" y="191"/>
                    <a:pt x="421" y="173"/>
                    <a:pt x="424" y="172"/>
                  </a:cubicBezTo>
                  <a:cubicBezTo>
                    <a:pt x="427" y="171"/>
                    <a:pt x="439" y="163"/>
                    <a:pt x="436" y="161"/>
                  </a:cubicBezTo>
                  <a:cubicBezTo>
                    <a:pt x="433" y="159"/>
                    <a:pt x="428" y="151"/>
                    <a:pt x="438" y="146"/>
                  </a:cubicBezTo>
                  <a:cubicBezTo>
                    <a:pt x="448" y="141"/>
                    <a:pt x="472" y="136"/>
                    <a:pt x="485" y="131"/>
                  </a:cubicBezTo>
                  <a:cubicBezTo>
                    <a:pt x="498" y="126"/>
                    <a:pt x="514" y="113"/>
                    <a:pt x="514" y="113"/>
                  </a:cubicBezTo>
                  <a:cubicBezTo>
                    <a:pt x="514" y="113"/>
                    <a:pt x="534" y="104"/>
                    <a:pt x="535" y="101"/>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79" name="Freeform 140"/>
            <p:cNvSpPr>
              <a:spLocks/>
            </p:cNvSpPr>
            <p:nvPr/>
          </p:nvSpPr>
          <p:spPr bwMode="gray">
            <a:xfrm>
              <a:off x="4025900" y="2709863"/>
              <a:ext cx="87312" cy="155575"/>
            </a:xfrm>
            <a:custGeom>
              <a:avLst/>
              <a:gdLst>
                <a:gd name="T0" fmla="*/ 141 w 155"/>
                <a:gd name="T1" fmla="*/ 20 h 277"/>
                <a:gd name="T2" fmla="*/ 140 w 155"/>
                <a:gd name="T3" fmla="*/ 7 h 277"/>
                <a:gd name="T4" fmla="*/ 111 w 155"/>
                <a:gd name="T5" fmla="*/ 8 h 277"/>
                <a:gd name="T6" fmla="*/ 104 w 155"/>
                <a:gd name="T7" fmla="*/ 16 h 277"/>
                <a:gd name="T8" fmla="*/ 87 w 155"/>
                <a:gd name="T9" fmla="*/ 11 h 277"/>
                <a:gd name="T10" fmla="*/ 70 w 155"/>
                <a:gd name="T11" fmla="*/ 15 h 277"/>
                <a:gd name="T12" fmla="*/ 76 w 155"/>
                <a:gd name="T13" fmla="*/ 6 h 277"/>
                <a:gd name="T14" fmla="*/ 62 w 155"/>
                <a:gd name="T15" fmla="*/ 0 h 277"/>
                <a:gd name="T16" fmla="*/ 41 w 155"/>
                <a:gd name="T17" fmla="*/ 13 h 277"/>
                <a:gd name="T18" fmla="*/ 46 w 155"/>
                <a:gd name="T19" fmla="*/ 53 h 277"/>
                <a:gd name="T20" fmla="*/ 23 w 155"/>
                <a:gd name="T21" fmla="*/ 114 h 277"/>
                <a:gd name="T22" fmla="*/ 9 w 155"/>
                <a:gd name="T23" fmla="*/ 146 h 277"/>
                <a:gd name="T24" fmla="*/ 6 w 155"/>
                <a:gd name="T25" fmla="*/ 180 h 277"/>
                <a:gd name="T26" fmla="*/ 23 w 155"/>
                <a:gd name="T27" fmla="*/ 191 h 277"/>
                <a:gd name="T28" fmla="*/ 30 w 155"/>
                <a:gd name="T29" fmla="*/ 228 h 277"/>
                <a:gd name="T30" fmla="*/ 20 w 155"/>
                <a:gd name="T31" fmla="*/ 271 h 277"/>
                <a:gd name="T32" fmla="*/ 52 w 155"/>
                <a:gd name="T33" fmla="*/ 268 h 277"/>
                <a:gd name="T34" fmla="*/ 62 w 155"/>
                <a:gd name="T35" fmla="*/ 276 h 277"/>
                <a:gd name="T36" fmla="*/ 87 w 155"/>
                <a:gd name="T37" fmla="*/ 263 h 277"/>
                <a:gd name="T38" fmla="*/ 85 w 155"/>
                <a:gd name="T39" fmla="*/ 252 h 277"/>
                <a:gd name="T40" fmla="*/ 86 w 155"/>
                <a:gd name="T41" fmla="*/ 237 h 277"/>
                <a:gd name="T42" fmla="*/ 96 w 155"/>
                <a:gd name="T43" fmla="*/ 220 h 277"/>
                <a:gd name="T44" fmla="*/ 110 w 155"/>
                <a:gd name="T45" fmla="*/ 213 h 277"/>
                <a:gd name="T46" fmla="*/ 101 w 155"/>
                <a:gd name="T47" fmla="*/ 206 h 277"/>
                <a:gd name="T48" fmla="*/ 92 w 155"/>
                <a:gd name="T49" fmla="*/ 188 h 277"/>
                <a:gd name="T50" fmla="*/ 114 w 155"/>
                <a:gd name="T51" fmla="*/ 162 h 277"/>
                <a:gd name="T52" fmla="*/ 103 w 155"/>
                <a:gd name="T53" fmla="*/ 152 h 277"/>
                <a:gd name="T54" fmla="*/ 103 w 155"/>
                <a:gd name="T55" fmla="*/ 143 h 277"/>
                <a:gd name="T56" fmla="*/ 87 w 155"/>
                <a:gd name="T57" fmla="*/ 129 h 277"/>
                <a:gd name="T58" fmla="*/ 108 w 155"/>
                <a:gd name="T59" fmla="*/ 128 h 277"/>
                <a:gd name="T60" fmla="*/ 120 w 155"/>
                <a:gd name="T61" fmla="*/ 117 h 277"/>
                <a:gd name="T62" fmla="*/ 116 w 155"/>
                <a:gd name="T63" fmla="*/ 100 h 277"/>
                <a:gd name="T64" fmla="*/ 122 w 155"/>
                <a:gd name="T65" fmla="*/ 93 h 277"/>
                <a:gd name="T66" fmla="*/ 128 w 155"/>
                <a:gd name="T67" fmla="*/ 65 h 277"/>
                <a:gd name="T68" fmla="*/ 120 w 155"/>
                <a:gd name="T69" fmla="*/ 56 h 277"/>
                <a:gd name="T70" fmla="*/ 154 w 155"/>
                <a:gd name="T71" fmla="*/ 29 h 277"/>
                <a:gd name="T72" fmla="*/ 141 w 155"/>
                <a:gd name="T73" fmla="*/ 2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5" h="277">
                  <a:moveTo>
                    <a:pt x="141" y="20"/>
                  </a:moveTo>
                  <a:cubicBezTo>
                    <a:pt x="141" y="20"/>
                    <a:pt x="144" y="9"/>
                    <a:pt x="140" y="7"/>
                  </a:cubicBezTo>
                  <a:cubicBezTo>
                    <a:pt x="136" y="5"/>
                    <a:pt x="120" y="8"/>
                    <a:pt x="111" y="8"/>
                  </a:cubicBezTo>
                  <a:cubicBezTo>
                    <a:pt x="102" y="8"/>
                    <a:pt x="112" y="12"/>
                    <a:pt x="104" y="16"/>
                  </a:cubicBezTo>
                  <a:cubicBezTo>
                    <a:pt x="96" y="20"/>
                    <a:pt x="94" y="11"/>
                    <a:pt x="87" y="11"/>
                  </a:cubicBezTo>
                  <a:cubicBezTo>
                    <a:pt x="80" y="11"/>
                    <a:pt x="76" y="15"/>
                    <a:pt x="70" y="15"/>
                  </a:cubicBezTo>
                  <a:cubicBezTo>
                    <a:pt x="64" y="15"/>
                    <a:pt x="71" y="11"/>
                    <a:pt x="76" y="6"/>
                  </a:cubicBezTo>
                  <a:cubicBezTo>
                    <a:pt x="81" y="1"/>
                    <a:pt x="76" y="0"/>
                    <a:pt x="62" y="0"/>
                  </a:cubicBezTo>
                  <a:cubicBezTo>
                    <a:pt x="53" y="0"/>
                    <a:pt x="46" y="7"/>
                    <a:pt x="41" y="13"/>
                  </a:cubicBezTo>
                  <a:cubicBezTo>
                    <a:pt x="44" y="23"/>
                    <a:pt x="47" y="40"/>
                    <a:pt x="46" y="53"/>
                  </a:cubicBezTo>
                  <a:cubicBezTo>
                    <a:pt x="45" y="74"/>
                    <a:pt x="23" y="114"/>
                    <a:pt x="23" y="114"/>
                  </a:cubicBezTo>
                  <a:cubicBezTo>
                    <a:pt x="9" y="146"/>
                    <a:pt x="9" y="146"/>
                    <a:pt x="9" y="146"/>
                  </a:cubicBezTo>
                  <a:cubicBezTo>
                    <a:pt x="9" y="146"/>
                    <a:pt x="0" y="173"/>
                    <a:pt x="6" y="180"/>
                  </a:cubicBezTo>
                  <a:cubicBezTo>
                    <a:pt x="12" y="187"/>
                    <a:pt x="23" y="191"/>
                    <a:pt x="23" y="191"/>
                  </a:cubicBezTo>
                  <a:cubicBezTo>
                    <a:pt x="30" y="228"/>
                    <a:pt x="30" y="228"/>
                    <a:pt x="30" y="228"/>
                  </a:cubicBezTo>
                  <a:cubicBezTo>
                    <a:pt x="30" y="228"/>
                    <a:pt x="14" y="270"/>
                    <a:pt x="20" y="271"/>
                  </a:cubicBezTo>
                  <a:cubicBezTo>
                    <a:pt x="26" y="272"/>
                    <a:pt x="52" y="268"/>
                    <a:pt x="52" y="268"/>
                  </a:cubicBezTo>
                  <a:cubicBezTo>
                    <a:pt x="52" y="268"/>
                    <a:pt x="56" y="277"/>
                    <a:pt x="62" y="276"/>
                  </a:cubicBezTo>
                  <a:cubicBezTo>
                    <a:pt x="67" y="275"/>
                    <a:pt x="84" y="265"/>
                    <a:pt x="87" y="263"/>
                  </a:cubicBezTo>
                  <a:cubicBezTo>
                    <a:pt x="85" y="252"/>
                    <a:pt x="85" y="252"/>
                    <a:pt x="85" y="252"/>
                  </a:cubicBezTo>
                  <a:cubicBezTo>
                    <a:pt x="85" y="252"/>
                    <a:pt x="84" y="244"/>
                    <a:pt x="86" y="237"/>
                  </a:cubicBezTo>
                  <a:cubicBezTo>
                    <a:pt x="88" y="230"/>
                    <a:pt x="96" y="220"/>
                    <a:pt x="96" y="220"/>
                  </a:cubicBezTo>
                  <a:cubicBezTo>
                    <a:pt x="96" y="220"/>
                    <a:pt x="106" y="219"/>
                    <a:pt x="110" y="213"/>
                  </a:cubicBezTo>
                  <a:cubicBezTo>
                    <a:pt x="114" y="207"/>
                    <a:pt x="101" y="206"/>
                    <a:pt x="101" y="206"/>
                  </a:cubicBezTo>
                  <a:cubicBezTo>
                    <a:pt x="101" y="206"/>
                    <a:pt x="96" y="192"/>
                    <a:pt x="92" y="188"/>
                  </a:cubicBezTo>
                  <a:cubicBezTo>
                    <a:pt x="88" y="184"/>
                    <a:pt x="112" y="170"/>
                    <a:pt x="114" y="162"/>
                  </a:cubicBezTo>
                  <a:cubicBezTo>
                    <a:pt x="116" y="154"/>
                    <a:pt x="103" y="152"/>
                    <a:pt x="103" y="152"/>
                  </a:cubicBezTo>
                  <a:cubicBezTo>
                    <a:pt x="103" y="143"/>
                    <a:pt x="103" y="143"/>
                    <a:pt x="103" y="143"/>
                  </a:cubicBezTo>
                  <a:cubicBezTo>
                    <a:pt x="87" y="129"/>
                    <a:pt x="87" y="129"/>
                    <a:pt x="87" y="129"/>
                  </a:cubicBezTo>
                  <a:cubicBezTo>
                    <a:pt x="87" y="129"/>
                    <a:pt x="104" y="129"/>
                    <a:pt x="108" y="128"/>
                  </a:cubicBezTo>
                  <a:cubicBezTo>
                    <a:pt x="112" y="127"/>
                    <a:pt x="120" y="120"/>
                    <a:pt x="120" y="117"/>
                  </a:cubicBezTo>
                  <a:cubicBezTo>
                    <a:pt x="120" y="114"/>
                    <a:pt x="116" y="100"/>
                    <a:pt x="116" y="100"/>
                  </a:cubicBezTo>
                  <a:cubicBezTo>
                    <a:pt x="116" y="100"/>
                    <a:pt x="121" y="96"/>
                    <a:pt x="122" y="93"/>
                  </a:cubicBezTo>
                  <a:cubicBezTo>
                    <a:pt x="123" y="90"/>
                    <a:pt x="128" y="65"/>
                    <a:pt x="128" y="65"/>
                  </a:cubicBezTo>
                  <a:cubicBezTo>
                    <a:pt x="128" y="65"/>
                    <a:pt x="119" y="60"/>
                    <a:pt x="120" y="56"/>
                  </a:cubicBezTo>
                  <a:cubicBezTo>
                    <a:pt x="121" y="52"/>
                    <a:pt x="153" y="37"/>
                    <a:pt x="154" y="29"/>
                  </a:cubicBezTo>
                  <a:cubicBezTo>
                    <a:pt x="155" y="21"/>
                    <a:pt x="141" y="20"/>
                    <a:pt x="141" y="20"/>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80" name="Freeform 141"/>
            <p:cNvSpPr>
              <a:spLocks noEditPoints="1"/>
            </p:cNvSpPr>
            <p:nvPr/>
          </p:nvSpPr>
          <p:spPr bwMode="gray">
            <a:xfrm>
              <a:off x="2281238" y="3816350"/>
              <a:ext cx="1039812" cy="1174750"/>
            </a:xfrm>
            <a:custGeom>
              <a:avLst/>
              <a:gdLst>
                <a:gd name="T0" fmla="*/ 1096 w 1858"/>
                <a:gd name="T1" fmla="*/ 350 h 2099"/>
                <a:gd name="T2" fmla="*/ 1201 w 1858"/>
                <a:gd name="T3" fmla="*/ 299 h 2099"/>
                <a:gd name="T4" fmla="*/ 1144 w 1858"/>
                <a:gd name="T5" fmla="*/ 291 h 2099"/>
                <a:gd name="T6" fmla="*/ 1124 w 1858"/>
                <a:gd name="T7" fmla="*/ 270 h 2099"/>
                <a:gd name="T8" fmla="*/ 1087 w 1858"/>
                <a:gd name="T9" fmla="*/ 283 h 2099"/>
                <a:gd name="T10" fmla="*/ 1837 w 1858"/>
                <a:gd name="T11" fmla="*/ 583 h 2099"/>
                <a:gd name="T12" fmla="*/ 1713 w 1858"/>
                <a:gd name="T13" fmla="*/ 532 h 2099"/>
                <a:gd name="T14" fmla="*/ 1445 w 1858"/>
                <a:gd name="T15" fmla="*/ 412 h 2099"/>
                <a:gd name="T16" fmla="*/ 1377 w 1858"/>
                <a:gd name="T17" fmla="*/ 411 h 2099"/>
                <a:gd name="T18" fmla="*/ 1258 w 1858"/>
                <a:gd name="T19" fmla="*/ 316 h 2099"/>
                <a:gd name="T20" fmla="*/ 1154 w 1858"/>
                <a:gd name="T21" fmla="*/ 423 h 2099"/>
                <a:gd name="T22" fmla="*/ 1062 w 1858"/>
                <a:gd name="T23" fmla="*/ 356 h 2099"/>
                <a:gd name="T24" fmla="*/ 1095 w 1858"/>
                <a:gd name="T25" fmla="*/ 270 h 2099"/>
                <a:gd name="T26" fmla="*/ 1063 w 1858"/>
                <a:gd name="T27" fmla="*/ 52 h 2099"/>
                <a:gd name="T28" fmla="*/ 971 w 1858"/>
                <a:gd name="T29" fmla="*/ 160 h 2099"/>
                <a:gd name="T30" fmla="*/ 888 w 1858"/>
                <a:gd name="T31" fmla="*/ 145 h 2099"/>
                <a:gd name="T32" fmla="*/ 807 w 1858"/>
                <a:gd name="T33" fmla="*/ 183 h 2099"/>
                <a:gd name="T34" fmla="*/ 702 w 1858"/>
                <a:gd name="T35" fmla="*/ 221 h 2099"/>
                <a:gd name="T36" fmla="*/ 664 w 1858"/>
                <a:gd name="T37" fmla="*/ 91 h 2099"/>
                <a:gd name="T38" fmla="*/ 641 w 1858"/>
                <a:gd name="T39" fmla="*/ 7 h 2099"/>
                <a:gd name="T40" fmla="*/ 559 w 1858"/>
                <a:gd name="T41" fmla="*/ 64 h 2099"/>
                <a:gd name="T42" fmla="*/ 460 w 1858"/>
                <a:gd name="T43" fmla="*/ 60 h 2099"/>
                <a:gd name="T44" fmla="*/ 493 w 1858"/>
                <a:gd name="T45" fmla="*/ 154 h 2099"/>
                <a:gd name="T46" fmla="*/ 393 w 1858"/>
                <a:gd name="T47" fmla="*/ 251 h 2099"/>
                <a:gd name="T48" fmla="*/ 306 w 1858"/>
                <a:gd name="T49" fmla="*/ 180 h 2099"/>
                <a:gd name="T50" fmla="*/ 191 w 1858"/>
                <a:gd name="T51" fmla="*/ 223 h 2099"/>
                <a:gd name="T52" fmla="*/ 197 w 1858"/>
                <a:gd name="T53" fmla="*/ 313 h 2099"/>
                <a:gd name="T54" fmla="*/ 183 w 1858"/>
                <a:gd name="T55" fmla="*/ 518 h 2099"/>
                <a:gd name="T56" fmla="*/ 66 w 1858"/>
                <a:gd name="T57" fmla="*/ 547 h 2099"/>
                <a:gd name="T58" fmla="*/ 9 w 1858"/>
                <a:gd name="T59" fmla="*/ 674 h 2099"/>
                <a:gd name="T60" fmla="*/ 43 w 1858"/>
                <a:gd name="T61" fmla="*/ 791 h 2099"/>
                <a:gd name="T62" fmla="*/ 170 w 1858"/>
                <a:gd name="T63" fmla="*/ 874 h 2099"/>
                <a:gd name="T64" fmla="*/ 288 w 1858"/>
                <a:gd name="T65" fmla="*/ 859 h 2099"/>
                <a:gd name="T66" fmla="*/ 405 w 1858"/>
                <a:gd name="T67" fmla="*/ 814 h 2099"/>
                <a:gd name="T68" fmla="*/ 442 w 1858"/>
                <a:gd name="T69" fmla="*/ 932 h 2099"/>
                <a:gd name="T70" fmla="*/ 552 w 1858"/>
                <a:gd name="T71" fmla="*/ 986 h 2099"/>
                <a:gd name="T72" fmla="*/ 675 w 1858"/>
                <a:gd name="T73" fmla="*/ 1092 h 2099"/>
                <a:gd name="T74" fmla="*/ 816 w 1858"/>
                <a:gd name="T75" fmla="*/ 1262 h 2099"/>
                <a:gd name="T76" fmla="*/ 810 w 1858"/>
                <a:gd name="T77" fmla="*/ 1406 h 2099"/>
                <a:gd name="T78" fmla="*/ 987 w 1858"/>
                <a:gd name="T79" fmla="*/ 1564 h 2099"/>
                <a:gd name="T80" fmla="*/ 1043 w 1858"/>
                <a:gd name="T81" fmla="*/ 1690 h 2099"/>
                <a:gd name="T82" fmla="*/ 969 w 1858"/>
                <a:gd name="T83" fmla="*/ 1810 h 2099"/>
                <a:gd name="T84" fmla="*/ 915 w 1858"/>
                <a:gd name="T85" fmla="*/ 1912 h 2099"/>
                <a:gd name="T86" fmla="*/ 1049 w 1858"/>
                <a:gd name="T87" fmla="*/ 1978 h 2099"/>
                <a:gd name="T88" fmla="*/ 1118 w 1858"/>
                <a:gd name="T89" fmla="*/ 2099 h 2099"/>
                <a:gd name="T90" fmla="*/ 1165 w 1858"/>
                <a:gd name="T91" fmla="*/ 1984 h 2099"/>
                <a:gd name="T92" fmla="*/ 1208 w 1858"/>
                <a:gd name="T93" fmla="*/ 1956 h 2099"/>
                <a:gd name="T94" fmla="*/ 1200 w 1858"/>
                <a:gd name="T95" fmla="*/ 1987 h 2099"/>
                <a:gd name="T96" fmla="*/ 1294 w 1858"/>
                <a:gd name="T97" fmla="*/ 1764 h 2099"/>
                <a:gd name="T98" fmla="*/ 1279 w 1858"/>
                <a:gd name="T99" fmla="*/ 1678 h 2099"/>
                <a:gd name="T100" fmla="*/ 1311 w 1858"/>
                <a:gd name="T101" fmla="*/ 1617 h 2099"/>
                <a:gd name="T102" fmla="*/ 1412 w 1858"/>
                <a:gd name="T103" fmla="*/ 1561 h 2099"/>
                <a:gd name="T104" fmla="*/ 1459 w 1858"/>
                <a:gd name="T105" fmla="*/ 1519 h 2099"/>
                <a:gd name="T106" fmla="*/ 1571 w 1858"/>
                <a:gd name="T107" fmla="*/ 1506 h 2099"/>
                <a:gd name="T108" fmla="*/ 1629 w 1858"/>
                <a:gd name="T109" fmla="*/ 1372 h 2099"/>
                <a:gd name="T110" fmla="*/ 1671 w 1858"/>
                <a:gd name="T111" fmla="*/ 1213 h 2099"/>
                <a:gd name="T112" fmla="*/ 1674 w 1858"/>
                <a:gd name="T113" fmla="*/ 972 h 2099"/>
                <a:gd name="T114" fmla="*/ 1782 w 1858"/>
                <a:gd name="T115" fmla="*/ 855 h 20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58" h="2099">
                  <a:moveTo>
                    <a:pt x="1146" y="299"/>
                  </a:moveTo>
                  <a:cubicBezTo>
                    <a:pt x="1140" y="298"/>
                    <a:pt x="1112" y="291"/>
                    <a:pt x="1102" y="293"/>
                  </a:cubicBezTo>
                  <a:cubicBezTo>
                    <a:pt x="1092" y="295"/>
                    <a:pt x="1103" y="318"/>
                    <a:pt x="1103" y="318"/>
                  </a:cubicBezTo>
                  <a:cubicBezTo>
                    <a:pt x="1092" y="320"/>
                    <a:pt x="1092" y="320"/>
                    <a:pt x="1092" y="320"/>
                  </a:cubicBezTo>
                  <a:cubicBezTo>
                    <a:pt x="1092" y="336"/>
                    <a:pt x="1092" y="336"/>
                    <a:pt x="1092" y="336"/>
                  </a:cubicBezTo>
                  <a:cubicBezTo>
                    <a:pt x="1106" y="342"/>
                    <a:pt x="1106" y="342"/>
                    <a:pt x="1106" y="342"/>
                  </a:cubicBezTo>
                  <a:cubicBezTo>
                    <a:pt x="1096" y="350"/>
                    <a:pt x="1096" y="350"/>
                    <a:pt x="1096" y="350"/>
                  </a:cubicBezTo>
                  <a:cubicBezTo>
                    <a:pt x="1096" y="350"/>
                    <a:pt x="1099" y="366"/>
                    <a:pt x="1105" y="376"/>
                  </a:cubicBezTo>
                  <a:cubicBezTo>
                    <a:pt x="1112" y="386"/>
                    <a:pt x="1132" y="380"/>
                    <a:pt x="1139" y="380"/>
                  </a:cubicBezTo>
                  <a:cubicBezTo>
                    <a:pt x="1145" y="380"/>
                    <a:pt x="1144" y="372"/>
                    <a:pt x="1144" y="372"/>
                  </a:cubicBezTo>
                  <a:cubicBezTo>
                    <a:pt x="1144" y="372"/>
                    <a:pt x="1157" y="368"/>
                    <a:pt x="1168" y="368"/>
                  </a:cubicBezTo>
                  <a:cubicBezTo>
                    <a:pt x="1179" y="368"/>
                    <a:pt x="1186" y="355"/>
                    <a:pt x="1186" y="355"/>
                  </a:cubicBezTo>
                  <a:cubicBezTo>
                    <a:pt x="1195" y="326"/>
                    <a:pt x="1195" y="326"/>
                    <a:pt x="1195" y="326"/>
                  </a:cubicBezTo>
                  <a:cubicBezTo>
                    <a:pt x="1195" y="326"/>
                    <a:pt x="1202" y="312"/>
                    <a:pt x="1201" y="299"/>
                  </a:cubicBezTo>
                  <a:cubicBezTo>
                    <a:pt x="1200" y="286"/>
                    <a:pt x="1180" y="291"/>
                    <a:pt x="1169" y="291"/>
                  </a:cubicBezTo>
                  <a:cubicBezTo>
                    <a:pt x="1169" y="291"/>
                    <a:pt x="1153" y="300"/>
                    <a:pt x="1146" y="299"/>
                  </a:cubicBezTo>
                  <a:close/>
                  <a:moveTo>
                    <a:pt x="1144" y="291"/>
                  </a:moveTo>
                  <a:cubicBezTo>
                    <a:pt x="1159" y="286"/>
                    <a:pt x="1159" y="286"/>
                    <a:pt x="1159" y="286"/>
                  </a:cubicBezTo>
                  <a:cubicBezTo>
                    <a:pt x="1147" y="275"/>
                    <a:pt x="1147" y="275"/>
                    <a:pt x="1147" y="275"/>
                  </a:cubicBezTo>
                  <a:cubicBezTo>
                    <a:pt x="1132" y="292"/>
                    <a:pt x="1132" y="292"/>
                    <a:pt x="1132" y="292"/>
                  </a:cubicBezTo>
                  <a:lnTo>
                    <a:pt x="1144" y="291"/>
                  </a:lnTo>
                  <a:close/>
                  <a:moveTo>
                    <a:pt x="1124" y="270"/>
                  </a:moveTo>
                  <a:cubicBezTo>
                    <a:pt x="1110" y="271"/>
                    <a:pt x="1110" y="271"/>
                    <a:pt x="1110" y="271"/>
                  </a:cubicBezTo>
                  <a:cubicBezTo>
                    <a:pt x="1109" y="282"/>
                    <a:pt x="1109" y="282"/>
                    <a:pt x="1109" y="282"/>
                  </a:cubicBezTo>
                  <a:cubicBezTo>
                    <a:pt x="1131" y="283"/>
                    <a:pt x="1131" y="283"/>
                    <a:pt x="1131" y="283"/>
                  </a:cubicBezTo>
                  <a:cubicBezTo>
                    <a:pt x="1143" y="266"/>
                    <a:pt x="1143" y="266"/>
                    <a:pt x="1143" y="266"/>
                  </a:cubicBezTo>
                  <a:cubicBezTo>
                    <a:pt x="1134" y="255"/>
                    <a:pt x="1134" y="255"/>
                    <a:pt x="1134" y="255"/>
                  </a:cubicBezTo>
                  <a:lnTo>
                    <a:pt x="1124" y="270"/>
                  </a:lnTo>
                  <a:close/>
                  <a:moveTo>
                    <a:pt x="1050" y="326"/>
                  </a:moveTo>
                  <a:cubicBezTo>
                    <a:pt x="1047" y="340"/>
                    <a:pt x="1047" y="340"/>
                    <a:pt x="1047" y="340"/>
                  </a:cubicBezTo>
                  <a:cubicBezTo>
                    <a:pt x="1037" y="363"/>
                    <a:pt x="1037" y="363"/>
                    <a:pt x="1037" y="363"/>
                  </a:cubicBezTo>
                  <a:cubicBezTo>
                    <a:pt x="1057" y="351"/>
                    <a:pt x="1057" y="351"/>
                    <a:pt x="1057" y="351"/>
                  </a:cubicBezTo>
                  <a:cubicBezTo>
                    <a:pt x="1057" y="351"/>
                    <a:pt x="1079" y="321"/>
                    <a:pt x="1071" y="316"/>
                  </a:cubicBezTo>
                  <a:cubicBezTo>
                    <a:pt x="1062" y="310"/>
                    <a:pt x="1050" y="326"/>
                    <a:pt x="1050" y="326"/>
                  </a:cubicBezTo>
                  <a:close/>
                  <a:moveTo>
                    <a:pt x="1087" y="283"/>
                  </a:moveTo>
                  <a:cubicBezTo>
                    <a:pt x="1074" y="299"/>
                    <a:pt x="1074" y="299"/>
                    <a:pt x="1074" y="299"/>
                  </a:cubicBezTo>
                  <a:cubicBezTo>
                    <a:pt x="1085" y="304"/>
                    <a:pt x="1085" y="304"/>
                    <a:pt x="1085" y="304"/>
                  </a:cubicBezTo>
                  <a:cubicBezTo>
                    <a:pt x="1096" y="287"/>
                    <a:pt x="1096" y="287"/>
                    <a:pt x="1096" y="287"/>
                  </a:cubicBezTo>
                  <a:lnTo>
                    <a:pt x="1087" y="283"/>
                  </a:lnTo>
                  <a:close/>
                  <a:moveTo>
                    <a:pt x="1855" y="667"/>
                  </a:moveTo>
                  <a:cubicBezTo>
                    <a:pt x="1855" y="650"/>
                    <a:pt x="1839" y="626"/>
                    <a:pt x="1838" y="615"/>
                  </a:cubicBezTo>
                  <a:cubicBezTo>
                    <a:pt x="1837" y="604"/>
                    <a:pt x="1837" y="592"/>
                    <a:pt x="1837" y="583"/>
                  </a:cubicBezTo>
                  <a:cubicBezTo>
                    <a:pt x="1837" y="574"/>
                    <a:pt x="1819" y="558"/>
                    <a:pt x="1819" y="558"/>
                  </a:cubicBezTo>
                  <a:cubicBezTo>
                    <a:pt x="1798" y="554"/>
                    <a:pt x="1798" y="554"/>
                    <a:pt x="1798" y="554"/>
                  </a:cubicBezTo>
                  <a:cubicBezTo>
                    <a:pt x="1764" y="559"/>
                    <a:pt x="1764" y="559"/>
                    <a:pt x="1764" y="559"/>
                  </a:cubicBezTo>
                  <a:cubicBezTo>
                    <a:pt x="1753" y="549"/>
                    <a:pt x="1753" y="549"/>
                    <a:pt x="1753" y="549"/>
                  </a:cubicBezTo>
                  <a:cubicBezTo>
                    <a:pt x="1740" y="548"/>
                    <a:pt x="1740" y="548"/>
                    <a:pt x="1740" y="548"/>
                  </a:cubicBezTo>
                  <a:cubicBezTo>
                    <a:pt x="1728" y="533"/>
                    <a:pt x="1728" y="533"/>
                    <a:pt x="1728" y="533"/>
                  </a:cubicBezTo>
                  <a:cubicBezTo>
                    <a:pt x="1713" y="532"/>
                    <a:pt x="1713" y="532"/>
                    <a:pt x="1713" y="532"/>
                  </a:cubicBezTo>
                  <a:cubicBezTo>
                    <a:pt x="1713" y="532"/>
                    <a:pt x="1695" y="512"/>
                    <a:pt x="1678" y="491"/>
                  </a:cubicBezTo>
                  <a:cubicBezTo>
                    <a:pt x="1661" y="470"/>
                    <a:pt x="1612" y="439"/>
                    <a:pt x="1596" y="438"/>
                  </a:cubicBezTo>
                  <a:cubicBezTo>
                    <a:pt x="1580" y="437"/>
                    <a:pt x="1547" y="439"/>
                    <a:pt x="1547" y="439"/>
                  </a:cubicBezTo>
                  <a:cubicBezTo>
                    <a:pt x="1547" y="449"/>
                    <a:pt x="1547" y="449"/>
                    <a:pt x="1547" y="449"/>
                  </a:cubicBezTo>
                  <a:cubicBezTo>
                    <a:pt x="1547" y="449"/>
                    <a:pt x="1532" y="439"/>
                    <a:pt x="1525" y="436"/>
                  </a:cubicBezTo>
                  <a:cubicBezTo>
                    <a:pt x="1518" y="433"/>
                    <a:pt x="1492" y="432"/>
                    <a:pt x="1492" y="432"/>
                  </a:cubicBezTo>
                  <a:cubicBezTo>
                    <a:pt x="1492" y="432"/>
                    <a:pt x="1464" y="415"/>
                    <a:pt x="1445" y="412"/>
                  </a:cubicBezTo>
                  <a:cubicBezTo>
                    <a:pt x="1426" y="409"/>
                    <a:pt x="1406" y="442"/>
                    <a:pt x="1406" y="442"/>
                  </a:cubicBezTo>
                  <a:cubicBezTo>
                    <a:pt x="1395" y="429"/>
                    <a:pt x="1395" y="429"/>
                    <a:pt x="1395" y="429"/>
                  </a:cubicBezTo>
                  <a:cubicBezTo>
                    <a:pt x="1395" y="451"/>
                    <a:pt x="1395" y="451"/>
                    <a:pt x="1395" y="451"/>
                  </a:cubicBezTo>
                  <a:cubicBezTo>
                    <a:pt x="1375" y="466"/>
                    <a:pt x="1375" y="466"/>
                    <a:pt x="1375" y="466"/>
                  </a:cubicBezTo>
                  <a:cubicBezTo>
                    <a:pt x="1386" y="422"/>
                    <a:pt x="1386" y="422"/>
                    <a:pt x="1386" y="422"/>
                  </a:cubicBezTo>
                  <a:cubicBezTo>
                    <a:pt x="1386" y="422"/>
                    <a:pt x="1404" y="412"/>
                    <a:pt x="1397" y="402"/>
                  </a:cubicBezTo>
                  <a:cubicBezTo>
                    <a:pt x="1390" y="392"/>
                    <a:pt x="1377" y="411"/>
                    <a:pt x="1377" y="411"/>
                  </a:cubicBezTo>
                  <a:cubicBezTo>
                    <a:pt x="1386" y="389"/>
                    <a:pt x="1386" y="389"/>
                    <a:pt x="1386" y="389"/>
                  </a:cubicBezTo>
                  <a:cubicBezTo>
                    <a:pt x="1386" y="389"/>
                    <a:pt x="1377" y="388"/>
                    <a:pt x="1378" y="381"/>
                  </a:cubicBezTo>
                  <a:cubicBezTo>
                    <a:pt x="1379" y="374"/>
                    <a:pt x="1358" y="365"/>
                    <a:pt x="1358" y="365"/>
                  </a:cubicBezTo>
                  <a:cubicBezTo>
                    <a:pt x="1350" y="377"/>
                    <a:pt x="1350" y="377"/>
                    <a:pt x="1350" y="377"/>
                  </a:cubicBezTo>
                  <a:cubicBezTo>
                    <a:pt x="1350" y="377"/>
                    <a:pt x="1337" y="360"/>
                    <a:pt x="1327" y="350"/>
                  </a:cubicBezTo>
                  <a:cubicBezTo>
                    <a:pt x="1317" y="340"/>
                    <a:pt x="1290" y="342"/>
                    <a:pt x="1286" y="338"/>
                  </a:cubicBezTo>
                  <a:cubicBezTo>
                    <a:pt x="1282" y="334"/>
                    <a:pt x="1258" y="316"/>
                    <a:pt x="1258" y="316"/>
                  </a:cubicBezTo>
                  <a:cubicBezTo>
                    <a:pt x="1252" y="324"/>
                    <a:pt x="1252" y="324"/>
                    <a:pt x="1252" y="324"/>
                  </a:cubicBezTo>
                  <a:cubicBezTo>
                    <a:pt x="1252" y="324"/>
                    <a:pt x="1231" y="323"/>
                    <a:pt x="1221" y="322"/>
                  </a:cubicBezTo>
                  <a:cubicBezTo>
                    <a:pt x="1211" y="321"/>
                    <a:pt x="1203" y="356"/>
                    <a:pt x="1203" y="356"/>
                  </a:cubicBezTo>
                  <a:cubicBezTo>
                    <a:pt x="1210" y="368"/>
                    <a:pt x="1210" y="368"/>
                    <a:pt x="1210" y="368"/>
                  </a:cubicBezTo>
                  <a:cubicBezTo>
                    <a:pt x="1210" y="368"/>
                    <a:pt x="1196" y="369"/>
                    <a:pt x="1188" y="369"/>
                  </a:cubicBezTo>
                  <a:cubicBezTo>
                    <a:pt x="1180" y="369"/>
                    <a:pt x="1168" y="391"/>
                    <a:pt x="1168" y="391"/>
                  </a:cubicBezTo>
                  <a:cubicBezTo>
                    <a:pt x="1168" y="391"/>
                    <a:pt x="1161" y="424"/>
                    <a:pt x="1154" y="423"/>
                  </a:cubicBezTo>
                  <a:cubicBezTo>
                    <a:pt x="1147" y="422"/>
                    <a:pt x="1163" y="397"/>
                    <a:pt x="1160" y="386"/>
                  </a:cubicBezTo>
                  <a:cubicBezTo>
                    <a:pt x="1157" y="375"/>
                    <a:pt x="1137" y="396"/>
                    <a:pt x="1137" y="396"/>
                  </a:cubicBezTo>
                  <a:cubicBezTo>
                    <a:pt x="1130" y="390"/>
                    <a:pt x="1130" y="390"/>
                    <a:pt x="1130" y="390"/>
                  </a:cubicBezTo>
                  <a:cubicBezTo>
                    <a:pt x="1130" y="390"/>
                    <a:pt x="1109" y="395"/>
                    <a:pt x="1098" y="388"/>
                  </a:cubicBezTo>
                  <a:cubicBezTo>
                    <a:pt x="1087" y="381"/>
                    <a:pt x="1089" y="371"/>
                    <a:pt x="1089" y="358"/>
                  </a:cubicBezTo>
                  <a:cubicBezTo>
                    <a:pt x="1089" y="345"/>
                    <a:pt x="1084" y="337"/>
                    <a:pt x="1084" y="337"/>
                  </a:cubicBezTo>
                  <a:cubicBezTo>
                    <a:pt x="1077" y="330"/>
                    <a:pt x="1062" y="356"/>
                    <a:pt x="1062" y="356"/>
                  </a:cubicBezTo>
                  <a:cubicBezTo>
                    <a:pt x="1062" y="356"/>
                    <a:pt x="1041" y="371"/>
                    <a:pt x="1029" y="373"/>
                  </a:cubicBezTo>
                  <a:cubicBezTo>
                    <a:pt x="1017" y="375"/>
                    <a:pt x="1003" y="368"/>
                    <a:pt x="1003" y="368"/>
                  </a:cubicBezTo>
                  <a:cubicBezTo>
                    <a:pt x="1029" y="360"/>
                    <a:pt x="1029" y="360"/>
                    <a:pt x="1029" y="360"/>
                  </a:cubicBezTo>
                  <a:cubicBezTo>
                    <a:pt x="1029" y="360"/>
                    <a:pt x="1039" y="348"/>
                    <a:pt x="1042" y="343"/>
                  </a:cubicBezTo>
                  <a:cubicBezTo>
                    <a:pt x="1045" y="338"/>
                    <a:pt x="1044" y="326"/>
                    <a:pt x="1044" y="326"/>
                  </a:cubicBezTo>
                  <a:cubicBezTo>
                    <a:pt x="1044" y="326"/>
                    <a:pt x="1053" y="320"/>
                    <a:pt x="1057" y="308"/>
                  </a:cubicBezTo>
                  <a:cubicBezTo>
                    <a:pt x="1061" y="296"/>
                    <a:pt x="1085" y="277"/>
                    <a:pt x="1095" y="270"/>
                  </a:cubicBezTo>
                  <a:cubicBezTo>
                    <a:pt x="1105" y="263"/>
                    <a:pt x="1107" y="254"/>
                    <a:pt x="1111" y="245"/>
                  </a:cubicBezTo>
                  <a:cubicBezTo>
                    <a:pt x="1115" y="236"/>
                    <a:pt x="1136" y="223"/>
                    <a:pt x="1136" y="223"/>
                  </a:cubicBezTo>
                  <a:cubicBezTo>
                    <a:pt x="1123" y="221"/>
                    <a:pt x="1123" y="221"/>
                    <a:pt x="1123" y="221"/>
                  </a:cubicBezTo>
                  <a:cubicBezTo>
                    <a:pt x="1123" y="221"/>
                    <a:pt x="1135" y="215"/>
                    <a:pt x="1135" y="199"/>
                  </a:cubicBezTo>
                  <a:cubicBezTo>
                    <a:pt x="1135" y="183"/>
                    <a:pt x="1108" y="192"/>
                    <a:pt x="1098" y="181"/>
                  </a:cubicBezTo>
                  <a:cubicBezTo>
                    <a:pt x="1088" y="170"/>
                    <a:pt x="1088" y="147"/>
                    <a:pt x="1084" y="110"/>
                  </a:cubicBezTo>
                  <a:cubicBezTo>
                    <a:pt x="1080" y="73"/>
                    <a:pt x="1072" y="55"/>
                    <a:pt x="1063" y="52"/>
                  </a:cubicBezTo>
                  <a:cubicBezTo>
                    <a:pt x="1054" y="49"/>
                    <a:pt x="1060" y="68"/>
                    <a:pt x="1060" y="72"/>
                  </a:cubicBezTo>
                  <a:cubicBezTo>
                    <a:pt x="1060" y="76"/>
                    <a:pt x="1050" y="71"/>
                    <a:pt x="1048" y="66"/>
                  </a:cubicBezTo>
                  <a:cubicBezTo>
                    <a:pt x="1048" y="66"/>
                    <a:pt x="1043" y="83"/>
                    <a:pt x="1036" y="89"/>
                  </a:cubicBezTo>
                  <a:cubicBezTo>
                    <a:pt x="1029" y="95"/>
                    <a:pt x="1020" y="110"/>
                    <a:pt x="1017" y="120"/>
                  </a:cubicBezTo>
                  <a:cubicBezTo>
                    <a:pt x="1014" y="130"/>
                    <a:pt x="1013" y="149"/>
                    <a:pt x="996" y="163"/>
                  </a:cubicBezTo>
                  <a:cubicBezTo>
                    <a:pt x="996" y="163"/>
                    <a:pt x="981" y="169"/>
                    <a:pt x="975" y="169"/>
                  </a:cubicBezTo>
                  <a:cubicBezTo>
                    <a:pt x="975" y="168"/>
                    <a:pt x="971" y="160"/>
                    <a:pt x="971" y="160"/>
                  </a:cubicBezTo>
                  <a:cubicBezTo>
                    <a:pt x="967" y="165"/>
                    <a:pt x="967" y="165"/>
                    <a:pt x="967" y="165"/>
                  </a:cubicBezTo>
                  <a:cubicBezTo>
                    <a:pt x="957" y="163"/>
                    <a:pt x="957" y="163"/>
                    <a:pt x="957" y="163"/>
                  </a:cubicBezTo>
                  <a:cubicBezTo>
                    <a:pt x="957" y="163"/>
                    <a:pt x="953" y="155"/>
                    <a:pt x="947" y="161"/>
                  </a:cubicBezTo>
                  <a:cubicBezTo>
                    <a:pt x="941" y="167"/>
                    <a:pt x="943" y="173"/>
                    <a:pt x="929" y="172"/>
                  </a:cubicBezTo>
                  <a:cubicBezTo>
                    <a:pt x="915" y="171"/>
                    <a:pt x="913" y="161"/>
                    <a:pt x="913" y="161"/>
                  </a:cubicBezTo>
                  <a:cubicBezTo>
                    <a:pt x="900" y="155"/>
                    <a:pt x="900" y="155"/>
                    <a:pt x="900" y="155"/>
                  </a:cubicBezTo>
                  <a:cubicBezTo>
                    <a:pt x="900" y="155"/>
                    <a:pt x="896" y="144"/>
                    <a:pt x="888" y="145"/>
                  </a:cubicBezTo>
                  <a:cubicBezTo>
                    <a:pt x="880" y="146"/>
                    <a:pt x="871" y="157"/>
                    <a:pt x="871" y="157"/>
                  </a:cubicBezTo>
                  <a:cubicBezTo>
                    <a:pt x="853" y="157"/>
                    <a:pt x="853" y="157"/>
                    <a:pt x="853" y="157"/>
                  </a:cubicBezTo>
                  <a:cubicBezTo>
                    <a:pt x="853" y="157"/>
                    <a:pt x="854" y="148"/>
                    <a:pt x="848" y="149"/>
                  </a:cubicBezTo>
                  <a:cubicBezTo>
                    <a:pt x="842" y="150"/>
                    <a:pt x="838" y="160"/>
                    <a:pt x="841" y="166"/>
                  </a:cubicBezTo>
                  <a:cubicBezTo>
                    <a:pt x="844" y="172"/>
                    <a:pt x="858" y="182"/>
                    <a:pt x="849" y="186"/>
                  </a:cubicBezTo>
                  <a:cubicBezTo>
                    <a:pt x="840" y="190"/>
                    <a:pt x="811" y="174"/>
                    <a:pt x="811" y="174"/>
                  </a:cubicBezTo>
                  <a:cubicBezTo>
                    <a:pt x="811" y="174"/>
                    <a:pt x="815" y="181"/>
                    <a:pt x="807" y="183"/>
                  </a:cubicBezTo>
                  <a:cubicBezTo>
                    <a:pt x="799" y="185"/>
                    <a:pt x="797" y="174"/>
                    <a:pt x="787" y="175"/>
                  </a:cubicBezTo>
                  <a:cubicBezTo>
                    <a:pt x="777" y="176"/>
                    <a:pt x="773" y="192"/>
                    <a:pt x="773" y="192"/>
                  </a:cubicBezTo>
                  <a:cubicBezTo>
                    <a:pt x="752" y="193"/>
                    <a:pt x="752" y="193"/>
                    <a:pt x="752" y="193"/>
                  </a:cubicBezTo>
                  <a:cubicBezTo>
                    <a:pt x="751" y="201"/>
                    <a:pt x="751" y="201"/>
                    <a:pt x="751" y="201"/>
                  </a:cubicBezTo>
                  <a:cubicBezTo>
                    <a:pt x="751" y="201"/>
                    <a:pt x="739" y="198"/>
                    <a:pt x="733" y="202"/>
                  </a:cubicBezTo>
                  <a:cubicBezTo>
                    <a:pt x="727" y="206"/>
                    <a:pt x="732" y="219"/>
                    <a:pt x="722" y="220"/>
                  </a:cubicBezTo>
                  <a:cubicBezTo>
                    <a:pt x="712" y="221"/>
                    <a:pt x="702" y="221"/>
                    <a:pt x="702" y="221"/>
                  </a:cubicBezTo>
                  <a:cubicBezTo>
                    <a:pt x="698" y="210"/>
                    <a:pt x="698" y="210"/>
                    <a:pt x="698" y="210"/>
                  </a:cubicBezTo>
                  <a:cubicBezTo>
                    <a:pt x="689" y="210"/>
                    <a:pt x="689" y="210"/>
                    <a:pt x="689" y="210"/>
                  </a:cubicBezTo>
                  <a:cubicBezTo>
                    <a:pt x="668" y="186"/>
                    <a:pt x="668" y="186"/>
                    <a:pt x="668" y="186"/>
                  </a:cubicBezTo>
                  <a:cubicBezTo>
                    <a:pt x="668" y="186"/>
                    <a:pt x="668" y="174"/>
                    <a:pt x="668" y="166"/>
                  </a:cubicBezTo>
                  <a:cubicBezTo>
                    <a:pt x="668" y="158"/>
                    <a:pt x="651" y="155"/>
                    <a:pt x="651" y="145"/>
                  </a:cubicBezTo>
                  <a:cubicBezTo>
                    <a:pt x="651" y="135"/>
                    <a:pt x="659" y="119"/>
                    <a:pt x="659" y="119"/>
                  </a:cubicBezTo>
                  <a:cubicBezTo>
                    <a:pt x="664" y="91"/>
                    <a:pt x="664" y="91"/>
                    <a:pt x="664" y="91"/>
                  </a:cubicBezTo>
                  <a:cubicBezTo>
                    <a:pt x="664" y="91"/>
                    <a:pt x="677" y="79"/>
                    <a:pt x="678" y="73"/>
                  </a:cubicBezTo>
                  <a:cubicBezTo>
                    <a:pt x="679" y="67"/>
                    <a:pt x="670" y="63"/>
                    <a:pt x="670" y="63"/>
                  </a:cubicBezTo>
                  <a:cubicBezTo>
                    <a:pt x="671" y="44"/>
                    <a:pt x="671" y="44"/>
                    <a:pt x="671" y="44"/>
                  </a:cubicBezTo>
                  <a:cubicBezTo>
                    <a:pt x="671" y="44"/>
                    <a:pt x="649" y="50"/>
                    <a:pt x="649" y="41"/>
                  </a:cubicBezTo>
                  <a:cubicBezTo>
                    <a:pt x="649" y="41"/>
                    <a:pt x="661" y="29"/>
                    <a:pt x="658" y="15"/>
                  </a:cubicBezTo>
                  <a:cubicBezTo>
                    <a:pt x="655" y="1"/>
                    <a:pt x="646" y="0"/>
                    <a:pt x="646" y="0"/>
                  </a:cubicBezTo>
                  <a:cubicBezTo>
                    <a:pt x="641" y="7"/>
                    <a:pt x="641" y="7"/>
                    <a:pt x="641" y="7"/>
                  </a:cubicBezTo>
                  <a:cubicBezTo>
                    <a:pt x="625" y="5"/>
                    <a:pt x="625" y="5"/>
                    <a:pt x="625" y="5"/>
                  </a:cubicBezTo>
                  <a:cubicBezTo>
                    <a:pt x="625" y="5"/>
                    <a:pt x="631" y="19"/>
                    <a:pt x="627" y="26"/>
                  </a:cubicBezTo>
                  <a:cubicBezTo>
                    <a:pt x="623" y="33"/>
                    <a:pt x="612" y="31"/>
                    <a:pt x="612" y="31"/>
                  </a:cubicBezTo>
                  <a:cubicBezTo>
                    <a:pt x="614" y="41"/>
                    <a:pt x="614" y="41"/>
                    <a:pt x="614" y="41"/>
                  </a:cubicBezTo>
                  <a:cubicBezTo>
                    <a:pt x="596" y="40"/>
                    <a:pt x="596" y="40"/>
                    <a:pt x="596" y="40"/>
                  </a:cubicBezTo>
                  <a:cubicBezTo>
                    <a:pt x="596" y="40"/>
                    <a:pt x="584" y="45"/>
                    <a:pt x="582" y="51"/>
                  </a:cubicBezTo>
                  <a:cubicBezTo>
                    <a:pt x="580" y="57"/>
                    <a:pt x="566" y="64"/>
                    <a:pt x="559" y="64"/>
                  </a:cubicBezTo>
                  <a:cubicBezTo>
                    <a:pt x="552" y="64"/>
                    <a:pt x="546" y="56"/>
                    <a:pt x="538" y="59"/>
                  </a:cubicBezTo>
                  <a:cubicBezTo>
                    <a:pt x="530" y="62"/>
                    <a:pt x="533" y="96"/>
                    <a:pt x="524" y="96"/>
                  </a:cubicBezTo>
                  <a:cubicBezTo>
                    <a:pt x="515" y="96"/>
                    <a:pt x="504" y="77"/>
                    <a:pt x="500" y="73"/>
                  </a:cubicBezTo>
                  <a:cubicBezTo>
                    <a:pt x="496" y="69"/>
                    <a:pt x="491" y="77"/>
                    <a:pt x="491" y="77"/>
                  </a:cubicBezTo>
                  <a:cubicBezTo>
                    <a:pt x="481" y="71"/>
                    <a:pt x="481" y="71"/>
                    <a:pt x="481" y="71"/>
                  </a:cubicBezTo>
                  <a:cubicBezTo>
                    <a:pt x="481" y="71"/>
                    <a:pt x="469" y="79"/>
                    <a:pt x="467" y="76"/>
                  </a:cubicBezTo>
                  <a:cubicBezTo>
                    <a:pt x="465" y="73"/>
                    <a:pt x="471" y="64"/>
                    <a:pt x="460" y="60"/>
                  </a:cubicBezTo>
                  <a:cubicBezTo>
                    <a:pt x="449" y="56"/>
                    <a:pt x="440" y="64"/>
                    <a:pt x="437" y="61"/>
                  </a:cubicBezTo>
                  <a:cubicBezTo>
                    <a:pt x="434" y="58"/>
                    <a:pt x="431" y="52"/>
                    <a:pt x="431" y="52"/>
                  </a:cubicBezTo>
                  <a:cubicBezTo>
                    <a:pt x="431" y="52"/>
                    <a:pt x="421" y="71"/>
                    <a:pt x="443" y="82"/>
                  </a:cubicBezTo>
                  <a:cubicBezTo>
                    <a:pt x="465" y="93"/>
                    <a:pt x="450" y="117"/>
                    <a:pt x="450" y="117"/>
                  </a:cubicBezTo>
                  <a:cubicBezTo>
                    <a:pt x="450" y="117"/>
                    <a:pt x="463" y="128"/>
                    <a:pt x="463" y="135"/>
                  </a:cubicBezTo>
                  <a:cubicBezTo>
                    <a:pt x="463" y="142"/>
                    <a:pt x="463" y="151"/>
                    <a:pt x="463" y="151"/>
                  </a:cubicBezTo>
                  <a:cubicBezTo>
                    <a:pt x="493" y="154"/>
                    <a:pt x="493" y="154"/>
                    <a:pt x="493" y="154"/>
                  </a:cubicBezTo>
                  <a:cubicBezTo>
                    <a:pt x="493" y="154"/>
                    <a:pt x="500" y="168"/>
                    <a:pt x="488" y="174"/>
                  </a:cubicBezTo>
                  <a:cubicBezTo>
                    <a:pt x="476" y="180"/>
                    <a:pt x="463" y="177"/>
                    <a:pt x="463" y="177"/>
                  </a:cubicBezTo>
                  <a:cubicBezTo>
                    <a:pt x="463" y="177"/>
                    <a:pt x="464" y="202"/>
                    <a:pt x="451" y="206"/>
                  </a:cubicBezTo>
                  <a:cubicBezTo>
                    <a:pt x="438" y="210"/>
                    <a:pt x="433" y="214"/>
                    <a:pt x="433" y="214"/>
                  </a:cubicBezTo>
                  <a:cubicBezTo>
                    <a:pt x="431" y="220"/>
                    <a:pt x="431" y="220"/>
                    <a:pt x="431" y="220"/>
                  </a:cubicBezTo>
                  <a:cubicBezTo>
                    <a:pt x="431" y="220"/>
                    <a:pt x="419" y="218"/>
                    <a:pt x="413" y="222"/>
                  </a:cubicBezTo>
                  <a:cubicBezTo>
                    <a:pt x="407" y="226"/>
                    <a:pt x="401" y="251"/>
                    <a:pt x="393" y="251"/>
                  </a:cubicBezTo>
                  <a:cubicBezTo>
                    <a:pt x="385" y="251"/>
                    <a:pt x="396" y="234"/>
                    <a:pt x="387" y="232"/>
                  </a:cubicBezTo>
                  <a:cubicBezTo>
                    <a:pt x="378" y="230"/>
                    <a:pt x="367" y="252"/>
                    <a:pt x="357" y="246"/>
                  </a:cubicBezTo>
                  <a:cubicBezTo>
                    <a:pt x="357" y="246"/>
                    <a:pt x="345" y="244"/>
                    <a:pt x="341" y="239"/>
                  </a:cubicBezTo>
                  <a:cubicBezTo>
                    <a:pt x="337" y="234"/>
                    <a:pt x="330" y="221"/>
                    <a:pt x="330" y="221"/>
                  </a:cubicBezTo>
                  <a:cubicBezTo>
                    <a:pt x="313" y="221"/>
                    <a:pt x="313" y="221"/>
                    <a:pt x="313" y="221"/>
                  </a:cubicBezTo>
                  <a:cubicBezTo>
                    <a:pt x="313" y="221"/>
                    <a:pt x="313" y="193"/>
                    <a:pt x="311" y="187"/>
                  </a:cubicBezTo>
                  <a:cubicBezTo>
                    <a:pt x="309" y="181"/>
                    <a:pt x="306" y="180"/>
                    <a:pt x="306" y="180"/>
                  </a:cubicBezTo>
                  <a:cubicBezTo>
                    <a:pt x="306" y="180"/>
                    <a:pt x="311" y="173"/>
                    <a:pt x="304" y="170"/>
                  </a:cubicBezTo>
                  <a:cubicBezTo>
                    <a:pt x="297" y="167"/>
                    <a:pt x="288" y="190"/>
                    <a:pt x="282" y="191"/>
                  </a:cubicBezTo>
                  <a:cubicBezTo>
                    <a:pt x="276" y="192"/>
                    <a:pt x="271" y="176"/>
                    <a:pt x="265" y="176"/>
                  </a:cubicBezTo>
                  <a:cubicBezTo>
                    <a:pt x="259" y="176"/>
                    <a:pt x="259" y="193"/>
                    <a:pt x="259" y="193"/>
                  </a:cubicBezTo>
                  <a:cubicBezTo>
                    <a:pt x="215" y="197"/>
                    <a:pt x="215" y="197"/>
                    <a:pt x="215" y="197"/>
                  </a:cubicBezTo>
                  <a:cubicBezTo>
                    <a:pt x="215" y="197"/>
                    <a:pt x="201" y="184"/>
                    <a:pt x="192" y="189"/>
                  </a:cubicBezTo>
                  <a:cubicBezTo>
                    <a:pt x="183" y="194"/>
                    <a:pt x="191" y="223"/>
                    <a:pt x="191" y="223"/>
                  </a:cubicBezTo>
                  <a:cubicBezTo>
                    <a:pt x="207" y="230"/>
                    <a:pt x="207" y="230"/>
                    <a:pt x="207" y="230"/>
                  </a:cubicBezTo>
                  <a:cubicBezTo>
                    <a:pt x="214" y="228"/>
                    <a:pt x="214" y="228"/>
                    <a:pt x="214" y="228"/>
                  </a:cubicBezTo>
                  <a:cubicBezTo>
                    <a:pt x="214" y="228"/>
                    <a:pt x="233" y="248"/>
                    <a:pt x="220" y="250"/>
                  </a:cubicBezTo>
                  <a:cubicBezTo>
                    <a:pt x="207" y="252"/>
                    <a:pt x="198" y="248"/>
                    <a:pt x="198" y="248"/>
                  </a:cubicBezTo>
                  <a:cubicBezTo>
                    <a:pt x="176" y="253"/>
                    <a:pt x="176" y="253"/>
                    <a:pt x="176" y="253"/>
                  </a:cubicBezTo>
                  <a:cubicBezTo>
                    <a:pt x="174" y="295"/>
                    <a:pt x="174" y="295"/>
                    <a:pt x="174" y="295"/>
                  </a:cubicBezTo>
                  <a:cubicBezTo>
                    <a:pt x="174" y="295"/>
                    <a:pt x="195" y="304"/>
                    <a:pt x="197" y="313"/>
                  </a:cubicBezTo>
                  <a:cubicBezTo>
                    <a:pt x="199" y="322"/>
                    <a:pt x="200" y="334"/>
                    <a:pt x="200" y="334"/>
                  </a:cubicBezTo>
                  <a:cubicBezTo>
                    <a:pt x="200" y="334"/>
                    <a:pt x="214" y="349"/>
                    <a:pt x="213" y="356"/>
                  </a:cubicBezTo>
                  <a:cubicBezTo>
                    <a:pt x="212" y="363"/>
                    <a:pt x="202" y="374"/>
                    <a:pt x="202" y="374"/>
                  </a:cubicBezTo>
                  <a:cubicBezTo>
                    <a:pt x="204" y="408"/>
                    <a:pt x="204" y="408"/>
                    <a:pt x="204" y="408"/>
                  </a:cubicBezTo>
                  <a:cubicBezTo>
                    <a:pt x="193" y="438"/>
                    <a:pt x="193" y="438"/>
                    <a:pt x="193" y="438"/>
                  </a:cubicBezTo>
                  <a:cubicBezTo>
                    <a:pt x="191" y="488"/>
                    <a:pt x="191" y="488"/>
                    <a:pt x="191" y="488"/>
                  </a:cubicBezTo>
                  <a:cubicBezTo>
                    <a:pt x="191" y="488"/>
                    <a:pt x="188" y="515"/>
                    <a:pt x="183" y="518"/>
                  </a:cubicBezTo>
                  <a:cubicBezTo>
                    <a:pt x="178" y="521"/>
                    <a:pt x="171" y="518"/>
                    <a:pt x="171" y="518"/>
                  </a:cubicBezTo>
                  <a:cubicBezTo>
                    <a:pt x="171" y="518"/>
                    <a:pt x="167" y="505"/>
                    <a:pt x="157" y="506"/>
                  </a:cubicBezTo>
                  <a:cubicBezTo>
                    <a:pt x="147" y="507"/>
                    <a:pt x="136" y="522"/>
                    <a:pt x="136" y="522"/>
                  </a:cubicBezTo>
                  <a:cubicBezTo>
                    <a:pt x="117" y="519"/>
                    <a:pt x="117" y="519"/>
                    <a:pt x="117" y="519"/>
                  </a:cubicBezTo>
                  <a:cubicBezTo>
                    <a:pt x="115" y="526"/>
                    <a:pt x="115" y="526"/>
                    <a:pt x="115" y="526"/>
                  </a:cubicBezTo>
                  <a:cubicBezTo>
                    <a:pt x="94" y="526"/>
                    <a:pt x="94" y="526"/>
                    <a:pt x="94" y="526"/>
                  </a:cubicBezTo>
                  <a:cubicBezTo>
                    <a:pt x="94" y="526"/>
                    <a:pt x="68" y="543"/>
                    <a:pt x="66" y="547"/>
                  </a:cubicBezTo>
                  <a:cubicBezTo>
                    <a:pt x="64" y="551"/>
                    <a:pt x="63" y="559"/>
                    <a:pt x="63" y="559"/>
                  </a:cubicBezTo>
                  <a:cubicBezTo>
                    <a:pt x="47" y="559"/>
                    <a:pt x="47" y="559"/>
                    <a:pt x="47" y="559"/>
                  </a:cubicBezTo>
                  <a:cubicBezTo>
                    <a:pt x="46" y="597"/>
                    <a:pt x="46" y="597"/>
                    <a:pt x="46" y="597"/>
                  </a:cubicBezTo>
                  <a:cubicBezTo>
                    <a:pt x="46" y="597"/>
                    <a:pt x="31" y="606"/>
                    <a:pt x="33" y="613"/>
                  </a:cubicBezTo>
                  <a:cubicBezTo>
                    <a:pt x="35" y="620"/>
                    <a:pt x="45" y="645"/>
                    <a:pt x="39" y="636"/>
                  </a:cubicBezTo>
                  <a:cubicBezTo>
                    <a:pt x="33" y="627"/>
                    <a:pt x="20" y="644"/>
                    <a:pt x="12" y="652"/>
                  </a:cubicBezTo>
                  <a:cubicBezTo>
                    <a:pt x="4" y="660"/>
                    <a:pt x="9" y="674"/>
                    <a:pt x="9" y="674"/>
                  </a:cubicBezTo>
                  <a:cubicBezTo>
                    <a:pt x="15" y="678"/>
                    <a:pt x="15" y="678"/>
                    <a:pt x="15" y="678"/>
                  </a:cubicBezTo>
                  <a:cubicBezTo>
                    <a:pt x="15" y="678"/>
                    <a:pt x="0" y="686"/>
                    <a:pt x="0" y="691"/>
                  </a:cubicBezTo>
                  <a:cubicBezTo>
                    <a:pt x="0" y="696"/>
                    <a:pt x="15" y="702"/>
                    <a:pt x="15" y="702"/>
                  </a:cubicBezTo>
                  <a:cubicBezTo>
                    <a:pt x="17" y="720"/>
                    <a:pt x="17" y="720"/>
                    <a:pt x="17" y="720"/>
                  </a:cubicBezTo>
                  <a:cubicBezTo>
                    <a:pt x="17" y="720"/>
                    <a:pt x="30" y="741"/>
                    <a:pt x="35" y="747"/>
                  </a:cubicBezTo>
                  <a:cubicBezTo>
                    <a:pt x="40" y="753"/>
                    <a:pt x="62" y="768"/>
                    <a:pt x="60" y="773"/>
                  </a:cubicBezTo>
                  <a:cubicBezTo>
                    <a:pt x="58" y="778"/>
                    <a:pt x="43" y="791"/>
                    <a:pt x="43" y="791"/>
                  </a:cubicBezTo>
                  <a:cubicBezTo>
                    <a:pt x="43" y="791"/>
                    <a:pt x="79" y="790"/>
                    <a:pt x="82" y="797"/>
                  </a:cubicBezTo>
                  <a:cubicBezTo>
                    <a:pt x="85" y="804"/>
                    <a:pt x="93" y="823"/>
                    <a:pt x="93" y="823"/>
                  </a:cubicBezTo>
                  <a:cubicBezTo>
                    <a:pt x="135" y="819"/>
                    <a:pt x="135" y="819"/>
                    <a:pt x="135" y="819"/>
                  </a:cubicBezTo>
                  <a:cubicBezTo>
                    <a:pt x="169" y="789"/>
                    <a:pt x="169" y="789"/>
                    <a:pt x="169" y="789"/>
                  </a:cubicBezTo>
                  <a:cubicBezTo>
                    <a:pt x="169" y="789"/>
                    <a:pt x="174" y="812"/>
                    <a:pt x="172" y="816"/>
                  </a:cubicBezTo>
                  <a:cubicBezTo>
                    <a:pt x="170" y="820"/>
                    <a:pt x="165" y="834"/>
                    <a:pt x="167" y="844"/>
                  </a:cubicBezTo>
                  <a:cubicBezTo>
                    <a:pt x="169" y="854"/>
                    <a:pt x="170" y="874"/>
                    <a:pt x="170" y="874"/>
                  </a:cubicBezTo>
                  <a:cubicBezTo>
                    <a:pt x="177" y="873"/>
                    <a:pt x="177" y="873"/>
                    <a:pt x="177" y="873"/>
                  </a:cubicBezTo>
                  <a:cubicBezTo>
                    <a:pt x="177" y="873"/>
                    <a:pt x="177" y="881"/>
                    <a:pt x="185" y="881"/>
                  </a:cubicBezTo>
                  <a:cubicBezTo>
                    <a:pt x="193" y="881"/>
                    <a:pt x="189" y="872"/>
                    <a:pt x="200" y="872"/>
                  </a:cubicBezTo>
                  <a:cubicBezTo>
                    <a:pt x="211" y="872"/>
                    <a:pt x="246" y="875"/>
                    <a:pt x="246" y="875"/>
                  </a:cubicBezTo>
                  <a:cubicBezTo>
                    <a:pt x="246" y="875"/>
                    <a:pt x="249" y="886"/>
                    <a:pt x="262" y="883"/>
                  </a:cubicBezTo>
                  <a:cubicBezTo>
                    <a:pt x="275" y="880"/>
                    <a:pt x="283" y="871"/>
                    <a:pt x="283" y="871"/>
                  </a:cubicBezTo>
                  <a:cubicBezTo>
                    <a:pt x="288" y="859"/>
                    <a:pt x="288" y="859"/>
                    <a:pt x="288" y="859"/>
                  </a:cubicBezTo>
                  <a:cubicBezTo>
                    <a:pt x="312" y="858"/>
                    <a:pt x="312" y="858"/>
                    <a:pt x="312" y="858"/>
                  </a:cubicBezTo>
                  <a:cubicBezTo>
                    <a:pt x="316" y="840"/>
                    <a:pt x="316" y="840"/>
                    <a:pt x="316" y="840"/>
                  </a:cubicBezTo>
                  <a:cubicBezTo>
                    <a:pt x="340" y="841"/>
                    <a:pt x="340" y="841"/>
                    <a:pt x="340" y="841"/>
                  </a:cubicBezTo>
                  <a:cubicBezTo>
                    <a:pt x="340" y="841"/>
                    <a:pt x="350" y="815"/>
                    <a:pt x="363" y="815"/>
                  </a:cubicBezTo>
                  <a:cubicBezTo>
                    <a:pt x="376" y="815"/>
                    <a:pt x="386" y="816"/>
                    <a:pt x="386" y="816"/>
                  </a:cubicBezTo>
                  <a:cubicBezTo>
                    <a:pt x="395" y="808"/>
                    <a:pt x="395" y="808"/>
                    <a:pt x="395" y="808"/>
                  </a:cubicBezTo>
                  <a:cubicBezTo>
                    <a:pt x="395" y="808"/>
                    <a:pt x="404" y="818"/>
                    <a:pt x="405" y="814"/>
                  </a:cubicBezTo>
                  <a:cubicBezTo>
                    <a:pt x="406" y="810"/>
                    <a:pt x="419" y="802"/>
                    <a:pt x="423" y="806"/>
                  </a:cubicBezTo>
                  <a:cubicBezTo>
                    <a:pt x="427" y="810"/>
                    <a:pt x="419" y="837"/>
                    <a:pt x="419" y="837"/>
                  </a:cubicBezTo>
                  <a:cubicBezTo>
                    <a:pt x="419" y="837"/>
                    <a:pt x="411" y="850"/>
                    <a:pt x="412" y="854"/>
                  </a:cubicBezTo>
                  <a:cubicBezTo>
                    <a:pt x="413" y="858"/>
                    <a:pt x="422" y="866"/>
                    <a:pt x="422" y="875"/>
                  </a:cubicBezTo>
                  <a:cubicBezTo>
                    <a:pt x="422" y="884"/>
                    <a:pt x="415" y="890"/>
                    <a:pt x="422" y="899"/>
                  </a:cubicBezTo>
                  <a:cubicBezTo>
                    <a:pt x="429" y="908"/>
                    <a:pt x="436" y="912"/>
                    <a:pt x="436" y="912"/>
                  </a:cubicBezTo>
                  <a:cubicBezTo>
                    <a:pt x="442" y="932"/>
                    <a:pt x="442" y="932"/>
                    <a:pt x="442" y="932"/>
                  </a:cubicBezTo>
                  <a:cubicBezTo>
                    <a:pt x="442" y="932"/>
                    <a:pt x="458" y="930"/>
                    <a:pt x="461" y="935"/>
                  </a:cubicBezTo>
                  <a:cubicBezTo>
                    <a:pt x="464" y="940"/>
                    <a:pt x="460" y="951"/>
                    <a:pt x="470" y="955"/>
                  </a:cubicBezTo>
                  <a:cubicBezTo>
                    <a:pt x="480" y="959"/>
                    <a:pt x="484" y="959"/>
                    <a:pt x="488" y="960"/>
                  </a:cubicBezTo>
                  <a:cubicBezTo>
                    <a:pt x="492" y="961"/>
                    <a:pt x="502" y="954"/>
                    <a:pt x="502" y="954"/>
                  </a:cubicBezTo>
                  <a:cubicBezTo>
                    <a:pt x="502" y="954"/>
                    <a:pt x="508" y="968"/>
                    <a:pt x="516" y="968"/>
                  </a:cubicBezTo>
                  <a:cubicBezTo>
                    <a:pt x="524" y="968"/>
                    <a:pt x="531" y="961"/>
                    <a:pt x="532" y="965"/>
                  </a:cubicBezTo>
                  <a:cubicBezTo>
                    <a:pt x="533" y="969"/>
                    <a:pt x="541" y="981"/>
                    <a:pt x="552" y="986"/>
                  </a:cubicBezTo>
                  <a:cubicBezTo>
                    <a:pt x="563" y="991"/>
                    <a:pt x="579" y="992"/>
                    <a:pt x="579" y="992"/>
                  </a:cubicBezTo>
                  <a:cubicBezTo>
                    <a:pt x="579" y="992"/>
                    <a:pt x="588" y="1012"/>
                    <a:pt x="598" y="1013"/>
                  </a:cubicBezTo>
                  <a:cubicBezTo>
                    <a:pt x="608" y="1014"/>
                    <a:pt x="619" y="1009"/>
                    <a:pt x="630" y="1011"/>
                  </a:cubicBezTo>
                  <a:cubicBezTo>
                    <a:pt x="641" y="1013"/>
                    <a:pt x="661" y="1022"/>
                    <a:pt x="662" y="1032"/>
                  </a:cubicBezTo>
                  <a:cubicBezTo>
                    <a:pt x="663" y="1042"/>
                    <a:pt x="658" y="1045"/>
                    <a:pt x="662" y="1052"/>
                  </a:cubicBezTo>
                  <a:cubicBezTo>
                    <a:pt x="666" y="1059"/>
                    <a:pt x="673" y="1071"/>
                    <a:pt x="673" y="1071"/>
                  </a:cubicBezTo>
                  <a:cubicBezTo>
                    <a:pt x="675" y="1092"/>
                    <a:pt x="675" y="1092"/>
                    <a:pt x="675" y="1092"/>
                  </a:cubicBezTo>
                  <a:cubicBezTo>
                    <a:pt x="675" y="1092"/>
                    <a:pt x="660" y="1090"/>
                    <a:pt x="662" y="1096"/>
                  </a:cubicBezTo>
                  <a:cubicBezTo>
                    <a:pt x="664" y="1102"/>
                    <a:pt x="680" y="1116"/>
                    <a:pt x="680" y="1116"/>
                  </a:cubicBezTo>
                  <a:cubicBezTo>
                    <a:pt x="680" y="1116"/>
                    <a:pt x="670" y="1147"/>
                    <a:pt x="683" y="1156"/>
                  </a:cubicBezTo>
                  <a:cubicBezTo>
                    <a:pt x="696" y="1165"/>
                    <a:pt x="773" y="1163"/>
                    <a:pt x="773" y="1163"/>
                  </a:cubicBezTo>
                  <a:cubicBezTo>
                    <a:pt x="773" y="1163"/>
                    <a:pt x="762" y="1197"/>
                    <a:pt x="769" y="1206"/>
                  </a:cubicBezTo>
                  <a:cubicBezTo>
                    <a:pt x="776" y="1215"/>
                    <a:pt x="785" y="1216"/>
                    <a:pt x="796" y="1223"/>
                  </a:cubicBezTo>
                  <a:cubicBezTo>
                    <a:pt x="807" y="1230"/>
                    <a:pt x="816" y="1248"/>
                    <a:pt x="816" y="1262"/>
                  </a:cubicBezTo>
                  <a:cubicBezTo>
                    <a:pt x="816" y="1276"/>
                    <a:pt x="811" y="1302"/>
                    <a:pt x="811" y="1302"/>
                  </a:cubicBezTo>
                  <a:cubicBezTo>
                    <a:pt x="815" y="1310"/>
                    <a:pt x="815" y="1310"/>
                    <a:pt x="815" y="1310"/>
                  </a:cubicBezTo>
                  <a:cubicBezTo>
                    <a:pt x="815" y="1310"/>
                    <a:pt x="798" y="1337"/>
                    <a:pt x="800" y="1342"/>
                  </a:cubicBezTo>
                  <a:cubicBezTo>
                    <a:pt x="802" y="1347"/>
                    <a:pt x="814" y="1357"/>
                    <a:pt x="814" y="1357"/>
                  </a:cubicBezTo>
                  <a:cubicBezTo>
                    <a:pt x="814" y="1357"/>
                    <a:pt x="799" y="1365"/>
                    <a:pt x="799" y="1371"/>
                  </a:cubicBezTo>
                  <a:cubicBezTo>
                    <a:pt x="799" y="1377"/>
                    <a:pt x="808" y="1379"/>
                    <a:pt x="810" y="1386"/>
                  </a:cubicBezTo>
                  <a:cubicBezTo>
                    <a:pt x="812" y="1393"/>
                    <a:pt x="806" y="1402"/>
                    <a:pt x="810" y="1406"/>
                  </a:cubicBezTo>
                  <a:cubicBezTo>
                    <a:pt x="814" y="1410"/>
                    <a:pt x="819" y="1405"/>
                    <a:pt x="819" y="1414"/>
                  </a:cubicBezTo>
                  <a:cubicBezTo>
                    <a:pt x="819" y="1423"/>
                    <a:pt x="804" y="1459"/>
                    <a:pt x="820" y="1468"/>
                  </a:cubicBezTo>
                  <a:cubicBezTo>
                    <a:pt x="836" y="1477"/>
                    <a:pt x="880" y="1484"/>
                    <a:pt x="895" y="1481"/>
                  </a:cubicBezTo>
                  <a:cubicBezTo>
                    <a:pt x="910" y="1478"/>
                    <a:pt x="928" y="1478"/>
                    <a:pt x="932" y="1486"/>
                  </a:cubicBezTo>
                  <a:cubicBezTo>
                    <a:pt x="936" y="1494"/>
                    <a:pt x="932" y="1511"/>
                    <a:pt x="937" y="1531"/>
                  </a:cubicBezTo>
                  <a:cubicBezTo>
                    <a:pt x="942" y="1551"/>
                    <a:pt x="946" y="1572"/>
                    <a:pt x="957" y="1574"/>
                  </a:cubicBezTo>
                  <a:cubicBezTo>
                    <a:pt x="968" y="1576"/>
                    <a:pt x="972" y="1560"/>
                    <a:pt x="987" y="1564"/>
                  </a:cubicBezTo>
                  <a:cubicBezTo>
                    <a:pt x="1002" y="1568"/>
                    <a:pt x="1006" y="1576"/>
                    <a:pt x="1004" y="1596"/>
                  </a:cubicBezTo>
                  <a:cubicBezTo>
                    <a:pt x="1002" y="1616"/>
                    <a:pt x="1000" y="1626"/>
                    <a:pt x="998" y="1631"/>
                  </a:cubicBezTo>
                  <a:cubicBezTo>
                    <a:pt x="996" y="1636"/>
                    <a:pt x="995" y="1651"/>
                    <a:pt x="995" y="1651"/>
                  </a:cubicBezTo>
                  <a:cubicBezTo>
                    <a:pt x="998" y="1664"/>
                    <a:pt x="998" y="1664"/>
                    <a:pt x="998" y="1664"/>
                  </a:cubicBezTo>
                  <a:cubicBezTo>
                    <a:pt x="998" y="1664"/>
                    <a:pt x="1014" y="1653"/>
                    <a:pt x="1021" y="1657"/>
                  </a:cubicBezTo>
                  <a:cubicBezTo>
                    <a:pt x="1028" y="1661"/>
                    <a:pt x="1032" y="1682"/>
                    <a:pt x="1032" y="1682"/>
                  </a:cubicBezTo>
                  <a:cubicBezTo>
                    <a:pt x="1032" y="1682"/>
                    <a:pt x="1043" y="1681"/>
                    <a:pt x="1043" y="1690"/>
                  </a:cubicBezTo>
                  <a:cubicBezTo>
                    <a:pt x="1043" y="1699"/>
                    <a:pt x="1051" y="1737"/>
                    <a:pt x="1045" y="1743"/>
                  </a:cubicBezTo>
                  <a:cubicBezTo>
                    <a:pt x="1039" y="1749"/>
                    <a:pt x="1022" y="1751"/>
                    <a:pt x="1011" y="1756"/>
                  </a:cubicBezTo>
                  <a:cubicBezTo>
                    <a:pt x="1000" y="1761"/>
                    <a:pt x="1000" y="1779"/>
                    <a:pt x="1000" y="1779"/>
                  </a:cubicBezTo>
                  <a:cubicBezTo>
                    <a:pt x="979" y="1781"/>
                    <a:pt x="979" y="1781"/>
                    <a:pt x="979" y="1781"/>
                  </a:cubicBezTo>
                  <a:cubicBezTo>
                    <a:pt x="978" y="1792"/>
                    <a:pt x="978" y="1792"/>
                    <a:pt x="978" y="1792"/>
                  </a:cubicBezTo>
                  <a:cubicBezTo>
                    <a:pt x="972" y="1794"/>
                    <a:pt x="972" y="1794"/>
                    <a:pt x="972" y="1794"/>
                  </a:cubicBezTo>
                  <a:cubicBezTo>
                    <a:pt x="969" y="1810"/>
                    <a:pt x="969" y="1810"/>
                    <a:pt x="969" y="1810"/>
                  </a:cubicBezTo>
                  <a:cubicBezTo>
                    <a:pt x="953" y="1814"/>
                    <a:pt x="953" y="1814"/>
                    <a:pt x="953" y="1814"/>
                  </a:cubicBezTo>
                  <a:cubicBezTo>
                    <a:pt x="953" y="1814"/>
                    <a:pt x="950" y="1837"/>
                    <a:pt x="945" y="1842"/>
                  </a:cubicBezTo>
                  <a:cubicBezTo>
                    <a:pt x="940" y="1847"/>
                    <a:pt x="931" y="1852"/>
                    <a:pt x="931" y="1855"/>
                  </a:cubicBezTo>
                  <a:cubicBezTo>
                    <a:pt x="931" y="1858"/>
                    <a:pt x="928" y="1873"/>
                    <a:pt x="923" y="1878"/>
                  </a:cubicBezTo>
                  <a:cubicBezTo>
                    <a:pt x="918" y="1883"/>
                    <a:pt x="903" y="1882"/>
                    <a:pt x="903" y="1888"/>
                  </a:cubicBezTo>
                  <a:cubicBezTo>
                    <a:pt x="903" y="1894"/>
                    <a:pt x="899" y="1911"/>
                    <a:pt x="899" y="1911"/>
                  </a:cubicBezTo>
                  <a:cubicBezTo>
                    <a:pt x="915" y="1912"/>
                    <a:pt x="915" y="1912"/>
                    <a:pt x="915" y="1912"/>
                  </a:cubicBezTo>
                  <a:cubicBezTo>
                    <a:pt x="915" y="1912"/>
                    <a:pt x="921" y="1902"/>
                    <a:pt x="933" y="1904"/>
                  </a:cubicBezTo>
                  <a:cubicBezTo>
                    <a:pt x="945" y="1906"/>
                    <a:pt x="970" y="1933"/>
                    <a:pt x="970" y="1933"/>
                  </a:cubicBezTo>
                  <a:cubicBezTo>
                    <a:pt x="970" y="1933"/>
                    <a:pt x="980" y="1956"/>
                    <a:pt x="986" y="1956"/>
                  </a:cubicBezTo>
                  <a:cubicBezTo>
                    <a:pt x="992" y="1956"/>
                    <a:pt x="991" y="1942"/>
                    <a:pt x="1001" y="1945"/>
                  </a:cubicBezTo>
                  <a:cubicBezTo>
                    <a:pt x="1011" y="1948"/>
                    <a:pt x="1020" y="1964"/>
                    <a:pt x="1025" y="1967"/>
                  </a:cubicBezTo>
                  <a:cubicBezTo>
                    <a:pt x="1030" y="1970"/>
                    <a:pt x="1037" y="1969"/>
                    <a:pt x="1037" y="1969"/>
                  </a:cubicBezTo>
                  <a:cubicBezTo>
                    <a:pt x="1037" y="1969"/>
                    <a:pt x="1045" y="1976"/>
                    <a:pt x="1049" y="1978"/>
                  </a:cubicBezTo>
                  <a:cubicBezTo>
                    <a:pt x="1053" y="1980"/>
                    <a:pt x="1055" y="1993"/>
                    <a:pt x="1067" y="1997"/>
                  </a:cubicBezTo>
                  <a:cubicBezTo>
                    <a:pt x="1079" y="2001"/>
                    <a:pt x="1086" y="2000"/>
                    <a:pt x="1086" y="2000"/>
                  </a:cubicBezTo>
                  <a:cubicBezTo>
                    <a:pt x="1086" y="2000"/>
                    <a:pt x="1096" y="2024"/>
                    <a:pt x="1104" y="2029"/>
                  </a:cubicBezTo>
                  <a:cubicBezTo>
                    <a:pt x="1112" y="2034"/>
                    <a:pt x="1131" y="2033"/>
                    <a:pt x="1126" y="2042"/>
                  </a:cubicBezTo>
                  <a:cubicBezTo>
                    <a:pt x="1121" y="2051"/>
                    <a:pt x="1111" y="2064"/>
                    <a:pt x="1112" y="2071"/>
                  </a:cubicBezTo>
                  <a:cubicBezTo>
                    <a:pt x="1113" y="2078"/>
                    <a:pt x="1119" y="2078"/>
                    <a:pt x="1119" y="2078"/>
                  </a:cubicBezTo>
                  <a:cubicBezTo>
                    <a:pt x="1118" y="2099"/>
                    <a:pt x="1118" y="2099"/>
                    <a:pt x="1118" y="2099"/>
                  </a:cubicBezTo>
                  <a:cubicBezTo>
                    <a:pt x="1128" y="2098"/>
                    <a:pt x="1128" y="2098"/>
                    <a:pt x="1128" y="2098"/>
                  </a:cubicBezTo>
                  <a:cubicBezTo>
                    <a:pt x="1128" y="2096"/>
                    <a:pt x="1128" y="2096"/>
                    <a:pt x="1128" y="2096"/>
                  </a:cubicBezTo>
                  <a:cubicBezTo>
                    <a:pt x="1128" y="2096"/>
                    <a:pt x="1151" y="2070"/>
                    <a:pt x="1156" y="2061"/>
                  </a:cubicBezTo>
                  <a:cubicBezTo>
                    <a:pt x="1161" y="2052"/>
                    <a:pt x="1153" y="2031"/>
                    <a:pt x="1153" y="2031"/>
                  </a:cubicBezTo>
                  <a:cubicBezTo>
                    <a:pt x="1165" y="2013"/>
                    <a:pt x="1165" y="2013"/>
                    <a:pt x="1165" y="2013"/>
                  </a:cubicBezTo>
                  <a:cubicBezTo>
                    <a:pt x="1165" y="2013"/>
                    <a:pt x="1155" y="2005"/>
                    <a:pt x="1155" y="1995"/>
                  </a:cubicBezTo>
                  <a:cubicBezTo>
                    <a:pt x="1155" y="1985"/>
                    <a:pt x="1165" y="1984"/>
                    <a:pt x="1165" y="1984"/>
                  </a:cubicBezTo>
                  <a:cubicBezTo>
                    <a:pt x="1167" y="1968"/>
                    <a:pt x="1167" y="1968"/>
                    <a:pt x="1167" y="1968"/>
                  </a:cubicBezTo>
                  <a:cubicBezTo>
                    <a:pt x="1167" y="1968"/>
                    <a:pt x="1179" y="1966"/>
                    <a:pt x="1183" y="1962"/>
                  </a:cubicBezTo>
                  <a:cubicBezTo>
                    <a:pt x="1187" y="1958"/>
                    <a:pt x="1186" y="1944"/>
                    <a:pt x="1186" y="1936"/>
                  </a:cubicBezTo>
                  <a:cubicBezTo>
                    <a:pt x="1186" y="1928"/>
                    <a:pt x="1204" y="1911"/>
                    <a:pt x="1213" y="1909"/>
                  </a:cubicBezTo>
                  <a:cubicBezTo>
                    <a:pt x="1222" y="1907"/>
                    <a:pt x="1219" y="1931"/>
                    <a:pt x="1219" y="1931"/>
                  </a:cubicBezTo>
                  <a:cubicBezTo>
                    <a:pt x="1219" y="1931"/>
                    <a:pt x="1213" y="1941"/>
                    <a:pt x="1210" y="1943"/>
                  </a:cubicBezTo>
                  <a:cubicBezTo>
                    <a:pt x="1207" y="1945"/>
                    <a:pt x="1208" y="1956"/>
                    <a:pt x="1208" y="1956"/>
                  </a:cubicBezTo>
                  <a:cubicBezTo>
                    <a:pt x="1201" y="1960"/>
                    <a:pt x="1201" y="1960"/>
                    <a:pt x="1201" y="1960"/>
                  </a:cubicBezTo>
                  <a:cubicBezTo>
                    <a:pt x="1201" y="1969"/>
                    <a:pt x="1201" y="1969"/>
                    <a:pt x="1201" y="1969"/>
                  </a:cubicBezTo>
                  <a:cubicBezTo>
                    <a:pt x="1184" y="1987"/>
                    <a:pt x="1184" y="1987"/>
                    <a:pt x="1184" y="1987"/>
                  </a:cubicBezTo>
                  <a:cubicBezTo>
                    <a:pt x="1163" y="2002"/>
                    <a:pt x="1163" y="2002"/>
                    <a:pt x="1163" y="2002"/>
                  </a:cubicBezTo>
                  <a:cubicBezTo>
                    <a:pt x="1163" y="2002"/>
                    <a:pt x="1170" y="2008"/>
                    <a:pt x="1177" y="2006"/>
                  </a:cubicBezTo>
                  <a:cubicBezTo>
                    <a:pt x="1182" y="2005"/>
                    <a:pt x="1182" y="1993"/>
                    <a:pt x="1187" y="1990"/>
                  </a:cubicBezTo>
                  <a:cubicBezTo>
                    <a:pt x="1191" y="1986"/>
                    <a:pt x="1198" y="1989"/>
                    <a:pt x="1200" y="1987"/>
                  </a:cubicBezTo>
                  <a:cubicBezTo>
                    <a:pt x="1206" y="1978"/>
                    <a:pt x="1228" y="1944"/>
                    <a:pt x="1233" y="1920"/>
                  </a:cubicBezTo>
                  <a:cubicBezTo>
                    <a:pt x="1238" y="1896"/>
                    <a:pt x="1248" y="1874"/>
                    <a:pt x="1252" y="1860"/>
                  </a:cubicBezTo>
                  <a:cubicBezTo>
                    <a:pt x="1256" y="1846"/>
                    <a:pt x="1284" y="1829"/>
                    <a:pt x="1286" y="1825"/>
                  </a:cubicBezTo>
                  <a:cubicBezTo>
                    <a:pt x="1288" y="1821"/>
                    <a:pt x="1281" y="1811"/>
                    <a:pt x="1281" y="1811"/>
                  </a:cubicBezTo>
                  <a:cubicBezTo>
                    <a:pt x="1294" y="1802"/>
                    <a:pt x="1294" y="1802"/>
                    <a:pt x="1294" y="1802"/>
                  </a:cubicBezTo>
                  <a:cubicBezTo>
                    <a:pt x="1290" y="1778"/>
                    <a:pt x="1290" y="1778"/>
                    <a:pt x="1290" y="1778"/>
                  </a:cubicBezTo>
                  <a:cubicBezTo>
                    <a:pt x="1294" y="1764"/>
                    <a:pt x="1294" y="1764"/>
                    <a:pt x="1294" y="1764"/>
                  </a:cubicBezTo>
                  <a:cubicBezTo>
                    <a:pt x="1285" y="1759"/>
                    <a:pt x="1285" y="1759"/>
                    <a:pt x="1285" y="1759"/>
                  </a:cubicBezTo>
                  <a:cubicBezTo>
                    <a:pt x="1285" y="1759"/>
                    <a:pt x="1292" y="1750"/>
                    <a:pt x="1292" y="1742"/>
                  </a:cubicBezTo>
                  <a:cubicBezTo>
                    <a:pt x="1292" y="1734"/>
                    <a:pt x="1277" y="1728"/>
                    <a:pt x="1277" y="1728"/>
                  </a:cubicBezTo>
                  <a:cubicBezTo>
                    <a:pt x="1276" y="1705"/>
                    <a:pt x="1276" y="1705"/>
                    <a:pt x="1276" y="1705"/>
                  </a:cubicBezTo>
                  <a:cubicBezTo>
                    <a:pt x="1266" y="1694"/>
                    <a:pt x="1266" y="1694"/>
                    <a:pt x="1266" y="1694"/>
                  </a:cubicBezTo>
                  <a:cubicBezTo>
                    <a:pt x="1280" y="1695"/>
                    <a:pt x="1280" y="1695"/>
                    <a:pt x="1280" y="1695"/>
                  </a:cubicBezTo>
                  <a:cubicBezTo>
                    <a:pt x="1279" y="1678"/>
                    <a:pt x="1279" y="1678"/>
                    <a:pt x="1279" y="1678"/>
                  </a:cubicBezTo>
                  <a:cubicBezTo>
                    <a:pt x="1270" y="1673"/>
                    <a:pt x="1270" y="1673"/>
                    <a:pt x="1270" y="1673"/>
                  </a:cubicBezTo>
                  <a:cubicBezTo>
                    <a:pt x="1270" y="1673"/>
                    <a:pt x="1282" y="1670"/>
                    <a:pt x="1282" y="1665"/>
                  </a:cubicBezTo>
                  <a:cubicBezTo>
                    <a:pt x="1282" y="1660"/>
                    <a:pt x="1266" y="1650"/>
                    <a:pt x="1266" y="1650"/>
                  </a:cubicBezTo>
                  <a:cubicBezTo>
                    <a:pt x="1282" y="1639"/>
                    <a:pt x="1282" y="1639"/>
                    <a:pt x="1282" y="1639"/>
                  </a:cubicBezTo>
                  <a:cubicBezTo>
                    <a:pt x="1282" y="1639"/>
                    <a:pt x="1295" y="1653"/>
                    <a:pt x="1301" y="1652"/>
                  </a:cubicBezTo>
                  <a:cubicBezTo>
                    <a:pt x="1307" y="1651"/>
                    <a:pt x="1303" y="1639"/>
                    <a:pt x="1303" y="1639"/>
                  </a:cubicBezTo>
                  <a:cubicBezTo>
                    <a:pt x="1303" y="1639"/>
                    <a:pt x="1303" y="1627"/>
                    <a:pt x="1311" y="1617"/>
                  </a:cubicBezTo>
                  <a:cubicBezTo>
                    <a:pt x="1319" y="1607"/>
                    <a:pt x="1331" y="1610"/>
                    <a:pt x="1337" y="1605"/>
                  </a:cubicBezTo>
                  <a:cubicBezTo>
                    <a:pt x="1343" y="1600"/>
                    <a:pt x="1340" y="1596"/>
                    <a:pt x="1343" y="1589"/>
                  </a:cubicBezTo>
                  <a:cubicBezTo>
                    <a:pt x="1346" y="1582"/>
                    <a:pt x="1364" y="1579"/>
                    <a:pt x="1364" y="1579"/>
                  </a:cubicBezTo>
                  <a:cubicBezTo>
                    <a:pt x="1366" y="1571"/>
                    <a:pt x="1366" y="1571"/>
                    <a:pt x="1366" y="1571"/>
                  </a:cubicBezTo>
                  <a:cubicBezTo>
                    <a:pt x="1366" y="1571"/>
                    <a:pt x="1372" y="1574"/>
                    <a:pt x="1377" y="1573"/>
                  </a:cubicBezTo>
                  <a:cubicBezTo>
                    <a:pt x="1382" y="1572"/>
                    <a:pt x="1381" y="1560"/>
                    <a:pt x="1387" y="1559"/>
                  </a:cubicBezTo>
                  <a:cubicBezTo>
                    <a:pt x="1393" y="1558"/>
                    <a:pt x="1412" y="1561"/>
                    <a:pt x="1412" y="1561"/>
                  </a:cubicBezTo>
                  <a:cubicBezTo>
                    <a:pt x="1416" y="1571"/>
                    <a:pt x="1416" y="1571"/>
                    <a:pt x="1416" y="1571"/>
                  </a:cubicBezTo>
                  <a:cubicBezTo>
                    <a:pt x="1427" y="1569"/>
                    <a:pt x="1427" y="1569"/>
                    <a:pt x="1427" y="1569"/>
                  </a:cubicBezTo>
                  <a:cubicBezTo>
                    <a:pt x="1414" y="1554"/>
                    <a:pt x="1414" y="1554"/>
                    <a:pt x="1414" y="1554"/>
                  </a:cubicBezTo>
                  <a:cubicBezTo>
                    <a:pt x="1414" y="1554"/>
                    <a:pt x="1423" y="1550"/>
                    <a:pt x="1427" y="1545"/>
                  </a:cubicBezTo>
                  <a:cubicBezTo>
                    <a:pt x="1431" y="1540"/>
                    <a:pt x="1453" y="1539"/>
                    <a:pt x="1453" y="1539"/>
                  </a:cubicBezTo>
                  <a:cubicBezTo>
                    <a:pt x="1442" y="1529"/>
                    <a:pt x="1442" y="1529"/>
                    <a:pt x="1442" y="1529"/>
                  </a:cubicBezTo>
                  <a:cubicBezTo>
                    <a:pt x="1442" y="1529"/>
                    <a:pt x="1454" y="1519"/>
                    <a:pt x="1459" y="1519"/>
                  </a:cubicBezTo>
                  <a:cubicBezTo>
                    <a:pt x="1464" y="1519"/>
                    <a:pt x="1460" y="1535"/>
                    <a:pt x="1463" y="1535"/>
                  </a:cubicBezTo>
                  <a:cubicBezTo>
                    <a:pt x="1466" y="1535"/>
                    <a:pt x="1472" y="1518"/>
                    <a:pt x="1472" y="1518"/>
                  </a:cubicBezTo>
                  <a:cubicBezTo>
                    <a:pt x="1497" y="1523"/>
                    <a:pt x="1497" y="1523"/>
                    <a:pt x="1497" y="1523"/>
                  </a:cubicBezTo>
                  <a:cubicBezTo>
                    <a:pt x="1497" y="1523"/>
                    <a:pt x="1502" y="1503"/>
                    <a:pt x="1513" y="1502"/>
                  </a:cubicBezTo>
                  <a:cubicBezTo>
                    <a:pt x="1524" y="1501"/>
                    <a:pt x="1521" y="1523"/>
                    <a:pt x="1521" y="1523"/>
                  </a:cubicBezTo>
                  <a:cubicBezTo>
                    <a:pt x="1566" y="1518"/>
                    <a:pt x="1566" y="1518"/>
                    <a:pt x="1566" y="1518"/>
                  </a:cubicBezTo>
                  <a:cubicBezTo>
                    <a:pt x="1571" y="1506"/>
                    <a:pt x="1571" y="1506"/>
                    <a:pt x="1571" y="1506"/>
                  </a:cubicBezTo>
                  <a:cubicBezTo>
                    <a:pt x="1565" y="1499"/>
                    <a:pt x="1565" y="1499"/>
                    <a:pt x="1565" y="1499"/>
                  </a:cubicBezTo>
                  <a:cubicBezTo>
                    <a:pt x="1565" y="1499"/>
                    <a:pt x="1571" y="1491"/>
                    <a:pt x="1577" y="1482"/>
                  </a:cubicBezTo>
                  <a:cubicBezTo>
                    <a:pt x="1583" y="1473"/>
                    <a:pt x="1613" y="1468"/>
                    <a:pt x="1613" y="1468"/>
                  </a:cubicBezTo>
                  <a:cubicBezTo>
                    <a:pt x="1613" y="1468"/>
                    <a:pt x="1610" y="1455"/>
                    <a:pt x="1610" y="1452"/>
                  </a:cubicBezTo>
                  <a:cubicBezTo>
                    <a:pt x="1610" y="1449"/>
                    <a:pt x="1611" y="1408"/>
                    <a:pt x="1611" y="1408"/>
                  </a:cubicBezTo>
                  <a:cubicBezTo>
                    <a:pt x="1629" y="1388"/>
                    <a:pt x="1629" y="1388"/>
                    <a:pt x="1629" y="1388"/>
                  </a:cubicBezTo>
                  <a:cubicBezTo>
                    <a:pt x="1629" y="1372"/>
                    <a:pt x="1629" y="1372"/>
                    <a:pt x="1629" y="1372"/>
                  </a:cubicBezTo>
                  <a:cubicBezTo>
                    <a:pt x="1642" y="1369"/>
                    <a:pt x="1642" y="1369"/>
                    <a:pt x="1642" y="1369"/>
                  </a:cubicBezTo>
                  <a:cubicBezTo>
                    <a:pt x="1642" y="1347"/>
                    <a:pt x="1642" y="1347"/>
                    <a:pt x="1642" y="1347"/>
                  </a:cubicBezTo>
                  <a:cubicBezTo>
                    <a:pt x="1642" y="1347"/>
                    <a:pt x="1651" y="1342"/>
                    <a:pt x="1655" y="1342"/>
                  </a:cubicBezTo>
                  <a:cubicBezTo>
                    <a:pt x="1659" y="1342"/>
                    <a:pt x="1659" y="1317"/>
                    <a:pt x="1659" y="1317"/>
                  </a:cubicBezTo>
                  <a:cubicBezTo>
                    <a:pt x="1659" y="1317"/>
                    <a:pt x="1653" y="1288"/>
                    <a:pt x="1651" y="1273"/>
                  </a:cubicBezTo>
                  <a:cubicBezTo>
                    <a:pt x="1649" y="1258"/>
                    <a:pt x="1667" y="1246"/>
                    <a:pt x="1674" y="1240"/>
                  </a:cubicBezTo>
                  <a:cubicBezTo>
                    <a:pt x="1681" y="1234"/>
                    <a:pt x="1671" y="1213"/>
                    <a:pt x="1671" y="1213"/>
                  </a:cubicBezTo>
                  <a:cubicBezTo>
                    <a:pt x="1675" y="1175"/>
                    <a:pt x="1675" y="1175"/>
                    <a:pt x="1675" y="1175"/>
                  </a:cubicBezTo>
                  <a:cubicBezTo>
                    <a:pt x="1675" y="1175"/>
                    <a:pt x="1683" y="1145"/>
                    <a:pt x="1682" y="1134"/>
                  </a:cubicBezTo>
                  <a:cubicBezTo>
                    <a:pt x="1681" y="1123"/>
                    <a:pt x="1669" y="1065"/>
                    <a:pt x="1669" y="1065"/>
                  </a:cubicBezTo>
                  <a:cubicBezTo>
                    <a:pt x="1674" y="1041"/>
                    <a:pt x="1674" y="1041"/>
                    <a:pt x="1674" y="1041"/>
                  </a:cubicBezTo>
                  <a:cubicBezTo>
                    <a:pt x="1674" y="1041"/>
                    <a:pt x="1665" y="1010"/>
                    <a:pt x="1668" y="1002"/>
                  </a:cubicBezTo>
                  <a:cubicBezTo>
                    <a:pt x="1671" y="994"/>
                    <a:pt x="1682" y="984"/>
                    <a:pt x="1682" y="984"/>
                  </a:cubicBezTo>
                  <a:cubicBezTo>
                    <a:pt x="1674" y="972"/>
                    <a:pt x="1674" y="972"/>
                    <a:pt x="1674" y="972"/>
                  </a:cubicBezTo>
                  <a:cubicBezTo>
                    <a:pt x="1674" y="972"/>
                    <a:pt x="1681" y="962"/>
                    <a:pt x="1685" y="962"/>
                  </a:cubicBezTo>
                  <a:cubicBezTo>
                    <a:pt x="1689" y="962"/>
                    <a:pt x="1698" y="981"/>
                    <a:pt x="1698" y="981"/>
                  </a:cubicBezTo>
                  <a:cubicBezTo>
                    <a:pt x="1698" y="981"/>
                    <a:pt x="1720" y="961"/>
                    <a:pt x="1727" y="951"/>
                  </a:cubicBezTo>
                  <a:cubicBezTo>
                    <a:pt x="1734" y="941"/>
                    <a:pt x="1739" y="897"/>
                    <a:pt x="1739" y="897"/>
                  </a:cubicBezTo>
                  <a:cubicBezTo>
                    <a:pt x="1739" y="897"/>
                    <a:pt x="1745" y="893"/>
                    <a:pt x="1751" y="889"/>
                  </a:cubicBezTo>
                  <a:cubicBezTo>
                    <a:pt x="1757" y="885"/>
                    <a:pt x="1762" y="863"/>
                    <a:pt x="1762" y="863"/>
                  </a:cubicBezTo>
                  <a:cubicBezTo>
                    <a:pt x="1762" y="863"/>
                    <a:pt x="1775" y="856"/>
                    <a:pt x="1782" y="855"/>
                  </a:cubicBezTo>
                  <a:cubicBezTo>
                    <a:pt x="1789" y="854"/>
                    <a:pt x="1789" y="834"/>
                    <a:pt x="1789" y="834"/>
                  </a:cubicBezTo>
                  <a:cubicBezTo>
                    <a:pt x="1789" y="834"/>
                    <a:pt x="1803" y="829"/>
                    <a:pt x="1816" y="811"/>
                  </a:cubicBezTo>
                  <a:cubicBezTo>
                    <a:pt x="1829" y="793"/>
                    <a:pt x="1844" y="746"/>
                    <a:pt x="1844" y="746"/>
                  </a:cubicBezTo>
                  <a:cubicBezTo>
                    <a:pt x="1844" y="746"/>
                    <a:pt x="1856" y="733"/>
                    <a:pt x="1857" y="727"/>
                  </a:cubicBezTo>
                  <a:cubicBezTo>
                    <a:pt x="1858" y="721"/>
                    <a:pt x="1852" y="705"/>
                    <a:pt x="1852" y="705"/>
                  </a:cubicBezTo>
                  <a:cubicBezTo>
                    <a:pt x="1852" y="705"/>
                    <a:pt x="1855" y="684"/>
                    <a:pt x="1855" y="667"/>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81" name="Freeform 142"/>
            <p:cNvSpPr>
              <a:spLocks noEditPoints="1"/>
            </p:cNvSpPr>
            <p:nvPr/>
          </p:nvSpPr>
          <p:spPr bwMode="gray">
            <a:xfrm>
              <a:off x="2401888" y="4503738"/>
              <a:ext cx="431800" cy="1131888"/>
            </a:xfrm>
            <a:custGeom>
              <a:avLst/>
              <a:gdLst>
                <a:gd name="T0" fmla="*/ 550 w 771"/>
                <a:gd name="T1" fmla="*/ 1864 h 2022"/>
                <a:gd name="T2" fmla="*/ 572 w 771"/>
                <a:gd name="T3" fmla="*/ 1906 h 2022"/>
                <a:gd name="T4" fmla="*/ 567 w 771"/>
                <a:gd name="T5" fmla="*/ 1954 h 2022"/>
                <a:gd name="T6" fmla="*/ 690 w 771"/>
                <a:gd name="T7" fmla="*/ 1981 h 2022"/>
                <a:gd name="T8" fmla="*/ 658 w 771"/>
                <a:gd name="T9" fmla="*/ 1993 h 2022"/>
                <a:gd name="T10" fmla="*/ 617 w 771"/>
                <a:gd name="T11" fmla="*/ 1988 h 2022"/>
                <a:gd name="T12" fmla="*/ 663 w 771"/>
                <a:gd name="T13" fmla="*/ 2010 h 2022"/>
                <a:gd name="T14" fmla="*/ 500 w 771"/>
                <a:gd name="T15" fmla="*/ 1974 h 2022"/>
                <a:gd name="T16" fmla="*/ 526 w 771"/>
                <a:gd name="T17" fmla="*/ 1935 h 2022"/>
                <a:gd name="T18" fmla="*/ 471 w 771"/>
                <a:gd name="T19" fmla="*/ 1945 h 2022"/>
                <a:gd name="T20" fmla="*/ 397 w 771"/>
                <a:gd name="T21" fmla="*/ 1867 h 2022"/>
                <a:gd name="T22" fmla="*/ 345 w 771"/>
                <a:gd name="T23" fmla="*/ 1873 h 2022"/>
                <a:gd name="T24" fmla="*/ 355 w 771"/>
                <a:gd name="T25" fmla="*/ 1822 h 2022"/>
                <a:gd name="T26" fmla="*/ 326 w 771"/>
                <a:gd name="T27" fmla="*/ 1841 h 2022"/>
                <a:gd name="T28" fmla="*/ 342 w 771"/>
                <a:gd name="T29" fmla="*/ 1820 h 2022"/>
                <a:gd name="T30" fmla="*/ 287 w 771"/>
                <a:gd name="T31" fmla="*/ 1789 h 2022"/>
                <a:gd name="T32" fmla="*/ 267 w 771"/>
                <a:gd name="T33" fmla="*/ 1739 h 2022"/>
                <a:gd name="T34" fmla="*/ 257 w 771"/>
                <a:gd name="T35" fmla="*/ 1697 h 2022"/>
                <a:gd name="T36" fmla="*/ 208 w 771"/>
                <a:gd name="T37" fmla="*/ 1688 h 2022"/>
                <a:gd name="T38" fmla="*/ 144 w 771"/>
                <a:gd name="T39" fmla="*/ 1339 h 2022"/>
                <a:gd name="T40" fmla="*/ 163 w 771"/>
                <a:gd name="T41" fmla="*/ 1391 h 2022"/>
                <a:gd name="T42" fmla="*/ 186 w 771"/>
                <a:gd name="T43" fmla="*/ 1483 h 2022"/>
                <a:gd name="T44" fmla="*/ 212 w 771"/>
                <a:gd name="T45" fmla="*/ 1463 h 2022"/>
                <a:gd name="T46" fmla="*/ 143 w 771"/>
                <a:gd name="T47" fmla="*/ 1440 h 2022"/>
                <a:gd name="T48" fmla="*/ 498 w 771"/>
                <a:gd name="T49" fmla="*/ 1874 h 2022"/>
                <a:gd name="T50" fmla="*/ 449 w 771"/>
                <a:gd name="T51" fmla="*/ 1842 h 2022"/>
                <a:gd name="T52" fmla="*/ 338 w 771"/>
                <a:gd name="T53" fmla="*/ 1747 h 2022"/>
                <a:gd name="T54" fmla="*/ 317 w 771"/>
                <a:gd name="T55" fmla="*/ 1650 h 2022"/>
                <a:gd name="T56" fmla="*/ 304 w 771"/>
                <a:gd name="T57" fmla="*/ 1533 h 2022"/>
                <a:gd name="T58" fmla="*/ 272 w 771"/>
                <a:gd name="T59" fmla="*/ 1443 h 2022"/>
                <a:gd name="T60" fmla="*/ 215 w 771"/>
                <a:gd name="T61" fmla="*/ 1320 h 2022"/>
                <a:gd name="T62" fmla="*/ 187 w 771"/>
                <a:gd name="T63" fmla="*/ 1196 h 2022"/>
                <a:gd name="T64" fmla="*/ 165 w 771"/>
                <a:gd name="T65" fmla="*/ 1085 h 2022"/>
                <a:gd name="T66" fmla="*/ 166 w 771"/>
                <a:gd name="T67" fmla="*/ 954 h 2022"/>
                <a:gd name="T68" fmla="*/ 142 w 771"/>
                <a:gd name="T69" fmla="*/ 815 h 2022"/>
                <a:gd name="T70" fmla="*/ 109 w 771"/>
                <a:gd name="T71" fmla="*/ 685 h 2022"/>
                <a:gd name="T72" fmla="*/ 162 w 771"/>
                <a:gd name="T73" fmla="*/ 498 h 2022"/>
                <a:gd name="T74" fmla="*/ 184 w 771"/>
                <a:gd name="T75" fmla="*/ 293 h 2022"/>
                <a:gd name="T76" fmla="*/ 97 w 771"/>
                <a:gd name="T77" fmla="*/ 161 h 2022"/>
                <a:gd name="T78" fmla="*/ 45 w 771"/>
                <a:gd name="T79" fmla="*/ 22 h 2022"/>
                <a:gd name="T80" fmla="*/ 24 w 771"/>
                <a:gd name="T81" fmla="*/ 182 h 2022"/>
                <a:gd name="T82" fmla="*/ 47 w 771"/>
                <a:gd name="T83" fmla="*/ 417 h 2022"/>
                <a:gd name="T84" fmla="*/ 34 w 771"/>
                <a:gd name="T85" fmla="*/ 559 h 2022"/>
                <a:gd name="T86" fmla="*/ 47 w 771"/>
                <a:gd name="T87" fmla="*/ 720 h 2022"/>
                <a:gd name="T88" fmla="*/ 82 w 771"/>
                <a:gd name="T89" fmla="*/ 947 h 2022"/>
                <a:gd name="T90" fmla="*/ 72 w 771"/>
                <a:gd name="T91" fmla="*/ 1102 h 2022"/>
                <a:gd name="T92" fmla="*/ 129 w 771"/>
                <a:gd name="T93" fmla="*/ 1299 h 2022"/>
                <a:gd name="T94" fmla="*/ 193 w 771"/>
                <a:gd name="T95" fmla="*/ 1313 h 2022"/>
                <a:gd name="T96" fmla="*/ 212 w 771"/>
                <a:gd name="T97" fmla="*/ 1403 h 2022"/>
                <a:gd name="T98" fmla="*/ 252 w 771"/>
                <a:gd name="T99" fmla="*/ 1497 h 2022"/>
                <a:gd name="T100" fmla="*/ 214 w 771"/>
                <a:gd name="T101" fmla="*/ 1535 h 2022"/>
                <a:gd name="T102" fmla="*/ 176 w 771"/>
                <a:gd name="T103" fmla="*/ 1528 h 2022"/>
                <a:gd name="T104" fmla="*/ 214 w 771"/>
                <a:gd name="T105" fmla="*/ 1567 h 2022"/>
                <a:gd name="T106" fmla="*/ 257 w 771"/>
                <a:gd name="T107" fmla="*/ 1604 h 2022"/>
                <a:gd name="T108" fmla="*/ 265 w 771"/>
                <a:gd name="T109" fmla="*/ 1686 h 2022"/>
                <a:gd name="T110" fmla="*/ 298 w 771"/>
                <a:gd name="T111" fmla="*/ 1731 h 2022"/>
                <a:gd name="T112" fmla="*/ 331 w 771"/>
                <a:gd name="T113" fmla="*/ 1762 h 2022"/>
                <a:gd name="T114" fmla="*/ 407 w 771"/>
                <a:gd name="T115" fmla="*/ 1821 h 2022"/>
                <a:gd name="T116" fmla="*/ 434 w 771"/>
                <a:gd name="T117" fmla="*/ 1876 h 2022"/>
                <a:gd name="T118" fmla="*/ 459 w 771"/>
                <a:gd name="T119" fmla="*/ 1893 h 2022"/>
                <a:gd name="T120" fmla="*/ 428 w 771"/>
                <a:gd name="T121" fmla="*/ 1927 h 20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71" h="2022">
                  <a:moveTo>
                    <a:pt x="677" y="1942"/>
                  </a:moveTo>
                  <a:cubicBezTo>
                    <a:pt x="625" y="1916"/>
                    <a:pt x="625" y="1903"/>
                    <a:pt x="625" y="1903"/>
                  </a:cubicBezTo>
                  <a:cubicBezTo>
                    <a:pt x="602" y="1903"/>
                    <a:pt x="602" y="1903"/>
                    <a:pt x="602" y="1903"/>
                  </a:cubicBezTo>
                  <a:cubicBezTo>
                    <a:pt x="606" y="1892"/>
                    <a:pt x="606" y="1892"/>
                    <a:pt x="606" y="1892"/>
                  </a:cubicBezTo>
                  <a:cubicBezTo>
                    <a:pt x="580" y="1866"/>
                    <a:pt x="580" y="1866"/>
                    <a:pt x="580" y="1866"/>
                  </a:cubicBezTo>
                  <a:cubicBezTo>
                    <a:pt x="559" y="1872"/>
                    <a:pt x="559" y="1872"/>
                    <a:pt x="559" y="1872"/>
                  </a:cubicBezTo>
                  <a:cubicBezTo>
                    <a:pt x="550" y="1864"/>
                    <a:pt x="550" y="1864"/>
                    <a:pt x="550" y="1864"/>
                  </a:cubicBezTo>
                  <a:cubicBezTo>
                    <a:pt x="543" y="1876"/>
                    <a:pt x="543" y="1876"/>
                    <a:pt x="543" y="1876"/>
                  </a:cubicBezTo>
                  <a:cubicBezTo>
                    <a:pt x="530" y="1879"/>
                    <a:pt x="530" y="1879"/>
                    <a:pt x="530" y="1879"/>
                  </a:cubicBezTo>
                  <a:cubicBezTo>
                    <a:pt x="531" y="1890"/>
                    <a:pt x="531" y="1890"/>
                    <a:pt x="531" y="1890"/>
                  </a:cubicBezTo>
                  <a:cubicBezTo>
                    <a:pt x="520" y="1892"/>
                    <a:pt x="520" y="1892"/>
                    <a:pt x="520" y="1892"/>
                  </a:cubicBezTo>
                  <a:cubicBezTo>
                    <a:pt x="521" y="1910"/>
                    <a:pt x="521" y="1910"/>
                    <a:pt x="521" y="1910"/>
                  </a:cubicBezTo>
                  <a:cubicBezTo>
                    <a:pt x="534" y="1923"/>
                    <a:pt x="557" y="1900"/>
                    <a:pt x="557" y="1900"/>
                  </a:cubicBezTo>
                  <a:cubicBezTo>
                    <a:pt x="572" y="1906"/>
                    <a:pt x="572" y="1906"/>
                    <a:pt x="572" y="1906"/>
                  </a:cubicBezTo>
                  <a:cubicBezTo>
                    <a:pt x="572" y="1919"/>
                    <a:pt x="572" y="1919"/>
                    <a:pt x="572" y="1919"/>
                  </a:cubicBezTo>
                  <a:cubicBezTo>
                    <a:pt x="572" y="1919"/>
                    <a:pt x="541" y="1934"/>
                    <a:pt x="552" y="1938"/>
                  </a:cubicBezTo>
                  <a:cubicBezTo>
                    <a:pt x="562" y="1942"/>
                    <a:pt x="615" y="1960"/>
                    <a:pt x="615" y="1960"/>
                  </a:cubicBezTo>
                  <a:cubicBezTo>
                    <a:pt x="605" y="1974"/>
                    <a:pt x="605" y="1974"/>
                    <a:pt x="605" y="1974"/>
                  </a:cubicBezTo>
                  <a:cubicBezTo>
                    <a:pt x="605" y="1974"/>
                    <a:pt x="602" y="1961"/>
                    <a:pt x="592" y="1961"/>
                  </a:cubicBezTo>
                  <a:cubicBezTo>
                    <a:pt x="582" y="1961"/>
                    <a:pt x="579" y="1968"/>
                    <a:pt x="579" y="1968"/>
                  </a:cubicBezTo>
                  <a:cubicBezTo>
                    <a:pt x="567" y="1954"/>
                    <a:pt x="567" y="1954"/>
                    <a:pt x="567" y="1954"/>
                  </a:cubicBezTo>
                  <a:cubicBezTo>
                    <a:pt x="556" y="1958"/>
                    <a:pt x="556" y="1958"/>
                    <a:pt x="556" y="1958"/>
                  </a:cubicBezTo>
                  <a:cubicBezTo>
                    <a:pt x="565" y="1965"/>
                    <a:pt x="565" y="1965"/>
                    <a:pt x="565" y="1965"/>
                  </a:cubicBezTo>
                  <a:cubicBezTo>
                    <a:pt x="544" y="1962"/>
                    <a:pt x="544" y="1962"/>
                    <a:pt x="544" y="1962"/>
                  </a:cubicBezTo>
                  <a:cubicBezTo>
                    <a:pt x="544" y="1962"/>
                    <a:pt x="550" y="1978"/>
                    <a:pt x="566" y="1978"/>
                  </a:cubicBezTo>
                  <a:cubicBezTo>
                    <a:pt x="582" y="1978"/>
                    <a:pt x="595" y="1978"/>
                    <a:pt x="595" y="1978"/>
                  </a:cubicBezTo>
                  <a:cubicBezTo>
                    <a:pt x="595" y="1978"/>
                    <a:pt x="611" y="1984"/>
                    <a:pt x="621" y="1983"/>
                  </a:cubicBezTo>
                  <a:cubicBezTo>
                    <a:pt x="631" y="1981"/>
                    <a:pt x="676" y="1981"/>
                    <a:pt x="690" y="1981"/>
                  </a:cubicBezTo>
                  <a:cubicBezTo>
                    <a:pt x="705" y="1981"/>
                    <a:pt x="725" y="1994"/>
                    <a:pt x="725" y="1994"/>
                  </a:cubicBezTo>
                  <a:cubicBezTo>
                    <a:pt x="746" y="1983"/>
                    <a:pt x="746" y="1983"/>
                    <a:pt x="746" y="1983"/>
                  </a:cubicBezTo>
                  <a:cubicBezTo>
                    <a:pt x="758" y="1987"/>
                    <a:pt x="758" y="1987"/>
                    <a:pt x="758" y="1987"/>
                  </a:cubicBezTo>
                  <a:cubicBezTo>
                    <a:pt x="770" y="1986"/>
                    <a:pt x="770" y="1986"/>
                    <a:pt x="770" y="1986"/>
                  </a:cubicBezTo>
                  <a:cubicBezTo>
                    <a:pt x="771" y="1970"/>
                    <a:pt x="771" y="1970"/>
                    <a:pt x="771" y="1970"/>
                  </a:cubicBezTo>
                  <a:cubicBezTo>
                    <a:pt x="771" y="1970"/>
                    <a:pt x="729" y="1968"/>
                    <a:pt x="677" y="1942"/>
                  </a:cubicBezTo>
                  <a:close/>
                  <a:moveTo>
                    <a:pt x="658" y="1993"/>
                  </a:moveTo>
                  <a:cubicBezTo>
                    <a:pt x="676" y="2003"/>
                    <a:pt x="676" y="2003"/>
                    <a:pt x="676" y="2003"/>
                  </a:cubicBezTo>
                  <a:cubicBezTo>
                    <a:pt x="712" y="2006"/>
                    <a:pt x="712" y="2006"/>
                    <a:pt x="712" y="2006"/>
                  </a:cubicBezTo>
                  <a:cubicBezTo>
                    <a:pt x="693" y="1988"/>
                    <a:pt x="693" y="1988"/>
                    <a:pt x="693" y="1988"/>
                  </a:cubicBezTo>
                  <a:lnTo>
                    <a:pt x="658" y="1993"/>
                  </a:lnTo>
                  <a:close/>
                  <a:moveTo>
                    <a:pt x="638" y="1997"/>
                  </a:moveTo>
                  <a:cubicBezTo>
                    <a:pt x="644" y="1991"/>
                    <a:pt x="644" y="1991"/>
                    <a:pt x="644" y="1991"/>
                  </a:cubicBezTo>
                  <a:cubicBezTo>
                    <a:pt x="617" y="1988"/>
                    <a:pt x="617" y="1988"/>
                    <a:pt x="617" y="1988"/>
                  </a:cubicBezTo>
                  <a:cubicBezTo>
                    <a:pt x="593" y="1988"/>
                    <a:pt x="593" y="1988"/>
                    <a:pt x="593" y="1988"/>
                  </a:cubicBezTo>
                  <a:cubicBezTo>
                    <a:pt x="602" y="2012"/>
                    <a:pt x="602" y="2012"/>
                    <a:pt x="602" y="2012"/>
                  </a:cubicBezTo>
                  <a:cubicBezTo>
                    <a:pt x="625" y="2014"/>
                    <a:pt x="625" y="2014"/>
                    <a:pt x="625" y="2014"/>
                  </a:cubicBezTo>
                  <a:cubicBezTo>
                    <a:pt x="619" y="2004"/>
                    <a:pt x="619" y="2004"/>
                    <a:pt x="619" y="2004"/>
                  </a:cubicBezTo>
                  <a:cubicBezTo>
                    <a:pt x="625" y="2000"/>
                    <a:pt x="625" y="2000"/>
                    <a:pt x="625" y="2000"/>
                  </a:cubicBezTo>
                  <a:cubicBezTo>
                    <a:pt x="632" y="2010"/>
                    <a:pt x="632" y="2010"/>
                    <a:pt x="632" y="2010"/>
                  </a:cubicBezTo>
                  <a:cubicBezTo>
                    <a:pt x="663" y="2010"/>
                    <a:pt x="663" y="2010"/>
                    <a:pt x="663" y="2010"/>
                  </a:cubicBezTo>
                  <a:cubicBezTo>
                    <a:pt x="673" y="2022"/>
                    <a:pt x="673" y="2022"/>
                    <a:pt x="673" y="2022"/>
                  </a:cubicBezTo>
                  <a:cubicBezTo>
                    <a:pt x="686" y="2022"/>
                    <a:pt x="686" y="2022"/>
                    <a:pt x="686" y="2022"/>
                  </a:cubicBezTo>
                  <a:cubicBezTo>
                    <a:pt x="666" y="2001"/>
                    <a:pt x="666" y="2001"/>
                    <a:pt x="666" y="2001"/>
                  </a:cubicBezTo>
                  <a:lnTo>
                    <a:pt x="638" y="1997"/>
                  </a:lnTo>
                  <a:close/>
                  <a:moveTo>
                    <a:pt x="537" y="1967"/>
                  </a:moveTo>
                  <a:cubicBezTo>
                    <a:pt x="495" y="1962"/>
                    <a:pt x="495" y="1962"/>
                    <a:pt x="495" y="1962"/>
                  </a:cubicBezTo>
                  <a:cubicBezTo>
                    <a:pt x="500" y="1974"/>
                    <a:pt x="500" y="1974"/>
                    <a:pt x="500" y="1974"/>
                  </a:cubicBezTo>
                  <a:cubicBezTo>
                    <a:pt x="527" y="1973"/>
                    <a:pt x="527" y="1973"/>
                    <a:pt x="527" y="1973"/>
                  </a:cubicBezTo>
                  <a:cubicBezTo>
                    <a:pt x="537" y="1987"/>
                    <a:pt x="537" y="1987"/>
                    <a:pt x="537" y="1987"/>
                  </a:cubicBezTo>
                  <a:cubicBezTo>
                    <a:pt x="575" y="2003"/>
                    <a:pt x="575" y="2003"/>
                    <a:pt x="575" y="2003"/>
                  </a:cubicBezTo>
                  <a:cubicBezTo>
                    <a:pt x="552" y="1983"/>
                    <a:pt x="552" y="1983"/>
                    <a:pt x="552" y="1983"/>
                  </a:cubicBezTo>
                  <a:lnTo>
                    <a:pt x="537" y="1967"/>
                  </a:lnTo>
                  <a:close/>
                  <a:moveTo>
                    <a:pt x="534" y="1924"/>
                  </a:moveTo>
                  <a:cubicBezTo>
                    <a:pt x="526" y="1935"/>
                    <a:pt x="526" y="1935"/>
                    <a:pt x="526" y="1935"/>
                  </a:cubicBezTo>
                  <a:cubicBezTo>
                    <a:pt x="530" y="1955"/>
                    <a:pt x="530" y="1955"/>
                    <a:pt x="530" y="1955"/>
                  </a:cubicBezTo>
                  <a:cubicBezTo>
                    <a:pt x="546" y="1949"/>
                    <a:pt x="546" y="1949"/>
                    <a:pt x="546" y="1949"/>
                  </a:cubicBezTo>
                  <a:lnTo>
                    <a:pt x="534" y="1924"/>
                  </a:lnTo>
                  <a:close/>
                  <a:moveTo>
                    <a:pt x="515" y="1954"/>
                  </a:moveTo>
                  <a:cubicBezTo>
                    <a:pt x="513" y="1942"/>
                    <a:pt x="513" y="1942"/>
                    <a:pt x="513" y="1942"/>
                  </a:cubicBezTo>
                  <a:cubicBezTo>
                    <a:pt x="479" y="1934"/>
                    <a:pt x="479" y="1934"/>
                    <a:pt x="479" y="1934"/>
                  </a:cubicBezTo>
                  <a:cubicBezTo>
                    <a:pt x="471" y="1945"/>
                    <a:pt x="471" y="1945"/>
                    <a:pt x="471" y="1945"/>
                  </a:cubicBezTo>
                  <a:cubicBezTo>
                    <a:pt x="472" y="1958"/>
                    <a:pt x="472" y="1958"/>
                    <a:pt x="472" y="1958"/>
                  </a:cubicBezTo>
                  <a:cubicBezTo>
                    <a:pt x="495" y="1949"/>
                    <a:pt x="495" y="1949"/>
                    <a:pt x="495" y="1949"/>
                  </a:cubicBezTo>
                  <a:lnTo>
                    <a:pt x="515" y="1954"/>
                  </a:lnTo>
                  <a:close/>
                  <a:moveTo>
                    <a:pt x="407" y="1848"/>
                  </a:moveTo>
                  <a:cubicBezTo>
                    <a:pt x="407" y="1848"/>
                    <a:pt x="381" y="1835"/>
                    <a:pt x="378" y="1847"/>
                  </a:cubicBezTo>
                  <a:cubicBezTo>
                    <a:pt x="375" y="1859"/>
                    <a:pt x="371" y="1874"/>
                    <a:pt x="375" y="1874"/>
                  </a:cubicBezTo>
                  <a:cubicBezTo>
                    <a:pt x="380" y="1874"/>
                    <a:pt x="397" y="1867"/>
                    <a:pt x="397" y="1867"/>
                  </a:cubicBezTo>
                  <a:cubicBezTo>
                    <a:pt x="399" y="1883"/>
                    <a:pt x="399" y="1883"/>
                    <a:pt x="399" y="1883"/>
                  </a:cubicBezTo>
                  <a:cubicBezTo>
                    <a:pt x="420" y="1873"/>
                    <a:pt x="420" y="1873"/>
                    <a:pt x="420" y="1873"/>
                  </a:cubicBezTo>
                  <a:cubicBezTo>
                    <a:pt x="409" y="1863"/>
                    <a:pt x="409" y="1863"/>
                    <a:pt x="409" y="1863"/>
                  </a:cubicBezTo>
                  <a:cubicBezTo>
                    <a:pt x="413" y="1851"/>
                    <a:pt x="413" y="1851"/>
                    <a:pt x="413" y="1851"/>
                  </a:cubicBezTo>
                  <a:lnTo>
                    <a:pt x="407" y="1848"/>
                  </a:lnTo>
                  <a:close/>
                  <a:moveTo>
                    <a:pt x="368" y="1886"/>
                  </a:moveTo>
                  <a:cubicBezTo>
                    <a:pt x="345" y="1873"/>
                    <a:pt x="345" y="1873"/>
                    <a:pt x="345" y="1873"/>
                  </a:cubicBezTo>
                  <a:cubicBezTo>
                    <a:pt x="362" y="1892"/>
                    <a:pt x="362" y="1892"/>
                    <a:pt x="362" y="1892"/>
                  </a:cubicBezTo>
                  <a:cubicBezTo>
                    <a:pt x="393" y="1896"/>
                    <a:pt x="393" y="1896"/>
                    <a:pt x="393" y="1896"/>
                  </a:cubicBezTo>
                  <a:cubicBezTo>
                    <a:pt x="404" y="1903"/>
                    <a:pt x="404" y="1903"/>
                    <a:pt x="404" y="1903"/>
                  </a:cubicBezTo>
                  <a:cubicBezTo>
                    <a:pt x="393" y="1889"/>
                    <a:pt x="393" y="1889"/>
                    <a:pt x="393" y="1889"/>
                  </a:cubicBezTo>
                  <a:lnTo>
                    <a:pt x="368" y="1886"/>
                  </a:lnTo>
                  <a:close/>
                  <a:moveTo>
                    <a:pt x="368" y="1835"/>
                  </a:moveTo>
                  <a:cubicBezTo>
                    <a:pt x="355" y="1822"/>
                    <a:pt x="355" y="1822"/>
                    <a:pt x="355" y="1822"/>
                  </a:cubicBezTo>
                  <a:cubicBezTo>
                    <a:pt x="351" y="1844"/>
                    <a:pt x="351" y="1844"/>
                    <a:pt x="351" y="1844"/>
                  </a:cubicBezTo>
                  <a:cubicBezTo>
                    <a:pt x="336" y="1848"/>
                    <a:pt x="336" y="1848"/>
                    <a:pt x="336" y="1848"/>
                  </a:cubicBezTo>
                  <a:cubicBezTo>
                    <a:pt x="365" y="1860"/>
                    <a:pt x="365" y="1860"/>
                    <a:pt x="365" y="1860"/>
                  </a:cubicBezTo>
                  <a:lnTo>
                    <a:pt x="368" y="1835"/>
                  </a:lnTo>
                  <a:close/>
                  <a:moveTo>
                    <a:pt x="296" y="1827"/>
                  </a:moveTo>
                  <a:cubicBezTo>
                    <a:pt x="319" y="1848"/>
                    <a:pt x="319" y="1848"/>
                    <a:pt x="319" y="1848"/>
                  </a:cubicBezTo>
                  <a:cubicBezTo>
                    <a:pt x="326" y="1841"/>
                    <a:pt x="326" y="1841"/>
                    <a:pt x="326" y="1841"/>
                  </a:cubicBezTo>
                  <a:cubicBezTo>
                    <a:pt x="306" y="1818"/>
                    <a:pt x="306" y="1818"/>
                    <a:pt x="306" y="1818"/>
                  </a:cubicBezTo>
                  <a:lnTo>
                    <a:pt x="296" y="1827"/>
                  </a:lnTo>
                  <a:close/>
                  <a:moveTo>
                    <a:pt x="342" y="1820"/>
                  </a:moveTo>
                  <a:cubicBezTo>
                    <a:pt x="335" y="1814"/>
                    <a:pt x="335" y="1814"/>
                    <a:pt x="335" y="1814"/>
                  </a:cubicBezTo>
                  <a:cubicBezTo>
                    <a:pt x="329" y="1824"/>
                    <a:pt x="329" y="1824"/>
                    <a:pt x="329" y="1824"/>
                  </a:cubicBezTo>
                  <a:cubicBezTo>
                    <a:pt x="336" y="1833"/>
                    <a:pt x="336" y="1833"/>
                    <a:pt x="336" y="1833"/>
                  </a:cubicBezTo>
                  <a:lnTo>
                    <a:pt x="342" y="1820"/>
                  </a:lnTo>
                  <a:close/>
                  <a:moveTo>
                    <a:pt x="303" y="1805"/>
                  </a:moveTo>
                  <a:cubicBezTo>
                    <a:pt x="306" y="1788"/>
                    <a:pt x="306" y="1788"/>
                    <a:pt x="306" y="1788"/>
                  </a:cubicBezTo>
                  <a:cubicBezTo>
                    <a:pt x="303" y="1763"/>
                    <a:pt x="303" y="1763"/>
                    <a:pt x="303" y="1763"/>
                  </a:cubicBezTo>
                  <a:cubicBezTo>
                    <a:pt x="292" y="1759"/>
                    <a:pt x="292" y="1759"/>
                    <a:pt x="292" y="1759"/>
                  </a:cubicBezTo>
                  <a:cubicBezTo>
                    <a:pt x="292" y="1770"/>
                    <a:pt x="292" y="1770"/>
                    <a:pt x="292" y="1770"/>
                  </a:cubicBezTo>
                  <a:cubicBezTo>
                    <a:pt x="270" y="1766"/>
                    <a:pt x="270" y="1766"/>
                    <a:pt x="270" y="1766"/>
                  </a:cubicBezTo>
                  <a:cubicBezTo>
                    <a:pt x="287" y="1789"/>
                    <a:pt x="287" y="1789"/>
                    <a:pt x="287" y="1789"/>
                  </a:cubicBezTo>
                  <a:cubicBezTo>
                    <a:pt x="283" y="1818"/>
                    <a:pt x="283" y="1818"/>
                    <a:pt x="283" y="1818"/>
                  </a:cubicBezTo>
                  <a:lnTo>
                    <a:pt x="303" y="1805"/>
                  </a:lnTo>
                  <a:close/>
                  <a:moveTo>
                    <a:pt x="243" y="1752"/>
                  </a:moveTo>
                  <a:cubicBezTo>
                    <a:pt x="254" y="1753"/>
                    <a:pt x="254" y="1753"/>
                    <a:pt x="254" y="1753"/>
                  </a:cubicBezTo>
                  <a:cubicBezTo>
                    <a:pt x="261" y="1775"/>
                    <a:pt x="261" y="1775"/>
                    <a:pt x="261" y="1775"/>
                  </a:cubicBezTo>
                  <a:cubicBezTo>
                    <a:pt x="266" y="1755"/>
                    <a:pt x="266" y="1755"/>
                    <a:pt x="266" y="1755"/>
                  </a:cubicBezTo>
                  <a:cubicBezTo>
                    <a:pt x="267" y="1739"/>
                    <a:pt x="267" y="1739"/>
                    <a:pt x="267" y="1739"/>
                  </a:cubicBezTo>
                  <a:cubicBezTo>
                    <a:pt x="250" y="1734"/>
                    <a:pt x="250" y="1734"/>
                    <a:pt x="250" y="1734"/>
                  </a:cubicBezTo>
                  <a:lnTo>
                    <a:pt x="243" y="1752"/>
                  </a:lnTo>
                  <a:close/>
                  <a:moveTo>
                    <a:pt x="248" y="1727"/>
                  </a:moveTo>
                  <a:cubicBezTo>
                    <a:pt x="253" y="1726"/>
                    <a:pt x="256" y="1717"/>
                    <a:pt x="256" y="1717"/>
                  </a:cubicBezTo>
                  <a:cubicBezTo>
                    <a:pt x="276" y="1734"/>
                    <a:pt x="276" y="1734"/>
                    <a:pt x="276" y="1734"/>
                  </a:cubicBezTo>
                  <a:cubicBezTo>
                    <a:pt x="277" y="1718"/>
                    <a:pt x="277" y="1718"/>
                    <a:pt x="277" y="1718"/>
                  </a:cubicBezTo>
                  <a:cubicBezTo>
                    <a:pt x="257" y="1697"/>
                    <a:pt x="257" y="1697"/>
                    <a:pt x="257" y="1697"/>
                  </a:cubicBezTo>
                  <a:cubicBezTo>
                    <a:pt x="257" y="1697"/>
                    <a:pt x="241" y="1674"/>
                    <a:pt x="241" y="1662"/>
                  </a:cubicBezTo>
                  <a:cubicBezTo>
                    <a:pt x="241" y="1651"/>
                    <a:pt x="230" y="1639"/>
                    <a:pt x="219" y="1633"/>
                  </a:cubicBezTo>
                  <a:cubicBezTo>
                    <a:pt x="209" y="1628"/>
                    <a:pt x="209" y="1639"/>
                    <a:pt x="209" y="1639"/>
                  </a:cubicBezTo>
                  <a:cubicBezTo>
                    <a:pt x="195" y="1635"/>
                    <a:pt x="195" y="1635"/>
                    <a:pt x="195" y="1635"/>
                  </a:cubicBezTo>
                  <a:cubicBezTo>
                    <a:pt x="195" y="1635"/>
                    <a:pt x="180" y="1662"/>
                    <a:pt x="191" y="1662"/>
                  </a:cubicBezTo>
                  <a:cubicBezTo>
                    <a:pt x="201" y="1662"/>
                    <a:pt x="221" y="1662"/>
                    <a:pt x="221" y="1662"/>
                  </a:cubicBezTo>
                  <a:cubicBezTo>
                    <a:pt x="208" y="1688"/>
                    <a:pt x="208" y="1688"/>
                    <a:pt x="208" y="1688"/>
                  </a:cubicBezTo>
                  <a:cubicBezTo>
                    <a:pt x="217" y="1688"/>
                    <a:pt x="217" y="1688"/>
                    <a:pt x="217" y="1688"/>
                  </a:cubicBezTo>
                  <a:cubicBezTo>
                    <a:pt x="231" y="1675"/>
                    <a:pt x="231" y="1675"/>
                    <a:pt x="231" y="1675"/>
                  </a:cubicBezTo>
                  <a:cubicBezTo>
                    <a:pt x="230" y="1691"/>
                    <a:pt x="230" y="1691"/>
                    <a:pt x="230" y="1691"/>
                  </a:cubicBezTo>
                  <a:cubicBezTo>
                    <a:pt x="230" y="1691"/>
                    <a:pt x="244" y="1729"/>
                    <a:pt x="248" y="1727"/>
                  </a:cubicBezTo>
                  <a:close/>
                  <a:moveTo>
                    <a:pt x="163" y="1391"/>
                  </a:moveTo>
                  <a:cubicBezTo>
                    <a:pt x="165" y="1359"/>
                    <a:pt x="165" y="1359"/>
                    <a:pt x="165" y="1359"/>
                  </a:cubicBezTo>
                  <a:cubicBezTo>
                    <a:pt x="144" y="1339"/>
                    <a:pt x="144" y="1339"/>
                    <a:pt x="144" y="1339"/>
                  </a:cubicBezTo>
                  <a:cubicBezTo>
                    <a:pt x="154" y="1329"/>
                    <a:pt x="154" y="1329"/>
                    <a:pt x="154" y="1329"/>
                  </a:cubicBezTo>
                  <a:cubicBezTo>
                    <a:pt x="140" y="1313"/>
                    <a:pt x="140" y="1313"/>
                    <a:pt x="140" y="1313"/>
                  </a:cubicBezTo>
                  <a:cubicBezTo>
                    <a:pt x="117" y="1304"/>
                    <a:pt x="117" y="1304"/>
                    <a:pt x="117" y="1304"/>
                  </a:cubicBezTo>
                  <a:cubicBezTo>
                    <a:pt x="117" y="1304"/>
                    <a:pt x="114" y="1340"/>
                    <a:pt x="123" y="1343"/>
                  </a:cubicBezTo>
                  <a:cubicBezTo>
                    <a:pt x="131" y="1346"/>
                    <a:pt x="137" y="1366"/>
                    <a:pt x="137" y="1366"/>
                  </a:cubicBezTo>
                  <a:cubicBezTo>
                    <a:pt x="133" y="1379"/>
                    <a:pt x="133" y="1379"/>
                    <a:pt x="133" y="1379"/>
                  </a:cubicBezTo>
                  <a:lnTo>
                    <a:pt x="163" y="1391"/>
                  </a:lnTo>
                  <a:close/>
                  <a:moveTo>
                    <a:pt x="163" y="1453"/>
                  </a:moveTo>
                  <a:cubicBezTo>
                    <a:pt x="170" y="1461"/>
                    <a:pt x="170" y="1461"/>
                    <a:pt x="170" y="1461"/>
                  </a:cubicBezTo>
                  <a:cubicBezTo>
                    <a:pt x="188" y="1461"/>
                    <a:pt x="188" y="1461"/>
                    <a:pt x="188" y="1461"/>
                  </a:cubicBezTo>
                  <a:cubicBezTo>
                    <a:pt x="195" y="1448"/>
                    <a:pt x="195" y="1448"/>
                    <a:pt x="195" y="1448"/>
                  </a:cubicBezTo>
                  <a:cubicBezTo>
                    <a:pt x="176" y="1453"/>
                    <a:pt x="176" y="1453"/>
                    <a:pt x="176" y="1453"/>
                  </a:cubicBezTo>
                  <a:lnTo>
                    <a:pt x="163" y="1453"/>
                  </a:lnTo>
                  <a:close/>
                  <a:moveTo>
                    <a:pt x="186" y="1483"/>
                  </a:moveTo>
                  <a:cubicBezTo>
                    <a:pt x="188" y="1495"/>
                    <a:pt x="188" y="1495"/>
                    <a:pt x="188" y="1495"/>
                  </a:cubicBezTo>
                  <a:cubicBezTo>
                    <a:pt x="204" y="1505"/>
                    <a:pt x="204" y="1505"/>
                    <a:pt x="204" y="1505"/>
                  </a:cubicBezTo>
                  <a:cubicBezTo>
                    <a:pt x="204" y="1489"/>
                    <a:pt x="204" y="1489"/>
                    <a:pt x="204" y="1489"/>
                  </a:cubicBezTo>
                  <a:cubicBezTo>
                    <a:pt x="195" y="1473"/>
                    <a:pt x="195" y="1473"/>
                    <a:pt x="195" y="1473"/>
                  </a:cubicBezTo>
                  <a:cubicBezTo>
                    <a:pt x="173" y="1474"/>
                    <a:pt x="173" y="1474"/>
                    <a:pt x="173" y="1474"/>
                  </a:cubicBezTo>
                  <a:lnTo>
                    <a:pt x="186" y="1483"/>
                  </a:lnTo>
                  <a:close/>
                  <a:moveTo>
                    <a:pt x="212" y="1463"/>
                  </a:moveTo>
                  <a:cubicBezTo>
                    <a:pt x="212" y="1463"/>
                    <a:pt x="244" y="1444"/>
                    <a:pt x="222" y="1440"/>
                  </a:cubicBezTo>
                  <a:cubicBezTo>
                    <a:pt x="201" y="1435"/>
                    <a:pt x="199" y="1463"/>
                    <a:pt x="212" y="1463"/>
                  </a:cubicBezTo>
                  <a:close/>
                  <a:moveTo>
                    <a:pt x="166" y="1409"/>
                  </a:moveTo>
                  <a:cubicBezTo>
                    <a:pt x="152" y="1420"/>
                    <a:pt x="159" y="1430"/>
                    <a:pt x="169" y="1427"/>
                  </a:cubicBezTo>
                  <a:cubicBezTo>
                    <a:pt x="181" y="1423"/>
                    <a:pt x="180" y="1399"/>
                    <a:pt x="166" y="1409"/>
                  </a:cubicBezTo>
                  <a:close/>
                  <a:moveTo>
                    <a:pt x="156" y="1437"/>
                  </a:moveTo>
                  <a:cubicBezTo>
                    <a:pt x="143" y="1440"/>
                    <a:pt x="143" y="1440"/>
                    <a:pt x="143" y="1440"/>
                  </a:cubicBezTo>
                  <a:cubicBezTo>
                    <a:pt x="150" y="1453"/>
                    <a:pt x="150" y="1453"/>
                    <a:pt x="150" y="1453"/>
                  </a:cubicBezTo>
                  <a:lnTo>
                    <a:pt x="156" y="1437"/>
                  </a:lnTo>
                  <a:close/>
                  <a:moveTo>
                    <a:pt x="476" y="1919"/>
                  </a:moveTo>
                  <a:cubicBezTo>
                    <a:pt x="485" y="1915"/>
                    <a:pt x="484" y="1925"/>
                    <a:pt x="484" y="1925"/>
                  </a:cubicBezTo>
                  <a:cubicBezTo>
                    <a:pt x="484" y="1925"/>
                    <a:pt x="499" y="1928"/>
                    <a:pt x="514" y="1925"/>
                  </a:cubicBezTo>
                  <a:cubicBezTo>
                    <a:pt x="528" y="1921"/>
                    <a:pt x="498" y="1899"/>
                    <a:pt x="498" y="1899"/>
                  </a:cubicBezTo>
                  <a:cubicBezTo>
                    <a:pt x="498" y="1874"/>
                    <a:pt x="498" y="1874"/>
                    <a:pt x="498" y="1874"/>
                  </a:cubicBezTo>
                  <a:cubicBezTo>
                    <a:pt x="523" y="1872"/>
                    <a:pt x="523" y="1872"/>
                    <a:pt x="523" y="1872"/>
                  </a:cubicBezTo>
                  <a:cubicBezTo>
                    <a:pt x="521" y="1860"/>
                    <a:pt x="521" y="1860"/>
                    <a:pt x="521" y="1860"/>
                  </a:cubicBezTo>
                  <a:cubicBezTo>
                    <a:pt x="537" y="1862"/>
                    <a:pt x="537" y="1862"/>
                    <a:pt x="537" y="1862"/>
                  </a:cubicBezTo>
                  <a:cubicBezTo>
                    <a:pt x="542" y="1850"/>
                    <a:pt x="542" y="1850"/>
                    <a:pt x="542" y="1850"/>
                  </a:cubicBezTo>
                  <a:cubicBezTo>
                    <a:pt x="527" y="1838"/>
                    <a:pt x="527" y="1838"/>
                    <a:pt x="527" y="1838"/>
                  </a:cubicBezTo>
                  <a:cubicBezTo>
                    <a:pt x="527" y="1838"/>
                    <a:pt x="507" y="1839"/>
                    <a:pt x="491" y="1837"/>
                  </a:cubicBezTo>
                  <a:cubicBezTo>
                    <a:pt x="475" y="1835"/>
                    <a:pt x="449" y="1842"/>
                    <a:pt x="449" y="1842"/>
                  </a:cubicBezTo>
                  <a:cubicBezTo>
                    <a:pt x="437" y="1830"/>
                    <a:pt x="437" y="1830"/>
                    <a:pt x="437" y="1830"/>
                  </a:cubicBezTo>
                  <a:cubicBezTo>
                    <a:pt x="413" y="1819"/>
                    <a:pt x="413" y="1819"/>
                    <a:pt x="413" y="1819"/>
                  </a:cubicBezTo>
                  <a:cubicBezTo>
                    <a:pt x="406" y="1808"/>
                    <a:pt x="406" y="1808"/>
                    <a:pt x="406" y="1808"/>
                  </a:cubicBezTo>
                  <a:cubicBezTo>
                    <a:pt x="392" y="1792"/>
                    <a:pt x="392" y="1792"/>
                    <a:pt x="392" y="1792"/>
                  </a:cubicBezTo>
                  <a:cubicBezTo>
                    <a:pt x="392" y="1792"/>
                    <a:pt x="398" y="1780"/>
                    <a:pt x="383" y="1767"/>
                  </a:cubicBezTo>
                  <a:cubicBezTo>
                    <a:pt x="368" y="1754"/>
                    <a:pt x="362" y="1772"/>
                    <a:pt x="352" y="1772"/>
                  </a:cubicBezTo>
                  <a:cubicBezTo>
                    <a:pt x="342" y="1772"/>
                    <a:pt x="338" y="1747"/>
                    <a:pt x="338" y="1747"/>
                  </a:cubicBezTo>
                  <a:cubicBezTo>
                    <a:pt x="318" y="1743"/>
                    <a:pt x="318" y="1743"/>
                    <a:pt x="318" y="1743"/>
                  </a:cubicBezTo>
                  <a:cubicBezTo>
                    <a:pt x="318" y="1743"/>
                    <a:pt x="320" y="1723"/>
                    <a:pt x="315" y="1718"/>
                  </a:cubicBezTo>
                  <a:cubicBezTo>
                    <a:pt x="310" y="1713"/>
                    <a:pt x="308" y="1697"/>
                    <a:pt x="308" y="1697"/>
                  </a:cubicBezTo>
                  <a:cubicBezTo>
                    <a:pt x="315" y="1693"/>
                    <a:pt x="315" y="1693"/>
                    <a:pt x="315" y="1693"/>
                  </a:cubicBezTo>
                  <a:cubicBezTo>
                    <a:pt x="316" y="1680"/>
                    <a:pt x="316" y="1680"/>
                    <a:pt x="316" y="1680"/>
                  </a:cubicBezTo>
                  <a:cubicBezTo>
                    <a:pt x="316" y="1680"/>
                    <a:pt x="331" y="1675"/>
                    <a:pt x="334" y="1670"/>
                  </a:cubicBezTo>
                  <a:cubicBezTo>
                    <a:pt x="337" y="1665"/>
                    <a:pt x="317" y="1650"/>
                    <a:pt x="317" y="1650"/>
                  </a:cubicBezTo>
                  <a:cubicBezTo>
                    <a:pt x="317" y="1650"/>
                    <a:pt x="333" y="1641"/>
                    <a:pt x="332" y="1638"/>
                  </a:cubicBezTo>
                  <a:cubicBezTo>
                    <a:pt x="331" y="1635"/>
                    <a:pt x="312" y="1624"/>
                    <a:pt x="312" y="1624"/>
                  </a:cubicBezTo>
                  <a:cubicBezTo>
                    <a:pt x="315" y="1594"/>
                    <a:pt x="315" y="1594"/>
                    <a:pt x="315" y="1594"/>
                  </a:cubicBezTo>
                  <a:cubicBezTo>
                    <a:pt x="326" y="1590"/>
                    <a:pt x="326" y="1590"/>
                    <a:pt x="326" y="1590"/>
                  </a:cubicBezTo>
                  <a:cubicBezTo>
                    <a:pt x="316" y="1573"/>
                    <a:pt x="316" y="1573"/>
                    <a:pt x="316" y="1573"/>
                  </a:cubicBezTo>
                  <a:cubicBezTo>
                    <a:pt x="319" y="1551"/>
                    <a:pt x="319" y="1551"/>
                    <a:pt x="319" y="1551"/>
                  </a:cubicBezTo>
                  <a:cubicBezTo>
                    <a:pt x="304" y="1533"/>
                    <a:pt x="304" y="1533"/>
                    <a:pt x="304" y="1533"/>
                  </a:cubicBezTo>
                  <a:cubicBezTo>
                    <a:pt x="307" y="1518"/>
                    <a:pt x="307" y="1518"/>
                    <a:pt x="307" y="1518"/>
                  </a:cubicBezTo>
                  <a:cubicBezTo>
                    <a:pt x="291" y="1506"/>
                    <a:pt x="291" y="1506"/>
                    <a:pt x="291" y="1506"/>
                  </a:cubicBezTo>
                  <a:cubicBezTo>
                    <a:pt x="291" y="1506"/>
                    <a:pt x="304" y="1495"/>
                    <a:pt x="307" y="1487"/>
                  </a:cubicBezTo>
                  <a:cubicBezTo>
                    <a:pt x="310" y="1479"/>
                    <a:pt x="287" y="1470"/>
                    <a:pt x="287" y="1470"/>
                  </a:cubicBezTo>
                  <a:cubicBezTo>
                    <a:pt x="287" y="1470"/>
                    <a:pt x="264" y="1463"/>
                    <a:pt x="263" y="1460"/>
                  </a:cubicBezTo>
                  <a:cubicBezTo>
                    <a:pt x="262" y="1457"/>
                    <a:pt x="294" y="1460"/>
                    <a:pt x="296" y="1449"/>
                  </a:cubicBezTo>
                  <a:cubicBezTo>
                    <a:pt x="298" y="1438"/>
                    <a:pt x="279" y="1443"/>
                    <a:pt x="272" y="1443"/>
                  </a:cubicBezTo>
                  <a:cubicBezTo>
                    <a:pt x="265" y="1443"/>
                    <a:pt x="260" y="1433"/>
                    <a:pt x="260" y="1433"/>
                  </a:cubicBezTo>
                  <a:cubicBezTo>
                    <a:pt x="260" y="1433"/>
                    <a:pt x="259" y="1416"/>
                    <a:pt x="258" y="1405"/>
                  </a:cubicBezTo>
                  <a:cubicBezTo>
                    <a:pt x="257" y="1394"/>
                    <a:pt x="241" y="1393"/>
                    <a:pt x="241" y="1393"/>
                  </a:cubicBezTo>
                  <a:cubicBezTo>
                    <a:pt x="245" y="1375"/>
                    <a:pt x="245" y="1375"/>
                    <a:pt x="245" y="1375"/>
                  </a:cubicBezTo>
                  <a:cubicBezTo>
                    <a:pt x="235" y="1370"/>
                    <a:pt x="235" y="1370"/>
                    <a:pt x="235" y="1370"/>
                  </a:cubicBezTo>
                  <a:cubicBezTo>
                    <a:pt x="235" y="1370"/>
                    <a:pt x="226" y="1366"/>
                    <a:pt x="223" y="1358"/>
                  </a:cubicBezTo>
                  <a:cubicBezTo>
                    <a:pt x="220" y="1350"/>
                    <a:pt x="215" y="1320"/>
                    <a:pt x="215" y="1320"/>
                  </a:cubicBezTo>
                  <a:cubicBezTo>
                    <a:pt x="215" y="1320"/>
                    <a:pt x="226" y="1311"/>
                    <a:pt x="231" y="1312"/>
                  </a:cubicBezTo>
                  <a:cubicBezTo>
                    <a:pt x="236" y="1313"/>
                    <a:pt x="207" y="1292"/>
                    <a:pt x="204" y="1286"/>
                  </a:cubicBezTo>
                  <a:cubicBezTo>
                    <a:pt x="201" y="1280"/>
                    <a:pt x="201" y="1261"/>
                    <a:pt x="201" y="1261"/>
                  </a:cubicBezTo>
                  <a:cubicBezTo>
                    <a:pt x="201" y="1261"/>
                    <a:pt x="194" y="1250"/>
                    <a:pt x="193" y="1244"/>
                  </a:cubicBezTo>
                  <a:cubicBezTo>
                    <a:pt x="192" y="1238"/>
                    <a:pt x="197" y="1220"/>
                    <a:pt x="197" y="1220"/>
                  </a:cubicBezTo>
                  <a:cubicBezTo>
                    <a:pt x="183" y="1212"/>
                    <a:pt x="183" y="1212"/>
                    <a:pt x="183" y="1212"/>
                  </a:cubicBezTo>
                  <a:cubicBezTo>
                    <a:pt x="183" y="1212"/>
                    <a:pt x="188" y="1204"/>
                    <a:pt x="187" y="1196"/>
                  </a:cubicBezTo>
                  <a:cubicBezTo>
                    <a:pt x="186" y="1188"/>
                    <a:pt x="176" y="1183"/>
                    <a:pt x="176" y="1183"/>
                  </a:cubicBezTo>
                  <a:cubicBezTo>
                    <a:pt x="189" y="1174"/>
                    <a:pt x="189" y="1174"/>
                    <a:pt x="189" y="1174"/>
                  </a:cubicBezTo>
                  <a:cubicBezTo>
                    <a:pt x="181" y="1146"/>
                    <a:pt x="181" y="1146"/>
                    <a:pt x="181" y="1146"/>
                  </a:cubicBezTo>
                  <a:cubicBezTo>
                    <a:pt x="181" y="1146"/>
                    <a:pt x="195" y="1141"/>
                    <a:pt x="200" y="1132"/>
                  </a:cubicBezTo>
                  <a:cubicBezTo>
                    <a:pt x="205" y="1123"/>
                    <a:pt x="186" y="1114"/>
                    <a:pt x="186" y="1114"/>
                  </a:cubicBezTo>
                  <a:cubicBezTo>
                    <a:pt x="185" y="1102"/>
                    <a:pt x="185" y="1102"/>
                    <a:pt x="185" y="1102"/>
                  </a:cubicBezTo>
                  <a:cubicBezTo>
                    <a:pt x="165" y="1085"/>
                    <a:pt x="165" y="1085"/>
                    <a:pt x="165" y="1085"/>
                  </a:cubicBezTo>
                  <a:cubicBezTo>
                    <a:pt x="165" y="1085"/>
                    <a:pt x="165" y="1064"/>
                    <a:pt x="165" y="1057"/>
                  </a:cubicBezTo>
                  <a:cubicBezTo>
                    <a:pt x="165" y="1050"/>
                    <a:pt x="153" y="1017"/>
                    <a:pt x="153" y="1017"/>
                  </a:cubicBezTo>
                  <a:cubicBezTo>
                    <a:pt x="170" y="1016"/>
                    <a:pt x="170" y="1016"/>
                    <a:pt x="170" y="1016"/>
                  </a:cubicBezTo>
                  <a:cubicBezTo>
                    <a:pt x="172" y="1004"/>
                    <a:pt x="172" y="1004"/>
                    <a:pt x="172" y="1004"/>
                  </a:cubicBezTo>
                  <a:cubicBezTo>
                    <a:pt x="172" y="1004"/>
                    <a:pt x="176" y="993"/>
                    <a:pt x="175" y="983"/>
                  </a:cubicBezTo>
                  <a:cubicBezTo>
                    <a:pt x="174" y="973"/>
                    <a:pt x="157" y="955"/>
                    <a:pt x="157" y="955"/>
                  </a:cubicBezTo>
                  <a:cubicBezTo>
                    <a:pt x="166" y="954"/>
                    <a:pt x="166" y="954"/>
                    <a:pt x="166" y="954"/>
                  </a:cubicBezTo>
                  <a:cubicBezTo>
                    <a:pt x="166" y="954"/>
                    <a:pt x="167" y="915"/>
                    <a:pt x="167" y="911"/>
                  </a:cubicBezTo>
                  <a:cubicBezTo>
                    <a:pt x="167" y="907"/>
                    <a:pt x="176" y="900"/>
                    <a:pt x="179" y="894"/>
                  </a:cubicBezTo>
                  <a:cubicBezTo>
                    <a:pt x="182" y="888"/>
                    <a:pt x="167" y="869"/>
                    <a:pt x="167" y="869"/>
                  </a:cubicBezTo>
                  <a:cubicBezTo>
                    <a:pt x="165" y="844"/>
                    <a:pt x="165" y="844"/>
                    <a:pt x="165" y="844"/>
                  </a:cubicBezTo>
                  <a:cubicBezTo>
                    <a:pt x="165" y="844"/>
                    <a:pt x="161" y="846"/>
                    <a:pt x="149" y="843"/>
                  </a:cubicBezTo>
                  <a:cubicBezTo>
                    <a:pt x="137" y="840"/>
                    <a:pt x="145" y="821"/>
                    <a:pt x="145" y="821"/>
                  </a:cubicBezTo>
                  <a:cubicBezTo>
                    <a:pt x="142" y="815"/>
                    <a:pt x="142" y="815"/>
                    <a:pt x="142" y="815"/>
                  </a:cubicBezTo>
                  <a:cubicBezTo>
                    <a:pt x="134" y="794"/>
                    <a:pt x="134" y="794"/>
                    <a:pt x="134" y="794"/>
                  </a:cubicBezTo>
                  <a:cubicBezTo>
                    <a:pt x="121" y="784"/>
                    <a:pt x="121" y="784"/>
                    <a:pt x="121" y="784"/>
                  </a:cubicBezTo>
                  <a:cubicBezTo>
                    <a:pt x="121" y="784"/>
                    <a:pt x="123" y="775"/>
                    <a:pt x="125" y="771"/>
                  </a:cubicBezTo>
                  <a:cubicBezTo>
                    <a:pt x="127" y="767"/>
                    <a:pt x="104" y="752"/>
                    <a:pt x="104" y="752"/>
                  </a:cubicBezTo>
                  <a:cubicBezTo>
                    <a:pt x="104" y="752"/>
                    <a:pt x="102" y="735"/>
                    <a:pt x="102" y="730"/>
                  </a:cubicBezTo>
                  <a:cubicBezTo>
                    <a:pt x="102" y="725"/>
                    <a:pt x="112" y="724"/>
                    <a:pt x="112" y="724"/>
                  </a:cubicBezTo>
                  <a:cubicBezTo>
                    <a:pt x="109" y="685"/>
                    <a:pt x="109" y="685"/>
                    <a:pt x="109" y="685"/>
                  </a:cubicBezTo>
                  <a:cubicBezTo>
                    <a:pt x="109" y="685"/>
                    <a:pt x="118" y="690"/>
                    <a:pt x="123" y="685"/>
                  </a:cubicBezTo>
                  <a:cubicBezTo>
                    <a:pt x="128" y="680"/>
                    <a:pt x="105" y="635"/>
                    <a:pt x="104" y="631"/>
                  </a:cubicBezTo>
                  <a:cubicBezTo>
                    <a:pt x="103" y="627"/>
                    <a:pt x="112" y="619"/>
                    <a:pt x="114" y="615"/>
                  </a:cubicBezTo>
                  <a:cubicBezTo>
                    <a:pt x="116" y="611"/>
                    <a:pt x="111" y="586"/>
                    <a:pt x="111" y="576"/>
                  </a:cubicBezTo>
                  <a:cubicBezTo>
                    <a:pt x="111" y="566"/>
                    <a:pt x="129" y="558"/>
                    <a:pt x="130" y="553"/>
                  </a:cubicBezTo>
                  <a:cubicBezTo>
                    <a:pt x="131" y="548"/>
                    <a:pt x="137" y="510"/>
                    <a:pt x="137" y="510"/>
                  </a:cubicBezTo>
                  <a:cubicBezTo>
                    <a:pt x="137" y="510"/>
                    <a:pt x="159" y="509"/>
                    <a:pt x="162" y="498"/>
                  </a:cubicBezTo>
                  <a:cubicBezTo>
                    <a:pt x="165" y="487"/>
                    <a:pt x="134" y="476"/>
                    <a:pt x="134" y="476"/>
                  </a:cubicBezTo>
                  <a:cubicBezTo>
                    <a:pt x="134" y="476"/>
                    <a:pt x="151" y="464"/>
                    <a:pt x="152" y="454"/>
                  </a:cubicBezTo>
                  <a:cubicBezTo>
                    <a:pt x="153" y="444"/>
                    <a:pt x="134" y="436"/>
                    <a:pt x="129" y="429"/>
                  </a:cubicBezTo>
                  <a:cubicBezTo>
                    <a:pt x="124" y="422"/>
                    <a:pt x="134" y="413"/>
                    <a:pt x="143" y="404"/>
                  </a:cubicBezTo>
                  <a:cubicBezTo>
                    <a:pt x="152" y="395"/>
                    <a:pt x="125" y="401"/>
                    <a:pt x="124" y="387"/>
                  </a:cubicBezTo>
                  <a:cubicBezTo>
                    <a:pt x="123" y="373"/>
                    <a:pt x="178" y="349"/>
                    <a:pt x="178" y="349"/>
                  </a:cubicBezTo>
                  <a:cubicBezTo>
                    <a:pt x="184" y="293"/>
                    <a:pt x="184" y="293"/>
                    <a:pt x="184" y="293"/>
                  </a:cubicBezTo>
                  <a:cubicBezTo>
                    <a:pt x="177" y="282"/>
                    <a:pt x="177" y="282"/>
                    <a:pt x="177" y="282"/>
                  </a:cubicBezTo>
                  <a:cubicBezTo>
                    <a:pt x="170" y="284"/>
                    <a:pt x="161" y="285"/>
                    <a:pt x="153" y="284"/>
                  </a:cubicBezTo>
                  <a:cubicBezTo>
                    <a:pt x="141" y="283"/>
                    <a:pt x="142" y="257"/>
                    <a:pt x="142" y="257"/>
                  </a:cubicBezTo>
                  <a:cubicBezTo>
                    <a:pt x="129" y="241"/>
                    <a:pt x="129" y="241"/>
                    <a:pt x="129" y="241"/>
                  </a:cubicBezTo>
                  <a:cubicBezTo>
                    <a:pt x="129" y="241"/>
                    <a:pt x="131" y="211"/>
                    <a:pt x="129" y="200"/>
                  </a:cubicBezTo>
                  <a:cubicBezTo>
                    <a:pt x="126" y="189"/>
                    <a:pt x="97" y="178"/>
                    <a:pt x="97" y="178"/>
                  </a:cubicBezTo>
                  <a:cubicBezTo>
                    <a:pt x="97" y="161"/>
                    <a:pt x="97" y="161"/>
                    <a:pt x="97" y="161"/>
                  </a:cubicBezTo>
                  <a:cubicBezTo>
                    <a:pt x="97" y="161"/>
                    <a:pt x="92" y="158"/>
                    <a:pt x="88" y="148"/>
                  </a:cubicBezTo>
                  <a:cubicBezTo>
                    <a:pt x="84" y="139"/>
                    <a:pt x="99" y="127"/>
                    <a:pt x="99" y="127"/>
                  </a:cubicBezTo>
                  <a:cubicBezTo>
                    <a:pt x="88" y="116"/>
                    <a:pt x="88" y="116"/>
                    <a:pt x="88" y="116"/>
                  </a:cubicBezTo>
                  <a:cubicBezTo>
                    <a:pt x="88" y="116"/>
                    <a:pt x="96" y="110"/>
                    <a:pt x="100" y="98"/>
                  </a:cubicBezTo>
                  <a:cubicBezTo>
                    <a:pt x="104" y="86"/>
                    <a:pt x="68" y="74"/>
                    <a:pt x="68" y="74"/>
                  </a:cubicBezTo>
                  <a:cubicBezTo>
                    <a:pt x="59" y="22"/>
                    <a:pt x="59" y="22"/>
                    <a:pt x="59" y="22"/>
                  </a:cubicBezTo>
                  <a:cubicBezTo>
                    <a:pt x="45" y="22"/>
                    <a:pt x="45" y="22"/>
                    <a:pt x="45" y="22"/>
                  </a:cubicBezTo>
                  <a:cubicBezTo>
                    <a:pt x="34" y="0"/>
                    <a:pt x="34" y="0"/>
                    <a:pt x="34" y="0"/>
                  </a:cubicBezTo>
                  <a:cubicBezTo>
                    <a:pt x="23" y="7"/>
                    <a:pt x="23" y="7"/>
                    <a:pt x="23" y="7"/>
                  </a:cubicBezTo>
                  <a:cubicBezTo>
                    <a:pt x="23" y="7"/>
                    <a:pt x="35" y="21"/>
                    <a:pt x="23" y="30"/>
                  </a:cubicBezTo>
                  <a:cubicBezTo>
                    <a:pt x="16" y="36"/>
                    <a:pt x="7" y="42"/>
                    <a:pt x="1" y="46"/>
                  </a:cubicBezTo>
                  <a:cubicBezTo>
                    <a:pt x="0" y="72"/>
                    <a:pt x="0" y="72"/>
                    <a:pt x="0" y="72"/>
                  </a:cubicBezTo>
                  <a:cubicBezTo>
                    <a:pt x="0" y="72"/>
                    <a:pt x="13" y="99"/>
                    <a:pt x="19" y="119"/>
                  </a:cubicBezTo>
                  <a:cubicBezTo>
                    <a:pt x="25" y="139"/>
                    <a:pt x="24" y="169"/>
                    <a:pt x="24" y="182"/>
                  </a:cubicBezTo>
                  <a:cubicBezTo>
                    <a:pt x="24" y="195"/>
                    <a:pt x="32" y="206"/>
                    <a:pt x="33" y="229"/>
                  </a:cubicBezTo>
                  <a:cubicBezTo>
                    <a:pt x="34" y="253"/>
                    <a:pt x="34" y="290"/>
                    <a:pt x="34" y="290"/>
                  </a:cubicBezTo>
                  <a:cubicBezTo>
                    <a:pt x="20" y="298"/>
                    <a:pt x="20" y="298"/>
                    <a:pt x="20" y="298"/>
                  </a:cubicBezTo>
                  <a:cubicBezTo>
                    <a:pt x="23" y="318"/>
                    <a:pt x="23" y="318"/>
                    <a:pt x="23" y="318"/>
                  </a:cubicBezTo>
                  <a:cubicBezTo>
                    <a:pt x="38" y="327"/>
                    <a:pt x="38" y="327"/>
                    <a:pt x="38" y="327"/>
                  </a:cubicBezTo>
                  <a:cubicBezTo>
                    <a:pt x="32" y="389"/>
                    <a:pt x="32" y="389"/>
                    <a:pt x="32" y="389"/>
                  </a:cubicBezTo>
                  <a:cubicBezTo>
                    <a:pt x="47" y="417"/>
                    <a:pt x="47" y="417"/>
                    <a:pt x="47" y="417"/>
                  </a:cubicBezTo>
                  <a:cubicBezTo>
                    <a:pt x="36" y="430"/>
                    <a:pt x="36" y="430"/>
                    <a:pt x="36" y="430"/>
                  </a:cubicBezTo>
                  <a:cubicBezTo>
                    <a:pt x="42" y="472"/>
                    <a:pt x="42" y="472"/>
                    <a:pt x="42" y="472"/>
                  </a:cubicBezTo>
                  <a:cubicBezTo>
                    <a:pt x="42" y="472"/>
                    <a:pt x="49" y="475"/>
                    <a:pt x="51" y="492"/>
                  </a:cubicBezTo>
                  <a:cubicBezTo>
                    <a:pt x="53" y="508"/>
                    <a:pt x="42" y="509"/>
                    <a:pt x="42" y="509"/>
                  </a:cubicBezTo>
                  <a:cubicBezTo>
                    <a:pt x="40" y="531"/>
                    <a:pt x="40" y="531"/>
                    <a:pt x="40" y="531"/>
                  </a:cubicBezTo>
                  <a:cubicBezTo>
                    <a:pt x="47" y="540"/>
                    <a:pt x="47" y="540"/>
                    <a:pt x="47" y="540"/>
                  </a:cubicBezTo>
                  <a:cubicBezTo>
                    <a:pt x="47" y="540"/>
                    <a:pt x="40" y="545"/>
                    <a:pt x="34" y="559"/>
                  </a:cubicBezTo>
                  <a:cubicBezTo>
                    <a:pt x="28" y="573"/>
                    <a:pt x="40" y="571"/>
                    <a:pt x="40" y="571"/>
                  </a:cubicBezTo>
                  <a:cubicBezTo>
                    <a:pt x="40" y="571"/>
                    <a:pt x="44" y="580"/>
                    <a:pt x="44" y="591"/>
                  </a:cubicBezTo>
                  <a:cubicBezTo>
                    <a:pt x="44" y="602"/>
                    <a:pt x="33" y="599"/>
                    <a:pt x="33" y="619"/>
                  </a:cubicBezTo>
                  <a:cubicBezTo>
                    <a:pt x="33" y="640"/>
                    <a:pt x="49" y="638"/>
                    <a:pt x="52" y="648"/>
                  </a:cubicBezTo>
                  <a:cubicBezTo>
                    <a:pt x="56" y="657"/>
                    <a:pt x="52" y="681"/>
                    <a:pt x="52" y="681"/>
                  </a:cubicBezTo>
                  <a:cubicBezTo>
                    <a:pt x="52" y="681"/>
                    <a:pt x="45" y="679"/>
                    <a:pt x="40" y="681"/>
                  </a:cubicBezTo>
                  <a:cubicBezTo>
                    <a:pt x="36" y="683"/>
                    <a:pt x="40" y="700"/>
                    <a:pt x="47" y="720"/>
                  </a:cubicBezTo>
                  <a:cubicBezTo>
                    <a:pt x="55" y="740"/>
                    <a:pt x="66" y="770"/>
                    <a:pt x="66" y="770"/>
                  </a:cubicBezTo>
                  <a:cubicBezTo>
                    <a:pt x="66" y="770"/>
                    <a:pt x="69" y="784"/>
                    <a:pt x="76" y="790"/>
                  </a:cubicBezTo>
                  <a:cubicBezTo>
                    <a:pt x="83" y="796"/>
                    <a:pt x="79" y="826"/>
                    <a:pt x="79" y="826"/>
                  </a:cubicBezTo>
                  <a:cubicBezTo>
                    <a:pt x="76" y="845"/>
                    <a:pt x="76" y="845"/>
                    <a:pt x="76" y="845"/>
                  </a:cubicBezTo>
                  <a:cubicBezTo>
                    <a:pt x="92" y="862"/>
                    <a:pt x="92" y="862"/>
                    <a:pt x="92" y="862"/>
                  </a:cubicBezTo>
                  <a:cubicBezTo>
                    <a:pt x="92" y="862"/>
                    <a:pt x="82" y="889"/>
                    <a:pt x="82" y="903"/>
                  </a:cubicBezTo>
                  <a:cubicBezTo>
                    <a:pt x="82" y="917"/>
                    <a:pt x="82" y="947"/>
                    <a:pt x="82" y="947"/>
                  </a:cubicBezTo>
                  <a:cubicBezTo>
                    <a:pt x="66" y="972"/>
                    <a:pt x="66" y="972"/>
                    <a:pt x="66" y="972"/>
                  </a:cubicBezTo>
                  <a:cubicBezTo>
                    <a:pt x="76" y="979"/>
                    <a:pt x="76" y="979"/>
                    <a:pt x="76" y="979"/>
                  </a:cubicBezTo>
                  <a:cubicBezTo>
                    <a:pt x="76" y="979"/>
                    <a:pt x="72" y="995"/>
                    <a:pt x="72" y="1004"/>
                  </a:cubicBezTo>
                  <a:cubicBezTo>
                    <a:pt x="72" y="1012"/>
                    <a:pt x="66" y="1056"/>
                    <a:pt x="66" y="1056"/>
                  </a:cubicBezTo>
                  <a:cubicBezTo>
                    <a:pt x="56" y="1058"/>
                    <a:pt x="56" y="1058"/>
                    <a:pt x="56" y="1058"/>
                  </a:cubicBezTo>
                  <a:cubicBezTo>
                    <a:pt x="56" y="1072"/>
                    <a:pt x="56" y="1072"/>
                    <a:pt x="56" y="1072"/>
                  </a:cubicBezTo>
                  <a:cubicBezTo>
                    <a:pt x="72" y="1102"/>
                    <a:pt x="72" y="1102"/>
                    <a:pt x="72" y="1102"/>
                  </a:cubicBezTo>
                  <a:cubicBezTo>
                    <a:pt x="72" y="1102"/>
                    <a:pt x="72" y="1121"/>
                    <a:pt x="72" y="1131"/>
                  </a:cubicBezTo>
                  <a:cubicBezTo>
                    <a:pt x="72" y="1142"/>
                    <a:pt x="95" y="1149"/>
                    <a:pt x="101" y="1165"/>
                  </a:cubicBezTo>
                  <a:cubicBezTo>
                    <a:pt x="107" y="1180"/>
                    <a:pt x="98" y="1218"/>
                    <a:pt x="98" y="1218"/>
                  </a:cubicBezTo>
                  <a:cubicBezTo>
                    <a:pt x="107" y="1225"/>
                    <a:pt x="107" y="1225"/>
                    <a:pt x="107" y="1225"/>
                  </a:cubicBezTo>
                  <a:cubicBezTo>
                    <a:pt x="107" y="1225"/>
                    <a:pt x="107" y="1254"/>
                    <a:pt x="107" y="1266"/>
                  </a:cubicBezTo>
                  <a:cubicBezTo>
                    <a:pt x="107" y="1278"/>
                    <a:pt x="134" y="1286"/>
                    <a:pt x="134" y="1286"/>
                  </a:cubicBezTo>
                  <a:cubicBezTo>
                    <a:pt x="129" y="1299"/>
                    <a:pt x="129" y="1299"/>
                    <a:pt x="129" y="1299"/>
                  </a:cubicBezTo>
                  <a:cubicBezTo>
                    <a:pt x="156" y="1299"/>
                    <a:pt x="156" y="1299"/>
                    <a:pt x="156" y="1299"/>
                  </a:cubicBezTo>
                  <a:cubicBezTo>
                    <a:pt x="156" y="1279"/>
                    <a:pt x="156" y="1279"/>
                    <a:pt x="156" y="1279"/>
                  </a:cubicBezTo>
                  <a:cubicBezTo>
                    <a:pt x="156" y="1279"/>
                    <a:pt x="169" y="1289"/>
                    <a:pt x="177" y="1290"/>
                  </a:cubicBezTo>
                  <a:cubicBezTo>
                    <a:pt x="186" y="1291"/>
                    <a:pt x="186" y="1277"/>
                    <a:pt x="186" y="1277"/>
                  </a:cubicBezTo>
                  <a:cubicBezTo>
                    <a:pt x="192" y="1290"/>
                    <a:pt x="192" y="1290"/>
                    <a:pt x="192" y="1290"/>
                  </a:cubicBezTo>
                  <a:cubicBezTo>
                    <a:pt x="192" y="1290"/>
                    <a:pt x="175" y="1300"/>
                    <a:pt x="173" y="1311"/>
                  </a:cubicBezTo>
                  <a:cubicBezTo>
                    <a:pt x="170" y="1322"/>
                    <a:pt x="186" y="1310"/>
                    <a:pt x="193" y="1313"/>
                  </a:cubicBezTo>
                  <a:cubicBezTo>
                    <a:pt x="200" y="1317"/>
                    <a:pt x="198" y="1330"/>
                    <a:pt x="198" y="1330"/>
                  </a:cubicBezTo>
                  <a:cubicBezTo>
                    <a:pt x="179" y="1328"/>
                    <a:pt x="179" y="1328"/>
                    <a:pt x="179" y="1328"/>
                  </a:cubicBezTo>
                  <a:cubicBezTo>
                    <a:pt x="190" y="1341"/>
                    <a:pt x="190" y="1341"/>
                    <a:pt x="190" y="1341"/>
                  </a:cubicBezTo>
                  <a:cubicBezTo>
                    <a:pt x="183" y="1349"/>
                    <a:pt x="183" y="1349"/>
                    <a:pt x="183" y="1349"/>
                  </a:cubicBezTo>
                  <a:cubicBezTo>
                    <a:pt x="195" y="1367"/>
                    <a:pt x="195" y="1367"/>
                    <a:pt x="195" y="1367"/>
                  </a:cubicBezTo>
                  <a:cubicBezTo>
                    <a:pt x="195" y="1367"/>
                    <a:pt x="188" y="1375"/>
                    <a:pt x="181" y="1384"/>
                  </a:cubicBezTo>
                  <a:cubicBezTo>
                    <a:pt x="174" y="1394"/>
                    <a:pt x="212" y="1403"/>
                    <a:pt x="212" y="1403"/>
                  </a:cubicBezTo>
                  <a:cubicBezTo>
                    <a:pt x="212" y="1403"/>
                    <a:pt x="205" y="1409"/>
                    <a:pt x="200" y="1413"/>
                  </a:cubicBezTo>
                  <a:cubicBezTo>
                    <a:pt x="195" y="1416"/>
                    <a:pt x="202" y="1427"/>
                    <a:pt x="212" y="1432"/>
                  </a:cubicBezTo>
                  <a:cubicBezTo>
                    <a:pt x="221" y="1436"/>
                    <a:pt x="234" y="1433"/>
                    <a:pt x="234" y="1433"/>
                  </a:cubicBezTo>
                  <a:cubicBezTo>
                    <a:pt x="239" y="1457"/>
                    <a:pt x="239" y="1457"/>
                    <a:pt x="239" y="1457"/>
                  </a:cubicBezTo>
                  <a:cubicBezTo>
                    <a:pt x="239" y="1457"/>
                    <a:pt x="219" y="1470"/>
                    <a:pt x="214" y="1477"/>
                  </a:cubicBezTo>
                  <a:cubicBezTo>
                    <a:pt x="209" y="1484"/>
                    <a:pt x="228" y="1485"/>
                    <a:pt x="228" y="1485"/>
                  </a:cubicBezTo>
                  <a:cubicBezTo>
                    <a:pt x="228" y="1485"/>
                    <a:pt x="252" y="1490"/>
                    <a:pt x="252" y="1497"/>
                  </a:cubicBezTo>
                  <a:cubicBezTo>
                    <a:pt x="252" y="1504"/>
                    <a:pt x="237" y="1498"/>
                    <a:pt x="227" y="1493"/>
                  </a:cubicBezTo>
                  <a:cubicBezTo>
                    <a:pt x="218" y="1488"/>
                    <a:pt x="216" y="1503"/>
                    <a:pt x="216" y="1503"/>
                  </a:cubicBezTo>
                  <a:cubicBezTo>
                    <a:pt x="235" y="1507"/>
                    <a:pt x="235" y="1507"/>
                    <a:pt x="235" y="1507"/>
                  </a:cubicBezTo>
                  <a:cubicBezTo>
                    <a:pt x="221" y="1514"/>
                    <a:pt x="221" y="1514"/>
                    <a:pt x="221" y="1514"/>
                  </a:cubicBezTo>
                  <a:cubicBezTo>
                    <a:pt x="222" y="1531"/>
                    <a:pt x="222" y="1531"/>
                    <a:pt x="222" y="1531"/>
                  </a:cubicBezTo>
                  <a:cubicBezTo>
                    <a:pt x="222" y="1531"/>
                    <a:pt x="238" y="1523"/>
                    <a:pt x="231" y="1544"/>
                  </a:cubicBezTo>
                  <a:cubicBezTo>
                    <a:pt x="224" y="1565"/>
                    <a:pt x="214" y="1535"/>
                    <a:pt x="214" y="1535"/>
                  </a:cubicBezTo>
                  <a:cubicBezTo>
                    <a:pt x="190" y="1536"/>
                    <a:pt x="190" y="1536"/>
                    <a:pt x="190" y="1536"/>
                  </a:cubicBezTo>
                  <a:cubicBezTo>
                    <a:pt x="206" y="1529"/>
                    <a:pt x="206" y="1529"/>
                    <a:pt x="206" y="1529"/>
                  </a:cubicBezTo>
                  <a:cubicBezTo>
                    <a:pt x="206" y="1529"/>
                    <a:pt x="189" y="1511"/>
                    <a:pt x="186" y="1512"/>
                  </a:cubicBezTo>
                  <a:cubicBezTo>
                    <a:pt x="182" y="1513"/>
                    <a:pt x="185" y="1522"/>
                    <a:pt x="185" y="1522"/>
                  </a:cubicBezTo>
                  <a:cubicBezTo>
                    <a:pt x="179" y="1516"/>
                    <a:pt x="179" y="1516"/>
                    <a:pt x="179" y="1516"/>
                  </a:cubicBezTo>
                  <a:cubicBezTo>
                    <a:pt x="154" y="1523"/>
                    <a:pt x="154" y="1523"/>
                    <a:pt x="154" y="1523"/>
                  </a:cubicBezTo>
                  <a:cubicBezTo>
                    <a:pt x="176" y="1528"/>
                    <a:pt x="176" y="1528"/>
                    <a:pt x="176" y="1528"/>
                  </a:cubicBezTo>
                  <a:cubicBezTo>
                    <a:pt x="176" y="1528"/>
                    <a:pt x="172" y="1531"/>
                    <a:pt x="168" y="1537"/>
                  </a:cubicBezTo>
                  <a:cubicBezTo>
                    <a:pt x="164" y="1543"/>
                    <a:pt x="148" y="1549"/>
                    <a:pt x="147" y="1558"/>
                  </a:cubicBezTo>
                  <a:cubicBezTo>
                    <a:pt x="146" y="1568"/>
                    <a:pt x="166" y="1572"/>
                    <a:pt x="169" y="1570"/>
                  </a:cubicBezTo>
                  <a:cubicBezTo>
                    <a:pt x="173" y="1568"/>
                    <a:pt x="161" y="1559"/>
                    <a:pt x="161" y="1559"/>
                  </a:cubicBezTo>
                  <a:cubicBezTo>
                    <a:pt x="176" y="1556"/>
                    <a:pt x="176" y="1556"/>
                    <a:pt x="176" y="1556"/>
                  </a:cubicBezTo>
                  <a:cubicBezTo>
                    <a:pt x="176" y="1556"/>
                    <a:pt x="183" y="1561"/>
                    <a:pt x="187" y="1565"/>
                  </a:cubicBezTo>
                  <a:cubicBezTo>
                    <a:pt x="190" y="1570"/>
                    <a:pt x="214" y="1567"/>
                    <a:pt x="214" y="1567"/>
                  </a:cubicBezTo>
                  <a:cubicBezTo>
                    <a:pt x="214" y="1567"/>
                    <a:pt x="229" y="1574"/>
                    <a:pt x="235" y="1582"/>
                  </a:cubicBezTo>
                  <a:cubicBezTo>
                    <a:pt x="241" y="1590"/>
                    <a:pt x="222" y="1598"/>
                    <a:pt x="222" y="1598"/>
                  </a:cubicBezTo>
                  <a:cubicBezTo>
                    <a:pt x="228" y="1608"/>
                    <a:pt x="228" y="1608"/>
                    <a:pt x="228" y="1608"/>
                  </a:cubicBezTo>
                  <a:cubicBezTo>
                    <a:pt x="240" y="1604"/>
                    <a:pt x="240" y="1604"/>
                    <a:pt x="240" y="1604"/>
                  </a:cubicBezTo>
                  <a:cubicBezTo>
                    <a:pt x="240" y="1615"/>
                    <a:pt x="240" y="1615"/>
                    <a:pt x="240" y="1615"/>
                  </a:cubicBezTo>
                  <a:cubicBezTo>
                    <a:pt x="252" y="1620"/>
                    <a:pt x="252" y="1620"/>
                    <a:pt x="252" y="1620"/>
                  </a:cubicBezTo>
                  <a:cubicBezTo>
                    <a:pt x="257" y="1604"/>
                    <a:pt x="257" y="1604"/>
                    <a:pt x="257" y="1604"/>
                  </a:cubicBezTo>
                  <a:cubicBezTo>
                    <a:pt x="266" y="1620"/>
                    <a:pt x="266" y="1620"/>
                    <a:pt x="266" y="1620"/>
                  </a:cubicBezTo>
                  <a:cubicBezTo>
                    <a:pt x="266" y="1620"/>
                    <a:pt x="285" y="1620"/>
                    <a:pt x="283" y="1634"/>
                  </a:cubicBezTo>
                  <a:cubicBezTo>
                    <a:pt x="280" y="1648"/>
                    <a:pt x="258" y="1632"/>
                    <a:pt x="250" y="1630"/>
                  </a:cubicBezTo>
                  <a:cubicBezTo>
                    <a:pt x="241" y="1629"/>
                    <a:pt x="248" y="1643"/>
                    <a:pt x="248" y="1643"/>
                  </a:cubicBezTo>
                  <a:cubicBezTo>
                    <a:pt x="248" y="1643"/>
                    <a:pt x="269" y="1650"/>
                    <a:pt x="270" y="1665"/>
                  </a:cubicBezTo>
                  <a:cubicBezTo>
                    <a:pt x="271" y="1679"/>
                    <a:pt x="256" y="1674"/>
                    <a:pt x="256" y="1674"/>
                  </a:cubicBezTo>
                  <a:cubicBezTo>
                    <a:pt x="265" y="1686"/>
                    <a:pt x="265" y="1686"/>
                    <a:pt x="265" y="1686"/>
                  </a:cubicBezTo>
                  <a:cubicBezTo>
                    <a:pt x="274" y="1710"/>
                    <a:pt x="274" y="1710"/>
                    <a:pt x="274" y="1710"/>
                  </a:cubicBezTo>
                  <a:cubicBezTo>
                    <a:pt x="283" y="1681"/>
                    <a:pt x="283" y="1681"/>
                    <a:pt x="283" y="1681"/>
                  </a:cubicBezTo>
                  <a:cubicBezTo>
                    <a:pt x="283" y="1701"/>
                    <a:pt x="283" y="1701"/>
                    <a:pt x="283" y="1701"/>
                  </a:cubicBezTo>
                  <a:cubicBezTo>
                    <a:pt x="296" y="1717"/>
                    <a:pt x="296" y="1717"/>
                    <a:pt x="296" y="1717"/>
                  </a:cubicBezTo>
                  <a:cubicBezTo>
                    <a:pt x="280" y="1717"/>
                    <a:pt x="280" y="1717"/>
                    <a:pt x="280" y="1717"/>
                  </a:cubicBezTo>
                  <a:cubicBezTo>
                    <a:pt x="283" y="1730"/>
                    <a:pt x="283" y="1730"/>
                    <a:pt x="283" y="1730"/>
                  </a:cubicBezTo>
                  <a:cubicBezTo>
                    <a:pt x="298" y="1731"/>
                    <a:pt x="298" y="1731"/>
                    <a:pt x="298" y="1731"/>
                  </a:cubicBezTo>
                  <a:cubicBezTo>
                    <a:pt x="289" y="1739"/>
                    <a:pt x="289" y="1739"/>
                    <a:pt x="289" y="1739"/>
                  </a:cubicBezTo>
                  <a:cubicBezTo>
                    <a:pt x="309" y="1745"/>
                    <a:pt x="309" y="1745"/>
                    <a:pt x="309" y="1745"/>
                  </a:cubicBezTo>
                  <a:cubicBezTo>
                    <a:pt x="296" y="1753"/>
                    <a:pt x="296" y="1753"/>
                    <a:pt x="296" y="1753"/>
                  </a:cubicBezTo>
                  <a:cubicBezTo>
                    <a:pt x="315" y="1760"/>
                    <a:pt x="315" y="1760"/>
                    <a:pt x="315" y="1760"/>
                  </a:cubicBezTo>
                  <a:cubicBezTo>
                    <a:pt x="310" y="1770"/>
                    <a:pt x="310" y="1770"/>
                    <a:pt x="310" y="1770"/>
                  </a:cubicBezTo>
                  <a:cubicBezTo>
                    <a:pt x="322" y="1773"/>
                    <a:pt x="322" y="1773"/>
                    <a:pt x="322" y="1773"/>
                  </a:cubicBezTo>
                  <a:cubicBezTo>
                    <a:pt x="322" y="1773"/>
                    <a:pt x="324" y="1750"/>
                    <a:pt x="331" y="1762"/>
                  </a:cubicBezTo>
                  <a:cubicBezTo>
                    <a:pt x="338" y="1773"/>
                    <a:pt x="329" y="1779"/>
                    <a:pt x="323" y="1783"/>
                  </a:cubicBezTo>
                  <a:cubicBezTo>
                    <a:pt x="317" y="1786"/>
                    <a:pt x="323" y="1794"/>
                    <a:pt x="323" y="1794"/>
                  </a:cubicBezTo>
                  <a:cubicBezTo>
                    <a:pt x="343" y="1795"/>
                    <a:pt x="343" y="1795"/>
                    <a:pt x="343" y="1795"/>
                  </a:cubicBezTo>
                  <a:cubicBezTo>
                    <a:pt x="343" y="1795"/>
                    <a:pt x="344" y="1805"/>
                    <a:pt x="350" y="1810"/>
                  </a:cubicBezTo>
                  <a:cubicBezTo>
                    <a:pt x="356" y="1815"/>
                    <a:pt x="373" y="1824"/>
                    <a:pt x="373" y="1824"/>
                  </a:cubicBezTo>
                  <a:cubicBezTo>
                    <a:pt x="370" y="1802"/>
                    <a:pt x="370" y="1802"/>
                    <a:pt x="370" y="1802"/>
                  </a:cubicBezTo>
                  <a:cubicBezTo>
                    <a:pt x="370" y="1802"/>
                    <a:pt x="391" y="1810"/>
                    <a:pt x="407" y="1821"/>
                  </a:cubicBezTo>
                  <a:cubicBezTo>
                    <a:pt x="422" y="1831"/>
                    <a:pt x="409" y="1841"/>
                    <a:pt x="409" y="1841"/>
                  </a:cubicBezTo>
                  <a:cubicBezTo>
                    <a:pt x="420" y="1848"/>
                    <a:pt x="420" y="1848"/>
                    <a:pt x="420" y="1848"/>
                  </a:cubicBezTo>
                  <a:cubicBezTo>
                    <a:pt x="419" y="1861"/>
                    <a:pt x="419" y="1861"/>
                    <a:pt x="419" y="1861"/>
                  </a:cubicBezTo>
                  <a:cubicBezTo>
                    <a:pt x="458" y="1861"/>
                    <a:pt x="458" y="1861"/>
                    <a:pt x="458" y="1861"/>
                  </a:cubicBezTo>
                  <a:cubicBezTo>
                    <a:pt x="462" y="1868"/>
                    <a:pt x="462" y="1868"/>
                    <a:pt x="462" y="1868"/>
                  </a:cubicBezTo>
                  <a:cubicBezTo>
                    <a:pt x="442" y="1868"/>
                    <a:pt x="442" y="1868"/>
                    <a:pt x="442" y="1868"/>
                  </a:cubicBezTo>
                  <a:cubicBezTo>
                    <a:pt x="434" y="1876"/>
                    <a:pt x="434" y="1876"/>
                    <a:pt x="434" y="1876"/>
                  </a:cubicBezTo>
                  <a:cubicBezTo>
                    <a:pt x="421" y="1877"/>
                    <a:pt x="421" y="1877"/>
                    <a:pt x="421" y="1877"/>
                  </a:cubicBezTo>
                  <a:cubicBezTo>
                    <a:pt x="410" y="1889"/>
                    <a:pt x="410" y="1889"/>
                    <a:pt x="410" y="1889"/>
                  </a:cubicBezTo>
                  <a:cubicBezTo>
                    <a:pt x="430" y="1892"/>
                    <a:pt x="430" y="1892"/>
                    <a:pt x="430" y="1892"/>
                  </a:cubicBezTo>
                  <a:cubicBezTo>
                    <a:pt x="426" y="1902"/>
                    <a:pt x="426" y="1902"/>
                    <a:pt x="426" y="1902"/>
                  </a:cubicBezTo>
                  <a:cubicBezTo>
                    <a:pt x="442" y="1900"/>
                    <a:pt x="442" y="1900"/>
                    <a:pt x="442" y="1900"/>
                  </a:cubicBezTo>
                  <a:cubicBezTo>
                    <a:pt x="444" y="1887"/>
                    <a:pt x="444" y="1887"/>
                    <a:pt x="444" y="1887"/>
                  </a:cubicBezTo>
                  <a:cubicBezTo>
                    <a:pt x="459" y="1893"/>
                    <a:pt x="459" y="1893"/>
                    <a:pt x="459" y="1893"/>
                  </a:cubicBezTo>
                  <a:cubicBezTo>
                    <a:pt x="459" y="1893"/>
                    <a:pt x="477" y="1868"/>
                    <a:pt x="486" y="1875"/>
                  </a:cubicBezTo>
                  <a:cubicBezTo>
                    <a:pt x="496" y="1882"/>
                    <a:pt x="467" y="1907"/>
                    <a:pt x="467" y="1907"/>
                  </a:cubicBezTo>
                  <a:cubicBezTo>
                    <a:pt x="467" y="1907"/>
                    <a:pt x="464" y="1900"/>
                    <a:pt x="455" y="1901"/>
                  </a:cubicBezTo>
                  <a:cubicBezTo>
                    <a:pt x="447" y="1902"/>
                    <a:pt x="452" y="1913"/>
                    <a:pt x="452" y="1913"/>
                  </a:cubicBezTo>
                  <a:cubicBezTo>
                    <a:pt x="440" y="1913"/>
                    <a:pt x="440" y="1913"/>
                    <a:pt x="440" y="1913"/>
                  </a:cubicBezTo>
                  <a:cubicBezTo>
                    <a:pt x="431" y="1910"/>
                    <a:pt x="419" y="1921"/>
                    <a:pt x="419" y="1921"/>
                  </a:cubicBezTo>
                  <a:cubicBezTo>
                    <a:pt x="428" y="1927"/>
                    <a:pt x="428" y="1927"/>
                    <a:pt x="428" y="1927"/>
                  </a:cubicBezTo>
                  <a:cubicBezTo>
                    <a:pt x="430" y="1945"/>
                    <a:pt x="430" y="1945"/>
                    <a:pt x="430" y="1945"/>
                  </a:cubicBezTo>
                  <a:cubicBezTo>
                    <a:pt x="450" y="1935"/>
                    <a:pt x="450" y="1935"/>
                    <a:pt x="450" y="1935"/>
                  </a:cubicBezTo>
                  <a:cubicBezTo>
                    <a:pt x="450" y="1935"/>
                    <a:pt x="455" y="1946"/>
                    <a:pt x="461" y="1945"/>
                  </a:cubicBezTo>
                  <a:cubicBezTo>
                    <a:pt x="466" y="1944"/>
                    <a:pt x="467" y="1924"/>
                    <a:pt x="476" y="1919"/>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82" name="Freeform 143"/>
            <p:cNvSpPr>
              <a:spLocks/>
            </p:cNvSpPr>
            <p:nvPr/>
          </p:nvSpPr>
          <p:spPr bwMode="gray">
            <a:xfrm>
              <a:off x="2360613" y="3378200"/>
              <a:ext cx="96837" cy="61913"/>
            </a:xfrm>
            <a:custGeom>
              <a:avLst/>
              <a:gdLst>
                <a:gd name="T0" fmla="*/ 165 w 172"/>
                <a:gd name="T1" fmla="*/ 68 h 111"/>
                <a:gd name="T2" fmla="*/ 128 w 172"/>
                <a:gd name="T3" fmla="*/ 43 h 111"/>
                <a:gd name="T4" fmla="*/ 97 w 172"/>
                <a:gd name="T5" fmla="*/ 32 h 111"/>
                <a:gd name="T6" fmla="*/ 75 w 172"/>
                <a:gd name="T7" fmla="*/ 5 h 111"/>
                <a:gd name="T8" fmla="*/ 29 w 172"/>
                <a:gd name="T9" fmla="*/ 0 h 111"/>
                <a:gd name="T10" fmla="*/ 15 w 172"/>
                <a:gd name="T11" fmla="*/ 4 h 111"/>
                <a:gd name="T12" fmla="*/ 21 w 172"/>
                <a:gd name="T13" fmla="*/ 26 h 111"/>
                <a:gd name="T14" fmla="*/ 14 w 172"/>
                <a:gd name="T15" fmla="*/ 48 h 111"/>
                <a:gd name="T16" fmla="*/ 3 w 172"/>
                <a:gd name="T17" fmla="*/ 73 h 111"/>
                <a:gd name="T18" fmla="*/ 10 w 172"/>
                <a:gd name="T19" fmla="*/ 97 h 111"/>
                <a:gd name="T20" fmla="*/ 0 w 172"/>
                <a:gd name="T21" fmla="*/ 84 h 111"/>
                <a:gd name="T22" fmla="*/ 23 w 172"/>
                <a:gd name="T23" fmla="*/ 111 h 111"/>
                <a:gd name="T24" fmla="*/ 56 w 172"/>
                <a:gd name="T25" fmla="*/ 87 h 111"/>
                <a:gd name="T26" fmla="*/ 118 w 172"/>
                <a:gd name="T27" fmla="*/ 89 h 111"/>
                <a:gd name="T28" fmla="*/ 161 w 172"/>
                <a:gd name="T29" fmla="*/ 89 h 111"/>
                <a:gd name="T30" fmla="*/ 165 w 172"/>
                <a:gd name="T31" fmla="*/ 68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72" h="111">
                  <a:moveTo>
                    <a:pt x="165" y="68"/>
                  </a:moveTo>
                  <a:cubicBezTo>
                    <a:pt x="165" y="68"/>
                    <a:pt x="143" y="49"/>
                    <a:pt x="128" y="43"/>
                  </a:cubicBezTo>
                  <a:cubicBezTo>
                    <a:pt x="114" y="38"/>
                    <a:pt x="108" y="36"/>
                    <a:pt x="97" y="32"/>
                  </a:cubicBezTo>
                  <a:cubicBezTo>
                    <a:pt x="87" y="28"/>
                    <a:pt x="81" y="9"/>
                    <a:pt x="75" y="5"/>
                  </a:cubicBezTo>
                  <a:cubicBezTo>
                    <a:pt x="69" y="2"/>
                    <a:pt x="46" y="0"/>
                    <a:pt x="29" y="0"/>
                  </a:cubicBezTo>
                  <a:cubicBezTo>
                    <a:pt x="22" y="0"/>
                    <a:pt x="18" y="2"/>
                    <a:pt x="15" y="4"/>
                  </a:cubicBezTo>
                  <a:cubicBezTo>
                    <a:pt x="17" y="10"/>
                    <a:pt x="21" y="20"/>
                    <a:pt x="21" y="26"/>
                  </a:cubicBezTo>
                  <a:cubicBezTo>
                    <a:pt x="20" y="36"/>
                    <a:pt x="16" y="39"/>
                    <a:pt x="14" y="48"/>
                  </a:cubicBezTo>
                  <a:cubicBezTo>
                    <a:pt x="11" y="57"/>
                    <a:pt x="3" y="73"/>
                    <a:pt x="3" y="73"/>
                  </a:cubicBezTo>
                  <a:cubicBezTo>
                    <a:pt x="10" y="97"/>
                    <a:pt x="10" y="97"/>
                    <a:pt x="10" y="97"/>
                  </a:cubicBezTo>
                  <a:cubicBezTo>
                    <a:pt x="0" y="84"/>
                    <a:pt x="0" y="84"/>
                    <a:pt x="0" y="84"/>
                  </a:cubicBezTo>
                  <a:cubicBezTo>
                    <a:pt x="23" y="111"/>
                    <a:pt x="23" y="111"/>
                    <a:pt x="23" y="111"/>
                  </a:cubicBezTo>
                  <a:cubicBezTo>
                    <a:pt x="56" y="87"/>
                    <a:pt x="56" y="87"/>
                    <a:pt x="56" y="87"/>
                  </a:cubicBezTo>
                  <a:cubicBezTo>
                    <a:pt x="56" y="87"/>
                    <a:pt x="85" y="87"/>
                    <a:pt x="118" y="89"/>
                  </a:cubicBezTo>
                  <a:cubicBezTo>
                    <a:pt x="131" y="90"/>
                    <a:pt x="153" y="93"/>
                    <a:pt x="161" y="89"/>
                  </a:cubicBezTo>
                  <a:cubicBezTo>
                    <a:pt x="172" y="83"/>
                    <a:pt x="165" y="68"/>
                    <a:pt x="165" y="68"/>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83" name="Freeform 144"/>
            <p:cNvSpPr>
              <a:spLocks/>
            </p:cNvSpPr>
            <p:nvPr/>
          </p:nvSpPr>
          <p:spPr bwMode="gray">
            <a:xfrm>
              <a:off x="2298700" y="3376613"/>
              <a:ext cx="74612" cy="60325"/>
            </a:xfrm>
            <a:custGeom>
              <a:avLst/>
              <a:gdLst>
                <a:gd name="T0" fmla="*/ 114 w 132"/>
                <a:gd name="T1" fmla="*/ 74 h 106"/>
                <a:gd name="T2" fmla="*/ 125 w 132"/>
                <a:gd name="T3" fmla="*/ 49 h 106"/>
                <a:gd name="T4" fmla="*/ 132 w 132"/>
                <a:gd name="T5" fmla="*/ 27 h 106"/>
                <a:gd name="T6" fmla="*/ 126 w 132"/>
                <a:gd name="T7" fmla="*/ 5 h 106"/>
                <a:gd name="T8" fmla="*/ 120 w 132"/>
                <a:gd name="T9" fmla="*/ 12 h 106"/>
                <a:gd name="T10" fmla="*/ 70 w 132"/>
                <a:gd name="T11" fmla="*/ 0 h 106"/>
                <a:gd name="T12" fmla="*/ 43 w 132"/>
                <a:gd name="T13" fmla="*/ 10 h 106"/>
                <a:gd name="T14" fmla="*/ 68 w 132"/>
                <a:gd name="T15" fmla="*/ 17 h 106"/>
                <a:gd name="T16" fmla="*/ 87 w 132"/>
                <a:gd name="T17" fmla="*/ 31 h 106"/>
                <a:gd name="T18" fmla="*/ 74 w 132"/>
                <a:gd name="T19" fmla="*/ 49 h 106"/>
                <a:gd name="T20" fmla="*/ 72 w 132"/>
                <a:gd name="T21" fmla="*/ 70 h 106"/>
                <a:gd name="T22" fmla="*/ 31 w 132"/>
                <a:gd name="T23" fmla="*/ 64 h 106"/>
                <a:gd name="T24" fmla="*/ 0 w 132"/>
                <a:gd name="T25" fmla="*/ 72 h 106"/>
                <a:gd name="T26" fmla="*/ 26 w 132"/>
                <a:gd name="T27" fmla="*/ 102 h 106"/>
                <a:gd name="T28" fmla="*/ 43 w 132"/>
                <a:gd name="T29" fmla="*/ 87 h 106"/>
                <a:gd name="T30" fmla="*/ 74 w 132"/>
                <a:gd name="T31" fmla="*/ 89 h 106"/>
                <a:gd name="T32" fmla="*/ 111 w 132"/>
                <a:gd name="T33" fmla="*/ 85 h 106"/>
                <a:gd name="T34" fmla="*/ 121 w 132"/>
                <a:gd name="T35" fmla="*/ 98 h 106"/>
                <a:gd name="T36" fmla="*/ 114 w 132"/>
                <a:gd name="T37" fmla="*/ 7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2" h="106">
                  <a:moveTo>
                    <a:pt x="114" y="74"/>
                  </a:moveTo>
                  <a:cubicBezTo>
                    <a:pt x="114" y="74"/>
                    <a:pt x="122" y="58"/>
                    <a:pt x="125" y="49"/>
                  </a:cubicBezTo>
                  <a:cubicBezTo>
                    <a:pt x="127" y="40"/>
                    <a:pt x="131" y="37"/>
                    <a:pt x="132" y="27"/>
                  </a:cubicBezTo>
                  <a:cubicBezTo>
                    <a:pt x="132" y="21"/>
                    <a:pt x="128" y="11"/>
                    <a:pt x="126" y="5"/>
                  </a:cubicBezTo>
                  <a:cubicBezTo>
                    <a:pt x="121" y="8"/>
                    <a:pt x="120" y="12"/>
                    <a:pt x="120" y="12"/>
                  </a:cubicBezTo>
                  <a:cubicBezTo>
                    <a:pt x="120" y="12"/>
                    <a:pt x="85" y="0"/>
                    <a:pt x="70" y="0"/>
                  </a:cubicBezTo>
                  <a:cubicBezTo>
                    <a:pt x="56" y="0"/>
                    <a:pt x="49" y="2"/>
                    <a:pt x="43" y="10"/>
                  </a:cubicBezTo>
                  <a:cubicBezTo>
                    <a:pt x="37" y="17"/>
                    <a:pt x="62" y="17"/>
                    <a:pt x="68" y="17"/>
                  </a:cubicBezTo>
                  <a:cubicBezTo>
                    <a:pt x="74" y="17"/>
                    <a:pt x="87" y="31"/>
                    <a:pt x="87" y="31"/>
                  </a:cubicBezTo>
                  <a:cubicBezTo>
                    <a:pt x="87" y="31"/>
                    <a:pt x="72" y="34"/>
                    <a:pt x="74" y="49"/>
                  </a:cubicBezTo>
                  <a:cubicBezTo>
                    <a:pt x="76" y="65"/>
                    <a:pt x="84" y="70"/>
                    <a:pt x="72" y="70"/>
                  </a:cubicBezTo>
                  <a:cubicBezTo>
                    <a:pt x="59" y="70"/>
                    <a:pt x="39" y="63"/>
                    <a:pt x="31" y="64"/>
                  </a:cubicBezTo>
                  <a:cubicBezTo>
                    <a:pt x="22" y="66"/>
                    <a:pt x="6" y="62"/>
                    <a:pt x="0" y="72"/>
                  </a:cubicBezTo>
                  <a:cubicBezTo>
                    <a:pt x="0" y="72"/>
                    <a:pt x="18" y="98"/>
                    <a:pt x="26" y="102"/>
                  </a:cubicBezTo>
                  <a:cubicBezTo>
                    <a:pt x="35" y="106"/>
                    <a:pt x="43" y="87"/>
                    <a:pt x="43" y="87"/>
                  </a:cubicBezTo>
                  <a:cubicBezTo>
                    <a:pt x="43" y="87"/>
                    <a:pt x="57" y="89"/>
                    <a:pt x="74" y="89"/>
                  </a:cubicBezTo>
                  <a:cubicBezTo>
                    <a:pt x="90" y="89"/>
                    <a:pt x="111" y="85"/>
                    <a:pt x="111" y="85"/>
                  </a:cubicBezTo>
                  <a:cubicBezTo>
                    <a:pt x="121" y="98"/>
                    <a:pt x="121" y="98"/>
                    <a:pt x="121" y="98"/>
                  </a:cubicBezTo>
                  <a:lnTo>
                    <a:pt x="114" y="74"/>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84" name="Freeform 145"/>
            <p:cNvSpPr>
              <a:spLocks noEditPoints="1"/>
            </p:cNvSpPr>
            <p:nvPr/>
          </p:nvSpPr>
          <p:spPr bwMode="gray">
            <a:xfrm>
              <a:off x="2789238" y="2444750"/>
              <a:ext cx="1706562" cy="1468438"/>
            </a:xfrm>
            <a:custGeom>
              <a:avLst/>
              <a:gdLst>
                <a:gd name="T0" fmla="*/ 3045 w 3050"/>
                <a:gd name="T1" fmla="*/ 429 h 2623"/>
                <a:gd name="T2" fmla="*/ 3017 w 3050"/>
                <a:gd name="T3" fmla="*/ 487 h 2623"/>
                <a:gd name="T4" fmla="*/ 3043 w 3050"/>
                <a:gd name="T5" fmla="*/ 495 h 2623"/>
                <a:gd name="T6" fmla="*/ 3048 w 3050"/>
                <a:gd name="T7" fmla="*/ 446 h 2623"/>
                <a:gd name="T8" fmla="*/ 2944 w 3050"/>
                <a:gd name="T9" fmla="*/ 106 h 2623"/>
                <a:gd name="T10" fmla="*/ 2924 w 3050"/>
                <a:gd name="T11" fmla="*/ 87 h 2623"/>
                <a:gd name="T12" fmla="*/ 2899 w 3050"/>
                <a:gd name="T13" fmla="*/ 85 h 2623"/>
                <a:gd name="T14" fmla="*/ 2877 w 3050"/>
                <a:gd name="T15" fmla="*/ 77 h 2623"/>
                <a:gd name="T16" fmla="*/ 2843 w 3050"/>
                <a:gd name="T17" fmla="*/ 61 h 2623"/>
                <a:gd name="T18" fmla="*/ 2800 w 3050"/>
                <a:gd name="T19" fmla="*/ 37 h 2623"/>
                <a:gd name="T20" fmla="*/ 2771 w 3050"/>
                <a:gd name="T21" fmla="*/ 12 h 2623"/>
                <a:gd name="T22" fmla="*/ 2715 w 3050"/>
                <a:gd name="T23" fmla="*/ 12 h 2623"/>
                <a:gd name="T24" fmla="*/ 2686 w 3050"/>
                <a:gd name="T25" fmla="*/ 60 h 2623"/>
                <a:gd name="T26" fmla="*/ 2635 w 3050"/>
                <a:gd name="T27" fmla="*/ 97 h 2623"/>
                <a:gd name="T28" fmla="*/ 2580 w 3050"/>
                <a:gd name="T29" fmla="*/ 75 h 2623"/>
                <a:gd name="T30" fmla="*/ 2550 w 3050"/>
                <a:gd name="T31" fmla="*/ 125 h 2623"/>
                <a:gd name="T32" fmla="*/ 2495 w 3050"/>
                <a:gd name="T33" fmla="*/ 124 h 2623"/>
                <a:gd name="T34" fmla="*/ 2450 w 3050"/>
                <a:gd name="T35" fmla="*/ 161 h 2623"/>
                <a:gd name="T36" fmla="*/ 2514 w 3050"/>
                <a:gd name="T37" fmla="*/ 184 h 2623"/>
                <a:gd name="T38" fmla="*/ 2572 w 3050"/>
                <a:gd name="T39" fmla="*/ 199 h 2623"/>
                <a:gd name="T40" fmla="*/ 2597 w 3050"/>
                <a:gd name="T41" fmla="*/ 248 h 2623"/>
                <a:gd name="T42" fmla="*/ 2617 w 3050"/>
                <a:gd name="T43" fmla="*/ 320 h 2623"/>
                <a:gd name="T44" fmla="*/ 2576 w 3050"/>
                <a:gd name="T45" fmla="*/ 391 h 2623"/>
                <a:gd name="T46" fmla="*/ 2578 w 3050"/>
                <a:gd name="T47" fmla="*/ 414 h 2623"/>
                <a:gd name="T48" fmla="*/ 2612 w 3050"/>
                <a:gd name="T49" fmla="*/ 437 h 2623"/>
                <a:gd name="T50" fmla="*/ 2651 w 3050"/>
                <a:gd name="T51" fmla="*/ 441 h 2623"/>
                <a:gd name="T52" fmla="*/ 2673 w 3050"/>
                <a:gd name="T53" fmla="*/ 434 h 2623"/>
                <a:gd name="T54" fmla="*/ 2697 w 3050"/>
                <a:gd name="T55" fmla="*/ 446 h 2623"/>
                <a:gd name="T56" fmla="*/ 2717 w 3050"/>
                <a:gd name="T57" fmla="*/ 454 h 2623"/>
                <a:gd name="T58" fmla="*/ 2742 w 3050"/>
                <a:gd name="T59" fmla="*/ 463 h 2623"/>
                <a:gd name="T60" fmla="*/ 2763 w 3050"/>
                <a:gd name="T61" fmla="*/ 453 h 2623"/>
                <a:gd name="T62" fmla="*/ 2822 w 3050"/>
                <a:gd name="T63" fmla="*/ 397 h 2623"/>
                <a:gd name="T64" fmla="*/ 2882 w 3050"/>
                <a:gd name="T65" fmla="*/ 421 h 2623"/>
                <a:gd name="T66" fmla="*/ 2957 w 3050"/>
                <a:gd name="T67" fmla="*/ 388 h 2623"/>
                <a:gd name="T68" fmla="*/ 2950 w 3050"/>
                <a:gd name="T69" fmla="*/ 367 h 2623"/>
                <a:gd name="T70" fmla="*/ 2940 w 3050"/>
                <a:gd name="T71" fmla="*/ 335 h 2623"/>
                <a:gd name="T72" fmla="*/ 2922 w 3050"/>
                <a:gd name="T73" fmla="*/ 314 h 2623"/>
                <a:gd name="T74" fmla="*/ 2939 w 3050"/>
                <a:gd name="T75" fmla="*/ 289 h 2623"/>
                <a:gd name="T76" fmla="*/ 2934 w 3050"/>
                <a:gd name="T77" fmla="*/ 263 h 2623"/>
                <a:gd name="T78" fmla="*/ 2902 w 3050"/>
                <a:gd name="T79" fmla="*/ 259 h 2623"/>
                <a:gd name="T80" fmla="*/ 2918 w 3050"/>
                <a:gd name="T81" fmla="*/ 226 h 2623"/>
                <a:gd name="T82" fmla="*/ 2943 w 3050"/>
                <a:gd name="T83" fmla="*/ 198 h 2623"/>
                <a:gd name="T84" fmla="*/ 2966 w 3050"/>
                <a:gd name="T85" fmla="*/ 186 h 2623"/>
                <a:gd name="T86" fmla="*/ 2976 w 3050"/>
                <a:gd name="T87" fmla="*/ 128 h 2623"/>
                <a:gd name="T88" fmla="*/ 2982 w 3050"/>
                <a:gd name="T89" fmla="*/ 106 h 2623"/>
                <a:gd name="T90" fmla="*/ 90 w 3050"/>
                <a:gd name="T91" fmla="*/ 2439 h 2623"/>
                <a:gd name="T92" fmla="*/ 32 w 3050"/>
                <a:gd name="T93" fmla="*/ 2444 h 2623"/>
                <a:gd name="T94" fmla="*/ 32 w 3050"/>
                <a:gd name="T95" fmla="*/ 2544 h 2623"/>
                <a:gd name="T96" fmla="*/ 11 w 3050"/>
                <a:gd name="T97" fmla="*/ 2594 h 2623"/>
                <a:gd name="T98" fmla="*/ 38 w 3050"/>
                <a:gd name="T99" fmla="*/ 2611 h 2623"/>
                <a:gd name="T100" fmla="*/ 62 w 3050"/>
                <a:gd name="T101" fmla="*/ 2610 h 2623"/>
                <a:gd name="T102" fmla="*/ 108 w 3050"/>
                <a:gd name="T103" fmla="*/ 2570 h 2623"/>
                <a:gd name="T104" fmla="*/ 125 w 3050"/>
                <a:gd name="T105" fmla="*/ 2479 h 26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050" h="2623">
                  <a:moveTo>
                    <a:pt x="3048" y="446"/>
                  </a:moveTo>
                  <a:cubicBezTo>
                    <a:pt x="3043" y="444"/>
                    <a:pt x="3043" y="444"/>
                    <a:pt x="3043" y="444"/>
                  </a:cubicBezTo>
                  <a:cubicBezTo>
                    <a:pt x="3043" y="444"/>
                    <a:pt x="3049" y="436"/>
                    <a:pt x="3045" y="429"/>
                  </a:cubicBezTo>
                  <a:cubicBezTo>
                    <a:pt x="3041" y="422"/>
                    <a:pt x="3033" y="440"/>
                    <a:pt x="3033" y="440"/>
                  </a:cubicBezTo>
                  <a:cubicBezTo>
                    <a:pt x="3033" y="440"/>
                    <a:pt x="3004" y="453"/>
                    <a:pt x="3007" y="467"/>
                  </a:cubicBezTo>
                  <a:cubicBezTo>
                    <a:pt x="3010" y="481"/>
                    <a:pt x="3017" y="487"/>
                    <a:pt x="3017" y="487"/>
                  </a:cubicBezTo>
                  <a:cubicBezTo>
                    <a:pt x="3017" y="487"/>
                    <a:pt x="3008" y="498"/>
                    <a:pt x="3016" y="505"/>
                  </a:cubicBezTo>
                  <a:cubicBezTo>
                    <a:pt x="3024" y="512"/>
                    <a:pt x="3033" y="513"/>
                    <a:pt x="3033" y="513"/>
                  </a:cubicBezTo>
                  <a:cubicBezTo>
                    <a:pt x="3033" y="513"/>
                    <a:pt x="3043" y="506"/>
                    <a:pt x="3043" y="495"/>
                  </a:cubicBezTo>
                  <a:cubicBezTo>
                    <a:pt x="3043" y="484"/>
                    <a:pt x="3042" y="481"/>
                    <a:pt x="3042" y="481"/>
                  </a:cubicBezTo>
                  <a:cubicBezTo>
                    <a:pt x="3050" y="477"/>
                    <a:pt x="3050" y="477"/>
                    <a:pt x="3050" y="477"/>
                  </a:cubicBezTo>
                  <a:lnTo>
                    <a:pt x="3048" y="446"/>
                  </a:lnTo>
                  <a:close/>
                  <a:moveTo>
                    <a:pt x="2964" y="107"/>
                  </a:moveTo>
                  <a:cubicBezTo>
                    <a:pt x="2964" y="103"/>
                    <a:pt x="2964" y="103"/>
                    <a:pt x="2964" y="103"/>
                  </a:cubicBezTo>
                  <a:cubicBezTo>
                    <a:pt x="2964" y="103"/>
                    <a:pt x="2950" y="107"/>
                    <a:pt x="2944" y="106"/>
                  </a:cubicBezTo>
                  <a:cubicBezTo>
                    <a:pt x="2938" y="105"/>
                    <a:pt x="2940" y="100"/>
                    <a:pt x="2940" y="100"/>
                  </a:cubicBezTo>
                  <a:cubicBezTo>
                    <a:pt x="2923" y="100"/>
                    <a:pt x="2923" y="100"/>
                    <a:pt x="2923" y="100"/>
                  </a:cubicBezTo>
                  <a:cubicBezTo>
                    <a:pt x="2923" y="100"/>
                    <a:pt x="2927" y="90"/>
                    <a:pt x="2924" y="87"/>
                  </a:cubicBezTo>
                  <a:cubicBezTo>
                    <a:pt x="2921" y="84"/>
                    <a:pt x="2919" y="80"/>
                    <a:pt x="2919" y="80"/>
                  </a:cubicBezTo>
                  <a:cubicBezTo>
                    <a:pt x="2908" y="78"/>
                    <a:pt x="2908" y="78"/>
                    <a:pt x="2908" y="78"/>
                  </a:cubicBezTo>
                  <a:cubicBezTo>
                    <a:pt x="2899" y="85"/>
                    <a:pt x="2899" y="85"/>
                    <a:pt x="2899" y="85"/>
                  </a:cubicBezTo>
                  <a:cubicBezTo>
                    <a:pt x="2894" y="81"/>
                    <a:pt x="2894" y="81"/>
                    <a:pt x="2894" y="81"/>
                  </a:cubicBezTo>
                  <a:cubicBezTo>
                    <a:pt x="2880" y="81"/>
                    <a:pt x="2880" y="81"/>
                    <a:pt x="2880" y="81"/>
                  </a:cubicBezTo>
                  <a:cubicBezTo>
                    <a:pt x="2880" y="81"/>
                    <a:pt x="2879" y="80"/>
                    <a:pt x="2877" y="77"/>
                  </a:cubicBezTo>
                  <a:cubicBezTo>
                    <a:pt x="2875" y="74"/>
                    <a:pt x="2853" y="70"/>
                    <a:pt x="2853" y="70"/>
                  </a:cubicBezTo>
                  <a:cubicBezTo>
                    <a:pt x="2853" y="54"/>
                    <a:pt x="2853" y="54"/>
                    <a:pt x="2853" y="54"/>
                  </a:cubicBezTo>
                  <a:cubicBezTo>
                    <a:pt x="2843" y="61"/>
                    <a:pt x="2843" y="61"/>
                    <a:pt x="2843" y="61"/>
                  </a:cubicBezTo>
                  <a:cubicBezTo>
                    <a:pt x="2828" y="61"/>
                    <a:pt x="2828" y="61"/>
                    <a:pt x="2828" y="61"/>
                  </a:cubicBezTo>
                  <a:cubicBezTo>
                    <a:pt x="2828" y="61"/>
                    <a:pt x="2828" y="45"/>
                    <a:pt x="2823" y="42"/>
                  </a:cubicBezTo>
                  <a:cubicBezTo>
                    <a:pt x="2818" y="39"/>
                    <a:pt x="2800" y="37"/>
                    <a:pt x="2800" y="37"/>
                  </a:cubicBezTo>
                  <a:cubicBezTo>
                    <a:pt x="2793" y="30"/>
                    <a:pt x="2793" y="30"/>
                    <a:pt x="2793" y="30"/>
                  </a:cubicBezTo>
                  <a:cubicBezTo>
                    <a:pt x="2777" y="26"/>
                    <a:pt x="2777" y="26"/>
                    <a:pt x="2777" y="26"/>
                  </a:cubicBezTo>
                  <a:cubicBezTo>
                    <a:pt x="2771" y="12"/>
                    <a:pt x="2771" y="12"/>
                    <a:pt x="2771" y="12"/>
                  </a:cubicBezTo>
                  <a:cubicBezTo>
                    <a:pt x="2772" y="3"/>
                    <a:pt x="2772" y="3"/>
                    <a:pt x="2772" y="3"/>
                  </a:cubicBezTo>
                  <a:cubicBezTo>
                    <a:pt x="2772" y="3"/>
                    <a:pt x="2756" y="0"/>
                    <a:pt x="2746" y="4"/>
                  </a:cubicBezTo>
                  <a:cubicBezTo>
                    <a:pt x="2736" y="8"/>
                    <a:pt x="2711" y="4"/>
                    <a:pt x="2715" y="12"/>
                  </a:cubicBezTo>
                  <a:cubicBezTo>
                    <a:pt x="2719" y="20"/>
                    <a:pt x="2722" y="27"/>
                    <a:pt x="2722" y="27"/>
                  </a:cubicBezTo>
                  <a:cubicBezTo>
                    <a:pt x="2722" y="27"/>
                    <a:pt x="2730" y="44"/>
                    <a:pt x="2719" y="52"/>
                  </a:cubicBezTo>
                  <a:cubicBezTo>
                    <a:pt x="2708" y="60"/>
                    <a:pt x="2686" y="60"/>
                    <a:pt x="2686" y="60"/>
                  </a:cubicBezTo>
                  <a:cubicBezTo>
                    <a:pt x="2661" y="80"/>
                    <a:pt x="2661" y="80"/>
                    <a:pt x="2661" y="80"/>
                  </a:cubicBezTo>
                  <a:cubicBezTo>
                    <a:pt x="2670" y="86"/>
                    <a:pt x="2670" y="86"/>
                    <a:pt x="2670" y="86"/>
                  </a:cubicBezTo>
                  <a:cubicBezTo>
                    <a:pt x="2670" y="86"/>
                    <a:pt x="2650" y="98"/>
                    <a:pt x="2635" y="97"/>
                  </a:cubicBezTo>
                  <a:cubicBezTo>
                    <a:pt x="2620" y="96"/>
                    <a:pt x="2611" y="91"/>
                    <a:pt x="2611" y="91"/>
                  </a:cubicBezTo>
                  <a:cubicBezTo>
                    <a:pt x="2600" y="76"/>
                    <a:pt x="2600" y="76"/>
                    <a:pt x="2600" y="76"/>
                  </a:cubicBezTo>
                  <a:cubicBezTo>
                    <a:pt x="2600" y="76"/>
                    <a:pt x="2579" y="68"/>
                    <a:pt x="2580" y="75"/>
                  </a:cubicBezTo>
                  <a:cubicBezTo>
                    <a:pt x="2581" y="82"/>
                    <a:pt x="2592" y="96"/>
                    <a:pt x="2592" y="96"/>
                  </a:cubicBezTo>
                  <a:cubicBezTo>
                    <a:pt x="2592" y="96"/>
                    <a:pt x="2605" y="120"/>
                    <a:pt x="2587" y="123"/>
                  </a:cubicBezTo>
                  <a:cubicBezTo>
                    <a:pt x="2569" y="126"/>
                    <a:pt x="2550" y="125"/>
                    <a:pt x="2550" y="125"/>
                  </a:cubicBezTo>
                  <a:cubicBezTo>
                    <a:pt x="2543" y="136"/>
                    <a:pt x="2543" y="136"/>
                    <a:pt x="2543" y="136"/>
                  </a:cubicBezTo>
                  <a:cubicBezTo>
                    <a:pt x="2543" y="136"/>
                    <a:pt x="2527" y="116"/>
                    <a:pt x="2521" y="117"/>
                  </a:cubicBezTo>
                  <a:cubicBezTo>
                    <a:pt x="2515" y="118"/>
                    <a:pt x="2495" y="124"/>
                    <a:pt x="2495" y="124"/>
                  </a:cubicBezTo>
                  <a:cubicBezTo>
                    <a:pt x="2495" y="124"/>
                    <a:pt x="2459" y="129"/>
                    <a:pt x="2456" y="136"/>
                  </a:cubicBezTo>
                  <a:cubicBezTo>
                    <a:pt x="2453" y="143"/>
                    <a:pt x="2475" y="149"/>
                    <a:pt x="2474" y="152"/>
                  </a:cubicBezTo>
                  <a:cubicBezTo>
                    <a:pt x="2473" y="155"/>
                    <a:pt x="2444" y="153"/>
                    <a:pt x="2450" y="161"/>
                  </a:cubicBezTo>
                  <a:cubicBezTo>
                    <a:pt x="2456" y="169"/>
                    <a:pt x="2475" y="170"/>
                    <a:pt x="2475" y="170"/>
                  </a:cubicBezTo>
                  <a:cubicBezTo>
                    <a:pt x="2482" y="166"/>
                    <a:pt x="2482" y="166"/>
                    <a:pt x="2482" y="166"/>
                  </a:cubicBezTo>
                  <a:cubicBezTo>
                    <a:pt x="2514" y="184"/>
                    <a:pt x="2514" y="184"/>
                    <a:pt x="2514" y="184"/>
                  </a:cubicBezTo>
                  <a:cubicBezTo>
                    <a:pt x="2534" y="184"/>
                    <a:pt x="2534" y="184"/>
                    <a:pt x="2534" y="184"/>
                  </a:cubicBezTo>
                  <a:cubicBezTo>
                    <a:pt x="2546" y="196"/>
                    <a:pt x="2546" y="196"/>
                    <a:pt x="2546" y="196"/>
                  </a:cubicBezTo>
                  <a:cubicBezTo>
                    <a:pt x="2572" y="199"/>
                    <a:pt x="2572" y="199"/>
                    <a:pt x="2572" y="199"/>
                  </a:cubicBezTo>
                  <a:cubicBezTo>
                    <a:pt x="2553" y="209"/>
                    <a:pt x="2553" y="209"/>
                    <a:pt x="2553" y="209"/>
                  </a:cubicBezTo>
                  <a:cubicBezTo>
                    <a:pt x="2553" y="209"/>
                    <a:pt x="2572" y="240"/>
                    <a:pt x="2576" y="244"/>
                  </a:cubicBezTo>
                  <a:cubicBezTo>
                    <a:pt x="2580" y="248"/>
                    <a:pt x="2597" y="248"/>
                    <a:pt x="2597" y="248"/>
                  </a:cubicBezTo>
                  <a:cubicBezTo>
                    <a:pt x="2595" y="277"/>
                    <a:pt x="2595" y="277"/>
                    <a:pt x="2595" y="277"/>
                  </a:cubicBezTo>
                  <a:cubicBezTo>
                    <a:pt x="2608" y="297"/>
                    <a:pt x="2608" y="297"/>
                    <a:pt x="2608" y="297"/>
                  </a:cubicBezTo>
                  <a:cubicBezTo>
                    <a:pt x="2617" y="320"/>
                    <a:pt x="2617" y="320"/>
                    <a:pt x="2617" y="320"/>
                  </a:cubicBezTo>
                  <a:cubicBezTo>
                    <a:pt x="2596" y="294"/>
                    <a:pt x="2596" y="294"/>
                    <a:pt x="2596" y="294"/>
                  </a:cubicBezTo>
                  <a:cubicBezTo>
                    <a:pt x="2596" y="294"/>
                    <a:pt x="2594" y="323"/>
                    <a:pt x="2593" y="333"/>
                  </a:cubicBezTo>
                  <a:cubicBezTo>
                    <a:pt x="2592" y="343"/>
                    <a:pt x="2581" y="383"/>
                    <a:pt x="2576" y="391"/>
                  </a:cubicBezTo>
                  <a:cubicBezTo>
                    <a:pt x="2572" y="398"/>
                    <a:pt x="2574" y="407"/>
                    <a:pt x="2562" y="409"/>
                  </a:cubicBezTo>
                  <a:cubicBezTo>
                    <a:pt x="2563" y="415"/>
                    <a:pt x="2563" y="415"/>
                    <a:pt x="2563" y="415"/>
                  </a:cubicBezTo>
                  <a:cubicBezTo>
                    <a:pt x="2563" y="415"/>
                    <a:pt x="2572" y="407"/>
                    <a:pt x="2578" y="414"/>
                  </a:cubicBezTo>
                  <a:cubicBezTo>
                    <a:pt x="2584" y="421"/>
                    <a:pt x="2578" y="424"/>
                    <a:pt x="2578" y="424"/>
                  </a:cubicBezTo>
                  <a:cubicBezTo>
                    <a:pt x="2578" y="424"/>
                    <a:pt x="2592" y="426"/>
                    <a:pt x="2599" y="427"/>
                  </a:cubicBezTo>
                  <a:cubicBezTo>
                    <a:pt x="2606" y="428"/>
                    <a:pt x="2612" y="437"/>
                    <a:pt x="2612" y="437"/>
                  </a:cubicBezTo>
                  <a:cubicBezTo>
                    <a:pt x="2612" y="437"/>
                    <a:pt x="2622" y="433"/>
                    <a:pt x="2626" y="435"/>
                  </a:cubicBezTo>
                  <a:cubicBezTo>
                    <a:pt x="2630" y="437"/>
                    <a:pt x="2631" y="440"/>
                    <a:pt x="2631" y="440"/>
                  </a:cubicBezTo>
                  <a:cubicBezTo>
                    <a:pt x="2651" y="441"/>
                    <a:pt x="2651" y="441"/>
                    <a:pt x="2651" y="441"/>
                  </a:cubicBezTo>
                  <a:cubicBezTo>
                    <a:pt x="2653" y="449"/>
                    <a:pt x="2653" y="449"/>
                    <a:pt x="2653" y="449"/>
                  </a:cubicBezTo>
                  <a:cubicBezTo>
                    <a:pt x="2666" y="446"/>
                    <a:pt x="2666" y="446"/>
                    <a:pt x="2666" y="446"/>
                  </a:cubicBezTo>
                  <a:cubicBezTo>
                    <a:pt x="2666" y="446"/>
                    <a:pt x="2660" y="434"/>
                    <a:pt x="2673" y="434"/>
                  </a:cubicBezTo>
                  <a:cubicBezTo>
                    <a:pt x="2686" y="434"/>
                    <a:pt x="2686" y="441"/>
                    <a:pt x="2686" y="441"/>
                  </a:cubicBezTo>
                  <a:cubicBezTo>
                    <a:pt x="2695" y="442"/>
                    <a:pt x="2695" y="442"/>
                    <a:pt x="2695" y="442"/>
                  </a:cubicBezTo>
                  <a:cubicBezTo>
                    <a:pt x="2697" y="446"/>
                    <a:pt x="2697" y="446"/>
                    <a:pt x="2697" y="446"/>
                  </a:cubicBezTo>
                  <a:cubicBezTo>
                    <a:pt x="2698" y="445"/>
                    <a:pt x="2700" y="445"/>
                    <a:pt x="2702" y="445"/>
                  </a:cubicBezTo>
                  <a:cubicBezTo>
                    <a:pt x="2712" y="444"/>
                    <a:pt x="2716" y="445"/>
                    <a:pt x="2716" y="445"/>
                  </a:cubicBezTo>
                  <a:cubicBezTo>
                    <a:pt x="2717" y="454"/>
                    <a:pt x="2717" y="454"/>
                    <a:pt x="2717" y="454"/>
                  </a:cubicBezTo>
                  <a:cubicBezTo>
                    <a:pt x="2720" y="455"/>
                    <a:pt x="2722" y="459"/>
                    <a:pt x="2722" y="459"/>
                  </a:cubicBezTo>
                  <a:cubicBezTo>
                    <a:pt x="2722" y="459"/>
                    <a:pt x="2729" y="457"/>
                    <a:pt x="2732" y="456"/>
                  </a:cubicBezTo>
                  <a:cubicBezTo>
                    <a:pt x="2735" y="455"/>
                    <a:pt x="2742" y="463"/>
                    <a:pt x="2742" y="463"/>
                  </a:cubicBezTo>
                  <a:cubicBezTo>
                    <a:pt x="2742" y="463"/>
                    <a:pt x="2743" y="463"/>
                    <a:pt x="2750" y="463"/>
                  </a:cubicBezTo>
                  <a:cubicBezTo>
                    <a:pt x="2757" y="463"/>
                    <a:pt x="2757" y="453"/>
                    <a:pt x="2757" y="453"/>
                  </a:cubicBezTo>
                  <a:cubicBezTo>
                    <a:pt x="2763" y="453"/>
                    <a:pt x="2763" y="453"/>
                    <a:pt x="2763" y="453"/>
                  </a:cubicBezTo>
                  <a:cubicBezTo>
                    <a:pt x="2763" y="452"/>
                    <a:pt x="2763" y="451"/>
                    <a:pt x="2763" y="450"/>
                  </a:cubicBezTo>
                  <a:cubicBezTo>
                    <a:pt x="2763" y="440"/>
                    <a:pt x="2778" y="417"/>
                    <a:pt x="2785" y="413"/>
                  </a:cubicBezTo>
                  <a:cubicBezTo>
                    <a:pt x="2792" y="409"/>
                    <a:pt x="2813" y="392"/>
                    <a:pt x="2822" y="397"/>
                  </a:cubicBezTo>
                  <a:cubicBezTo>
                    <a:pt x="2831" y="402"/>
                    <a:pt x="2839" y="407"/>
                    <a:pt x="2839" y="407"/>
                  </a:cubicBezTo>
                  <a:cubicBezTo>
                    <a:pt x="2839" y="407"/>
                    <a:pt x="2862" y="401"/>
                    <a:pt x="2867" y="406"/>
                  </a:cubicBezTo>
                  <a:cubicBezTo>
                    <a:pt x="2872" y="411"/>
                    <a:pt x="2879" y="419"/>
                    <a:pt x="2882" y="421"/>
                  </a:cubicBezTo>
                  <a:cubicBezTo>
                    <a:pt x="2882" y="421"/>
                    <a:pt x="2907" y="431"/>
                    <a:pt x="2920" y="421"/>
                  </a:cubicBezTo>
                  <a:cubicBezTo>
                    <a:pt x="2933" y="411"/>
                    <a:pt x="2937" y="392"/>
                    <a:pt x="2943" y="390"/>
                  </a:cubicBezTo>
                  <a:cubicBezTo>
                    <a:pt x="2945" y="389"/>
                    <a:pt x="2951" y="389"/>
                    <a:pt x="2957" y="388"/>
                  </a:cubicBezTo>
                  <a:cubicBezTo>
                    <a:pt x="2957" y="385"/>
                    <a:pt x="2958" y="383"/>
                    <a:pt x="2960" y="383"/>
                  </a:cubicBezTo>
                  <a:cubicBezTo>
                    <a:pt x="2964" y="383"/>
                    <a:pt x="2970" y="373"/>
                    <a:pt x="2967" y="369"/>
                  </a:cubicBezTo>
                  <a:cubicBezTo>
                    <a:pt x="2964" y="365"/>
                    <a:pt x="2950" y="367"/>
                    <a:pt x="2950" y="367"/>
                  </a:cubicBezTo>
                  <a:cubicBezTo>
                    <a:pt x="2947" y="361"/>
                    <a:pt x="2947" y="361"/>
                    <a:pt x="2947" y="361"/>
                  </a:cubicBezTo>
                  <a:cubicBezTo>
                    <a:pt x="2947" y="361"/>
                    <a:pt x="2933" y="360"/>
                    <a:pt x="2934" y="350"/>
                  </a:cubicBezTo>
                  <a:cubicBezTo>
                    <a:pt x="2935" y="340"/>
                    <a:pt x="2941" y="340"/>
                    <a:pt x="2940" y="335"/>
                  </a:cubicBezTo>
                  <a:cubicBezTo>
                    <a:pt x="2939" y="330"/>
                    <a:pt x="2935" y="327"/>
                    <a:pt x="2935" y="327"/>
                  </a:cubicBezTo>
                  <a:cubicBezTo>
                    <a:pt x="2928" y="327"/>
                    <a:pt x="2928" y="327"/>
                    <a:pt x="2928" y="327"/>
                  </a:cubicBezTo>
                  <a:cubicBezTo>
                    <a:pt x="2922" y="314"/>
                    <a:pt x="2922" y="314"/>
                    <a:pt x="2922" y="314"/>
                  </a:cubicBezTo>
                  <a:cubicBezTo>
                    <a:pt x="2931" y="312"/>
                    <a:pt x="2931" y="312"/>
                    <a:pt x="2931" y="312"/>
                  </a:cubicBezTo>
                  <a:cubicBezTo>
                    <a:pt x="2931" y="312"/>
                    <a:pt x="2950" y="311"/>
                    <a:pt x="2950" y="302"/>
                  </a:cubicBezTo>
                  <a:cubicBezTo>
                    <a:pt x="2950" y="293"/>
                    <a:pt x="2939" y="289"/>
                    <a:pt x="2939" y="289"/>
                  </a:cubicBezTo>
                  <a:cubicBezTo>
                    <a:pt x="2931" y="281"/>
                    <a:pt x="2931" y="281"/>
                    <a:pt x="2931" y="281"/>
                  </a:cubicBezTo>
                  <a:cubicBezTo>
                    <a:pt x="2931" y="281"/>
                    <a:pt x="2941" y="277"/>
                    <a:pt x="2941" y="273"/>
                  </a:cubicBezTo>
                  <a:cubicBezTo>
                    <a:pt x="2941" y="269"/>
                    <a:pt x="2934" y="263"/>
                    <a:pt x="2934" y="263"/>
                  </a:cubicBezTo>
                  <a:cubicBezTo>
                    <a:pt x="2935" y="245"/>
                    <a:pt x="2935" y="245"/>
                    <a:pt x="2935" y="245"/>
                  </a:cubicBezTo>
                  <a:cubicBezTo>
                    <a:pt x="2935" y="245"/>
                    <a:pt x="2927" y="239"/>
                    <a:pt x="2920" y="243"/>
                  </a:cubicBezTo>
                  <a:cubicBezTo>
                    <a:pt x="2913" y="247"/>
                    <a:pt x="2908" y="260"/>
                    <a:pt x="2902" y="259"/>
                  </a:cubicBezTo>
                  <a:cubicBezTo>
                    <a:pt x="2896" y="258"/>
                    <a:pt x="2906" y="250"/>
                    <a:pt x="2906" y="250"/>
                  </a:cubicBezTo>
                  <a:cubicBezTo>
                    <a:pt x="2900" y="242"/>
                    <a:pt x="2900" y="242"/>
                    <a:pt x="2900" y="242"/>
                  </a:cubicBezTo>
                  <a:cubicBezTo>
                    <a:pt x="2900" y="242"/>
                    <a:pt x="2912" y="233"/>
                    <a:pt x="2918" y="226"/>
                  </a:cubicBezTo>
                  <a:cubicBezTo>
                    <a:pt x="2924" y="219"/>
                    <a:pt x="2921" y="213"/>
                    <a:pt x="2921" y="213"/>
                  </a:cubicBezTo>
                  <a:cubicBezTo>
                    <a:pt x="2921" y="213"/>
                    <a:pt x="2927" y="219"/>
                    <a:pt x="2932" y="213"/>
                  </a:cubicBezTo>
                  <a:cubicBezTo>
                    <a:pt x="2937" y="207"/>
                    <a:pt x="2943" y="198"/>
                    <a:pt x="2943" y="198"/>
                  </a:cubicBezTo>
                  <a:cubicBezTo>
                    <a:pt x="2948" y="189"/>
                    <a:pt x="2948" y="189"/>
                    <a:pt x="2948" y="189"/>
                  </a:cubicBezTo>
                  <a:cubicBezTo>
                    <a:pt x="2961" y="196"/>
                    <a:pt x="2961" y="196"/>
                    <a:pt x="2961" y="196"/>
                  </a:cubicBezTo>
                  <a:cubicBezTo>
                    <a:pt x="2966" y="186"/>
                    <a:pt x="2966" y="186"/>
                    <a:pt x="2966" y="186"/>
                  </a:cubicBezTo>
                  <a:cubicBezTo>
                    <a:pt x="2966" y="186"/>
                    <a:pt x="2962" y="177"/>
                    <a:pt x="2964" y="166"/>
                  </a:cubicBezTo>
                  <a:cubicBezTo>
                    <a:pt x="2966" y="155"/>
                    <a:pt x="2976" y="136"/>
                    <a:pt x="2976" y="136"/>
                  </a:cubicBezTo>
                  <a:cubicBezTo>
                    <a:pt x="2976" y="128"/>
                    <a:pt x="2976" y="128"/>
                    <a:pt x="2976" y="128"/>
                  </a:cubicBezTo>
                  <a:cubicBezTo>
                    <a:pt x="2990" y="117"/>
                    <a:pt x="2990" y="117"/>
                    <a:pt x="2990" y="117"/>
                  </a:cubicBezTo>
                  <a:cubicBezTo>
                    <a:pt x="2992" y="111"/>
                    <a:pt x="2992" y="111"/>
                    <a:pt x="2992" y="111"/>
                  </a:cubicBezTo>
                  <a:cubicBezTo>
                    <a:pt x="2982" y="106"/>
                    <a:pt x="2982" y="106"/>
                    <a:pt x="2982" y="106"/>
                  </a:cubicBezTo>
                  <a:lnTo>
                    <a:pt x="2964" y="107"/>
                  </a:lnTo>
                  <a:close/>
                  <a:moveTo>
                    <a:pt x="106" y="2472"/>
                  </a:moveTo>
                  <a:cubicBezTo>
                    <a:pt x="90" y="2439"/>
                    <a:pt x="90" y="2439"/>
                    <a:pt x="90" y="2439"/>
                  </a:cubicBezTo>
                  <a:cubicBezTo>
                    <a:pt x="67" y="2439"/>
                    <a:pt x="67" y="2439"/>
                    <a:pt x="67" y="2439"/>
                  </a:cubicBezTo>
                  <a:cubicBezTo>
                    <a:pt x="67" y="2439"/>
                    <a:pt x="44" y="2431"/>
                    <a:pt x="36" y="2423"/>
                  </a:cubicBezTo>
                  <a:cubicBezTo>
                    <a:pt x="32" y="2430"/>
                    <a:pt x="32" y="2439"/>
                    <a:pt x="32" y="2444"/>
                  </a:cubicBezTo>
                  <a:cubicBezTo>
                    <a:pt x="32" y="2451"/>
                    <a:pt x="21" y="2450"/>
                    <a:pt x="10" y="2467"/>
                  </a:cubicBezTo>
                  <a:cubicBezTo>
                    <a:pt x="0" y="2483"/>
                    <a:pt x="10" y="2504"/>
                    <a:pt x="11" y="2517"/>
                  </a:cubicBezTo>
                  <a:cubicBezTo>
                    <a:pt x="12" y="2529"/>
                    <a:pt x="31" y="2534"/>
                    <a:pt x="32" y="2544"/>
                  </a:cubicBezTo>
                  <a:cubicBezTo>
                    <a:pt x="33" y="2554"/>
                    <a:pt x="21" y="2559"/>
                    <a:pt x="21" y="2559"/>
                  </a:cubicBezTo>
                  <a:cubicBezTo>
                    <a:pt x="23" y="2587"/>
                    <a:pt x="23" y="2587"/>
                    <a:pt x="23" y="2587"/>
                  </a:cubicBezTo>
                  <a:cubicBezTo>
                    <a:pt x="23" y="2587"/>
                    <a:pt x="12" y="2591"/>
                    <a:pt x="11" y="2594"/>
                  </a:cubicBezTo>
                  <a:cubicBezTo>
                    <a:pt x="10" y="2597"/>
                    <a:pt x="4" y="2611"/>
                    <a:pt x="4" y="2611"/>
                  </a:cubicBezTo>
                  <a:cubicBezTo>
                    <a:pt x="4" y="2611"/>
                    <a:pt x="6" y="2621"/>
                    <a:pt x="20" y="2622"/>
                  </a:cubicBezTo>
                  <a:cubicBezTo>
                    <a:pt x="34" y="2623"/>
                    <a:pt x="32" y="2617"/>
                    <a:pt x="38" y="2611"/>
                  </a:cubicBezTo>
                  <a:cubicBezTo>
                    <a:pt x="44" y="2605"/>
                    <a:pt x="48" y="2613"/>
                    <a:pt x="48" y="2613"/>
                  </a:cubicBezTo>
                  <a:cubicBezTo>
                    <a:pt x="58" y="2615"/>
                    <a:pt x="58" y="2615"/>
                    <a:pt x="58" y="2615"/>
                  </a:cubicBezTo>
                  <a:cubicBezTo>
                    <a:pt x="62" y="2610"/>
                    <a:pt x="62" y="2610"/>
                    <a:pt x="62" y="2610"/>
                  </a:cubicBezTo>
                  <a:cubicBezTo>
                    <a:pt x="62" y="2610"/>
                    <a:pt x="66" y="2618"/>
                    <a:pt x="66" y="2619"/>
                  </a:cubicBezTo>
                  <a:cubicBezTo>
                    <a:pt x="72" y="2619"/>
                    <a:pt x="87" y="2613"/>
                    <a:pt x="87" y="2613"/>
                  </a:cubicBezTo>
                  <a:cubicBezTo>
                    <a:pt x="104" y="2599"/>
                    <a:pt x="105" y="2580"/>
                    <a:pt x="108" y="2570"/>
                  </a:cubicBezTo>
                  <a:cubicBezTo>
                    <a:pt x="111" y="2560"/>
                    <a:pt x="120" y="2545"/>
                    <a:pt x="127" y="2539"/>
                  </a:cubicBezTo>
                  <a:cubicBezTo>
                    <a:pt x="134" y="2533"/>
                    <a:pt x="139" y="2516"/>
                    <a:pt x="139" y="2516"/>
                  </a:cubicBezTo>
                  <a:cubicBezTo>
                    <a:pt x="137" y="2511"/>
                    <a:pt x="125" y="2479"/>
                    <a:pt x="125" y="2479"/>
                  </a:cubicBezTo>
                  <a:lnTo>
                    <a:pt x="106" y="2472"/>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85" name="Freeform 146"/>
            <p:cNvSpPr>
              <a:spLocks noEditPoints="1"/>
            </p:cNvSpPr>
            <p:nvPr/>
          </p:nvSpPr>
          <p:spPr bwMode="gray">
            <a:xfrm>
              <a:off x="4670425" y="4641850"/>
              <a:ext cx="425450" cy="382588"/>
            </a:xfrm>
            <a:custGeom>
              <a:avLst/>
              <a:gdLst>
                <a:gd name="T0" fmla="*/ 725 w 759"/>
                <a:gd name="T1" fmla="*/ 254 h 682"/>
                <a:gd name="T2" fmla="*/ 696 w 759"/>
                <a:gd name="T3" fmla="*/ 278 h 682"/>
                <a:gd name="T4" fmla="*/ 673 w 759"/>
                <a:gd name="T5" fmla="*/ 221 h 682"/>
                <a:gd name="T6" fmla="*/ 708 w 759"/>
                <a:gd name="T7" fmla="*/ 206 h 682"/>
                <a:gd name="T8" fmla="*/ 727 w 759"/>
                <a:gd name="T9" fmla="*/ 125 h 682"/>
                <a:gd name="T10" fmla="*/ 696 w 759"/>
                <a:gd name="T11" fmla="*/ 15 h 682"/>
                <a:gd name="T12" fmla="*/ 649 w 759"/>
                <a:gd name="T13" fmla="*/ 8 h 682"/>
                <a:gd name="T14" fmla="*/ 586 w 759"/>
                <a:gd name="T15" fmla="*/ 2 h 682"/>
                <a:gd name="T16" fmla="*/ 549 w 759"/>
                <a:gd name="T17" fmla="*/ 25 h 682"/>
                <a:gd name="T18" fmla="*/ 495 w 759"/>
                <a:gd name="T19" fmla="*/ 77 h 682"/>
                <a:gd name="T20" fmla="*/ 461 w 759"/>
                <a:gd name="T21" fmla="*/ 137 h 682"/>
                <a:gd name="T22" fmla="*/ 436 w 759"/>
                <a:gd name="T23" fmla="*/ 152 h 682"/>
                <a:gd name="T24" fmla="*/ 402 w 759"/>
                <a:gd name="T25" fmla="*/ 192 h 682"/>
                <a:gd name="T26" fmla="*/ 364 w 759"/>
                <a:gd name="T27" fmla="*/ 190 h 682"/>
                <a:gd name="T28" fmla="*/ 337 w 759"/>
                <a:gd name="T29" fmla="*/ 179 h 682"/>
                <a:gd name="T30" fmla="*/ 290 w 759"/>
                <a:gd name="T31" fmla="*/ 212 h 682"/>
                <a:gd name="T32" fmla="*/ 263 w 759"/>
                <a:gd name="T33" fmla="*/ 240 h 682"/>
                <a:gd name="T34" fmla="*/ 244 w 759"/>
                <a:gd name="T35" fmla="*/ 251 h 682"/>
                <a:gd name="T36" fmla="*/ 193 w 759"/>
                <a:gd name="T37" fmla="*/ 231 h 682"/>
                <a:gd name="T38" fmla="*/ 196 w 759"/>
                <a:gd name="T39" fmla="*/ 189 h 682"/>
                <a:gd name="T40" fmla="*/ 166 w 759"/>
                <a:gd name="T41" fmla="*/ 143 h 682"/>
                <a:gd name="T42" fmla="*/ 142 w 759"/>
                <a:gd name="T43" fmla="*/ 343 h 682"/>
                <a:gd name="T44" fmla="*/ 129 w 759"/>
                <a:gd name="T45" fmla="*/ 353 h 682"/>
                <a:gd name="T46" fmla="*/ 114 w 759"/>
                <a:gd name="T47" fmla="*/ 367 h 682"/>
                <a:gd name="T48" fmla="*/ 88 w 759"/>
                <a:gd name="T49" fmla="*/ 369 h 682"/>
                <a:gd name="T50" fmla="*/ 65 w 759"/>
                <a:gd name="T51" fmla="*/ 357 h 682"/>
                <a:gd name="T52" fmla="*/ 41 w 759"/>
                <a:gd name="T53" fmla="*/ 330 h 682"/>
                <a:gd name="T54" fmla="*/ 12 w 759"/>
                <a:gd name="T55" fmla="*/ 340 h 682"/>
                <a:gd name="T56" fmla="*/ 0 w 759"/>
                <a:gd name="T57" fmla="*/ 345 h 682"/>
                <a:gd name="T58" fmla="*/ 31 w 759"/>
                <a:gd name="T59" fmla="*/ 407 h 682"/>
                <a:gd name="T60" fmla="*/ 83 w 759"/>
                <a:gd name="T61" fmla="*/ 523 h 682"/>
                <a:gd name="T62" fmla="*/ 61 w 759"/>
                <a:gd name="T63" fmla="*/ 572 h 682"/>
                <a:gd name="T64" fmla="*/ 81 w 759"/>
                <a:gd name="T65" fmla="*/ 649 h 682"/>
                <a:gd name="T66" fmla="*/ 103 w 759"/>
                <a:gd name="T67" fmla="*/ 650 h 682"/>
                <a:gd name="T68" fmla="*/ 145 w 759"/>
                <a:gd name="T69" fmla="*/ 679 h 682"/>
                <a:gd name="T70" fmla="*/ 233 w 759"/>
                <a:gd name="T71" fmla="*/ 662 h 682"/>
                <a:gd name="T72" fmla="*/ 292 w 759"/>
                <a:gd name="T73" fmla="*/ 646 h 682"/>
                <a:gd name="T74" fmla="*/ 366 w 759"/>
                <a:gd name="T75" fmla="*/ 646 h 682"/>
                <a:gd name="T76" fmla="*/ 406 w 759"/>
                <a:gd name="T77" fmla="*/ 637 h 682"/>
                <a:gd name="T78" fmla="*/ 473 w 759"/>
                <a:gd name="T79" fmla="*/ 617 h 682"/>
                <a:gd name="T80" fmla="*/ 538 w 759"/>
                <a:gd name="T81" fmla="*/ 565 h 682"/>
                <a:gd name="T82" fmla="*/ 615 w 759"/>
                <a:gd name="T83" fmla="*/ 500 h 682"/>
                <a:gd name="T84" fmla="*/ 686 w 759"/>
                <a:gd name="T85" fmla="*/ 379 h 682"/>
                <a:gd name="T86" fmla="*/ 748 w 759"/>
                <a:gd name="T87" fmla="*/ 297 h 682"/>
                <a:gd name="T88" fmla="*/ 746 w 759"/>
                <a:gd name="T89" fmla="*/ 250 h 682"/>
                <a:gd name="T90" fmla="*/ 563 w 759"/>
                <a:gd name="T91" fmla="*/ 428 h 682"/>
                <a:gd name="T92" fmla="*/ 531 w 759"/>
                <a:gd name="T93" fmla="*/ 456 h 682"/>
                <a:gd name="T94" fmla="*/ 498 w 759"/>
                <a:gd name="T95" fmla="*/ 437 h 682"/>
                <a:gd name="T96" fmla="*/ 481 w 759"/>
                <a:gd name="T97" fmla="*/ 401 h 682"/>
                <a:gd name="T98" fmla="*/ 500 w 759"/>
                <a:gd name="T99" fmla="*/ 389 h 682"/>
                <a:gd name="T100" fmla="*/ 519 w 759"/>
                <a:gd name="T101" fmla="*/ 362 h 682"/>
                <a:gd name="T102" fmla="*/ 535 w 759"/>
                <a:gd name="T103" fmla="*/ 351 h 682"/>
                <a:gd name="T104" fmla="*/ 564 w 759"/>
                <a:gd name="T105" fmla="*/ 349 h 682"/>
                <a:gd name="T106" fmla="*/ 591 w 759"/>
                <a:gd name="T107" fmla="*/ 377 h 682"/>
                <a:gd name="T108" fmla="*/ 577 w 759"/>
                <a:gd name="T109" fmla="*/ 406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59" h="682">
                  <a:moveTo>
                    <a:pt x="746" y="250"/>
                  </a:moveTo>
                  <a:cubicBezTo>
                    <a:pt x="738" y="246"/>
                    <a:pt x="725" y="254"/>
                    <a:pt x="725" y="254"/>
                  </a:cubicBezTo>
                  <a:cubicBezTo>
                    <a:pt x="718" y="279"/>
                    <a:pt x="718" y="279"/>
                    <a:pt x="718" y="279"/>
                  </a:cubicBezTo>
                  <a:cubicBezTo>
                    <a:pt x="718" y="279"/>
                    <a:pt x="703" y="278"/>
                    <a:pt x="696" y="278"/>
                  </a:cubicBezTo>
                  <a:cubicBezTo>
                    <a:pt x="689" y="278"/>
                    <a:pt x="666" y="262"/>
                    <a:pt x="664" y="250"/>
                  </a:cubicBezTo>
                  <a:cubicBezTo>
                    <a:pt x="662" y="238"/>
                    <a:pt x="670" y="225"/>
                    <a:pt x="673" y="221"/>
                  </a:cubicBezTo>
                  <a:cubicBezTo>
                    <a:pt x="676" y="217"/>
                    <a:pt x="682" y="192"/>
                    <a:pt x="689" y="192"/>
                  </a:cubicBezTo>
                  <a:cubicBezTo>
                    <a:pt x="696" y="192"/>
                    <a:pt x="708" y="206"/>
                    <a:pt x="708" y="206"/>
                  </a:cubicBezTo>
                  <a:cubicBezTo>
                    <a:pt x="726" y="182"/>
                    <a:pt x="726" y="182"/>
                    <a:pt x="726" y="182"/>
                  </a:cubicBezTo>
                  <a:cubicBezTo>
                    <a:pt x="726" y="182"/>
                    <a:pt x="726" y="134"/>
                    <a:pt x="727" y="125"/>
                  </a:cubicBezTo>
                  <a:cubicBezTo>
                    <a:pt x="728" y="116"/>
                    <a:pt x="707" y="84"/>
                    <a:pt x="705" y="75"/>
                  </a:cubicBezTo>
                  <a:cubicBezTo>
                    <a:pt x="703" y="66"/>
                    <a:pt x="696" y="15"/>
                    <a:pt x="696" y="15"/>
                  </a:cubicBezTo>
                  <a:cubicBezTo>
                    <a:pt x="684" y="8"/>
                    <a:pt x="684" y="8"/>
                    <a:pt x="684" y="8"/>
                  </a:cubicBezTo>
                  <a:cubicBezTo>
                    <a:pt x="684" y="8"/>
                    <a:pt x="657" y="9"/>
                    <a:pt x="649" y="8"/>
                  </a:cubicBezTo>
                  <a:cubicBezTo>
                    <a:pt x="641" y="7"/>
                    <a:pt x="625" y="0"/>
                    <a:pt x="625" y="0"/>
                  </a:cubicBezTo>
                  <a:cubicBezTo>
                    <a:pt x="586" y="2"/>
                    <a:pt x="586" y="2"/>
                    <a:pt x="586" y="2"/>
                  </a:cubicBezTo>
                  <a:cubicBezTo>
                    <a:pt x="578" y="18"/>
                    <a:pt x="578" y="18"/>
                    <a:pt x="578" y="18"/>
                  </a:cubicBezTo>
                  <a:cubicBezTo>
                    <a:pt x="578" y="18"/>
                    <a:pt x="554" y="19"/>
                    <a:pt x="549" y="25"/>
                  </a:cubicBezTo>
                  <a:cubicBezTo>
                    <a:pt x="544" y="31"/>
                    <a:pt x="530" y="57"/>
                    <a:pt x="519" y="64"/>
                  </a:cubicBezTo>
                  <a:cubicBezTo>
                    <a:pt x="508" y="71"/>
                    <a:pt x="505" y="70"/>
                    <a:pt x="495" y="77"/>
                  </a:cubicBezTo>
                  <a:cubicBezTo>
                    <a:pt x="485" y="84"/>
                    <a:pt x="484" y="107"/>
                    <a:pt x="484" y="113"/>
                  </a:cubicBezTo>
                  <a:cubicBezTo>
                    <a:pt x="484" y="119"/>
                    <a:pt x="461" y="137"/>
                    <a:pt x="461" y="137"/>
                  </a:cubicBezTo>
                  <a:cubicBezTo>
                    <a:pt x="450" y="140"/>
                    <a:pt x="450" y="140"/>
                    <a:pt x="450" y="140"/>
                  </a:cubicBezTo>
                  <a:cubicBezTo>
                    <a:pt x="436" y="152"/>
                    <a:pt x="436" y="152"/>
                    <a:pt x="436" y="152"/>
                  </a:cubicBezTo>
                  <a:cubicBezTo>
                    <a:pt x="436" y="152"/>
                    <a:pt x="432" y="185"/>
                    <a:pt x="421" y="192"/>
                  </a:cubicBezTo>
                  <a:cubicBezTo>
                    <a:pt x="410" y="199"/>
                    <a:pt x="402" y="192"/>
                    <a:pt x="402" y="192"/>
                  </a:cubicBezTo>
                  <a:cubicBezTo>
                    <a:pt x="402" y="192"/>
                    <a:pt x="399" y="197"/>
                    <a:pt x="389" y="199"/>
                  </a:cubicBezTo>
                  <a:cubicBezTo>
                    <a:pt x="379" y="201"/>
                    <a:pt x="364" y="190"/>
                    <a:pt x="364" y="190"/>
                  </a:cubicBezTo>
                  <a:cubicBezTo>
                    <a:pt x="347" y="189"/>
                    <a:pt x="347" y="189"/>
                    <a:pt x="347" y="189"/>
                  </a:cubicBezTo>
                  <a:cubicBezTo>
                    <a:pt x="337" y="179"/>
                    <a:pt x="337" y="179"/>
                    <a:pt x="337" y="179"/>
                  </a:cubicBezTo>
                  <a:cubicBezTo>
                    <a:pt x="337" y="179"/>
                    <a:pt x="321" y="167"/>
                    <a:pt x="308" y="167"/>
                  </a:cubicBezTo>
                  <a:cubicBezTo>
                    <a:pt x="295" y="167"/>
                    <a:pt x="290" y="205"/>
                    <a:pt x="290" y="212"/>
                  </a:cubicBezTo>
                  <a:cubicBezTo>
                    <a:pt x="290" y="219"/>
                    <a:pt x="279" y="217"/>
                    <a:pt x="272" y="220"/>
                  </a:cubicBezTo>
                  <a:cubicBezTo>
                    <a:pt x="265" y="223"/>
                    <a:pt x="263" y="240"/>
                    <a:pt x="263" y="240"/>
                  </a:cubicBezTo>
                  <a:cubicBezTo>
                    <a:pt x="263" y="240"/>
                    <a:pt x="253" y="238"/>
                    <a:pt x="249" y="239"/>
                  </a:cubicBezTo>
                  <a:cubicBezTo>
                    <a:pt x="245" y="240"/>
                    <a:pt x="244" y="251"/>
                    <a:pt x="244" y="251"/>
                  </a:cubicBezTo>
                  <a:cubicBezTo>
                    <a:pt x="244" y="251"/>
                    <a:pt x="198" y="256"/>
                    <a:pt x="193" y="253"/>
                  </a:cubicBezTo>
                  <a:cubicBezTo>
                    <a:pt x="188" y="250"/>
                    <a:pt x="193" y="231"/>
                    <a:pt x="193" y="231"/>
                  </a:cubicBezTo>
                  <a:cubicBezTo>
                    <a:pt x="193" y="231"/>
                    <a:pt x="201" y="218"/>
                    <a:pt x="203" y="209"/>
                  </a:cubicBezTo>
                  <a:cubicBezTo>
                    <a:pt x="205" y="200"/>
                    <a:pt x="196" y="189"/>
                    <a:pt x="196" y="189"/>
                  </a:cubicBezTo>
                  <a:cubicBezTo>
                    <a:pt x="196" y="189"/>
                    <a:pt x="197" y="179"/>
                    <a:pt x="188" y="160"/>
                  </a:cubicBezTo>
                  <a:cubicBezTo>
                    <a:pt x="184" y="152"/>
                    <a:pt x="175" y="147"/>
                    <a:pt x="166" y="143"/>
                  </a:cubicBezTo>
                  <a:cubicBezTo>
                    <a:pt x="163" y="339"/>
                    <a:pt x="163" y="339"/>
                    <a:pt x="163" y="339"/>
                  </a:cubicBezTo>
                  <a:cubicBezTo>
                    <a:pt x="163" y="339"/>
                    <a:pt x="149" y="340"/>
                    <a:pt x="142" y="343"/>
                  </a:cubicBezTo>
                  <a:cubicBezTo>
                    <a:pt x="135" y="346"/>
                    <a:pt x="137" y="351"/>
                    <a:pt x="137" y="351"/>
                  </a:cubicBezTo>
                  <a:cubicBezTo>
                    <a:pt x="129" y="353"/>
                    <a:pt x="129" y="353"/>
                    <a:pt x="129" y="353"/>
                  </a:cubicBezTo>
                  <a:cubicBezTo>
                    <a:pt x="129" y="353"/>
                    <a:pt x="132" y="367"/>
                    <a:pt x="126" y="367"/>
                  </a:cubicBezTo>
                  <a:cubicBezTo>
                    <a:pt x="121" y="367"/>
                    <a:pt x="114" y="367"/>
                    <a:pt x="114" y="367"/>
                  </a:cubicBezTo>
                  <a:cubicBezTo>
                    <a:pt x="114" y="367"/>
                    <a:pt x="110" y="361"/>
                    <a:pt x="102" y="361"/>
                  </a:cubicBezTo>
                  <a:cubicBezTo>
                    <a:pt x="94" y="361"/>
                    <a:pt x="88" y="369"/>
                    <a:pt x="88" y="369"/>
                  </a:cubicBezTo>
                  <a:cubicBezTo>
                    <a:pt x="76" y="369"/>
                    <a:pt x="76" y="369"/>
                    <a:pt x="76" y="369"/>
                  </a:cubicBezTo>
                  <a:cubicBezTo>
                    <a:pt x="76" y="369"/>
                    <a:pt x="72" y="361"/>
                    <a:pt x="65" y="357"/>
                  </a:cubicBezTo>
                  <a:cubicBezTo>
                    <a:pt x="58" y="353"/>
                    <a:pt x="49" y="359"/>
                    <a:pt x="45" y="352"/>
                  </a:cubicBezTo>
                  <a:cubicBezTo>
                    <a:pt x="40" y="345"/>
                    <a:pt x="41" y="330"/>
                    <a:pt x="41" y="330"/>
                  </a:cubicBezTo>
                  <a:cubicBezTo>
                    <a:pt x="41" y="330"/>
                    <a:pt x="31" y="318"/>
                    <a:pt x="27" y="317"/>
                  </a:cubicBezTo>
                  <a:cubicBezTo>
                    <a:pt x="23" y="316"/>
                    <a:pt x="12" y="340"/>
                    <a:pt x="12" y="340"/>
                  </a:cubicBezTo>
                  <a:cubicBezTo>
                    <a:pt x="0" y="346"/>
                    <a:pt x="0" y="346"/>
                    <a:pt x="0" y="346"/>
                  </a:cubicBezTo>
                  <a:cubicBezTo>
                    <a:pt x="0" y="345"/>
                    <a:pt x="0" y="345"/>
                    <a:pt x="0" y="345"/>
                  </a:cubicBezTo>
                  <a:cubicBezTo>
                    <a:pt x="0" y="345"/>
                    <a:pt x="7" y="368"/>
                    <a:pt x="11" y="372"/>
                  </a:cubicBezTo>
                  <a:cubicBezTo>
                    <a:pt x="15" y="376"/>
                    <a:pt x="31" y="394"/>
                    <a:pt x="31" y="407"/>
                  </a:cubicBezTo>
                  <a:cubicBezTo>
                    <a:pt x="31" y="420"/>
                    <a:pt x="28" y="446"/>
                    <a:pt x="38" y="461"/>
                  </a:cubicBezTo>
                  <a:cubicBezTo>
                    <a:pt x="48" y="476"/>
                    <a:pt x="83" y="509"/>
                    <a:pt x="83" y="523"/>
                  </a:cubicBezTo>
                  <a:cubicBezTo>
                    <a:pt x="83" y="537"/>
                    <a:pt x="82" y="564"/>
                    <a:pt x="78" y="568"/>
                  </a:cubicBezTo>
                  <a:cubicBezTo>
                    <a:pt x="74" y="572"/>
                    <a:pt x="62" y="564"/>
                    <a:pt x="61" y="572"/>
                  </a:cubicBezTo>
                  <a:cubicBezTo>
                    <a:pt x="60" y="580"/>
                    <a:pt x="63" y="588"/>
                    <a:pt x="73" y="605"/>
                  </a:cubicBezTo>
                  <a:cubicBezTo>
                    <a:pt x="83" y="622"/>
                    <a:pt x="75" y="641"/>
                    <a:pt x="81" y="649"/>
                  </a:cubicBezTo>
                  <a:cubicBezTo>
                    <a:pt x="87" y="657"/>
                    <a:pt x="84" y="646"/>
                    <a:pt x="90" y="643"/>
                  </a:cubicBezTo>
                  <a:cubicBezTo>
                    <a:pt x="96" y="640"/>
                    <a:pt x="103" y="650"/>
                    <a:pt x="103" y="650"/>
                  </a:cubicBezTo>
                  <a:cubicBezTo>
                    <a:pt x="121" y="656"/>
                    <a:pt x="121" y="656"/>
                    <a:pt x="121" y="656"/>
                  </a:cubicBezTo>
                  <a:cubicBezTo>
                    <a:pt x="121" y="656"/>
                    <a:pt x="126" y="682"/>
                    <a:pt x="145" y="679"/>
                  </a:cubicBezTo>
                  <a:cubicBezTo>
                    <a:pt x="164" y="676"/>
                    <a:pt x="165" y="662"/>
                    <a:pt x="177" y="658"/>
                  </a:cubicBezTo>
                  <a:cubicBezTo>
                    <a:pt x="189" y="654"/>
                    <a:pt x="224" y="665"/>
                    <a:pt x="233" y="662"/>
                  </a:cubicBezTo>
                  <a:cubicBezTo>
                    <a:pt x="242" y="659"/>
                    <a:pt x="238" y="638"/>
                    <a:pt x="261" y="638"/>
                  </a:cubicBezTo>
                  <a:cubicBezTo>
                    <a:pt x="284" y="638"/>
                    <a:pt x="292" y="646"/>
                    <a:pt x="292" y="646"/>
                  </a:cubicBezTo>
                  <a:cubicBezTo>
                    <a:pt x="292" y="646"/>
                    <a:pt x="303" y="635"/>
                    <a:pt x="326" y="636"/>
                  </a:cubicBezTo>
                  <a:cubicBezTo>
                    <a:pt x="349" y="637"/>
                    <a:pt x="361" y="647"/>
                    <a:pt x="366" y="646"/>
                  </a:cubicBezTo>
                  <a:cubicBezTo>
                    <a:pt x="371" y="645"/>
                    <a:pt x="383" y="635"/>
                    <a:pt x="383" y="635"/>
                  </a:cubicBezTo>
                  <a:cubicBezTo>
                    <a:pt x="383" y="635"/>
                    <a:pt x="397" y="642"/>
                    <a:pt x="406" y="637"/>
                  </a:cubicBezTo>
                  <a:cubicBezTo>
                    <a:pt x="415" y="632"/>
                    <a:pt x="427" y="624"/>
                    <a:pt x="427" y="624"/>
                  </a:cubicBezTo>
                  <a:cubicBezTo>
                    <a:pt x="427" y="624"/>
                    <a:pt x="451" y="632"/>
                    <a:pt x="473" y="617"/>
                  </a:cubicBezTo>
                  <a:cubicBezTo>
                    <a:pt x="495" y="602"/>
                    <a:pt x="525" y="573"/>
                    <a:pt x="525" y="573"/>
                  </a:cubicBezTo>
                  <a:cubicBezTo>
                    <a:pt x="538" y="565"/>
                    <a:pt x="538" y="565"/>
                    <a:pt x="538" y="565"/>
                  </a:cubicBezTo>
                  <a:cubicBezTo>
                    <a:pt x="600" y="499"/>
                    <a:pt x="600" y="499"/>
                    <a:pt x="600" y="499"/>
                  </a:cubicBezTo>
                  <a:cubicBezTo>
                    <a:pt x="615" y="500"/>
                    <a:pt x="615" y="500"/>
                    <a:pt x="615" y="500"/>
                  </a:cubicBezTo>
                  <a:cubicBezTo>
                    <a:pt x="615" y="500"/>
                    <a:pt x="652" y="449"/>
                    <a:pt x="656" y="435"/>
                  </a:cubicBezTo>
                  <a:cubicBezTo>
                    <a:pt x="660" y="421"/>
                    <a:pt x="677" y="385"/>
                    <a:pt x="686" y="379"/>
                  </a:cubicBezTo>
                  <a:cubicBezTo>
                    <a:pt x="695" y="373"/>
                    <a:pt x="726" y="360"/>
                    <a:pt x="729" y="349"/>
                  </a:cubicBezTo>
                  <a:cubicBezTo>
                    <a:pt x="732" y="338"/>
                    <a:pt x="748" y="297"/>
                    <a:pt x="748" y="297"/>
                  </a:cubicBezTo>
                  <a:cubicBezTo>
                    <a:pt x="748" y="297"/>
                    <a:pt x="754" y="280"/>
                    <a:pt x="759" y="264"/>
                  </a:cubicBezTo>
                  <a:cubicBezTo>
                    <a:pt x="755" y="258"/>
                    <a:pt x="750" y="252"/>
                    <a:pt x="746" y="250"/>
                  </a:cubicBezTo>
                  <a:close/>
                  <a:moveTo>
                    <a:pt x="580" y="418"/>
                  </a:moveTo>
                  <a:cubicBezTo>
                    <a:pt x="580" y="418"/>
                    <a:pt x="571" y="426"/>
                    <a:pt x="563" y="428"/>
                  </a:cubicBezTo>
                  <a:cubicBezTo>
                    <a:pt x="555" y="430"/>
                    <a:pt x="552" y="428"/>
                    <a:pt x="542" y="432"/>
                  </a:cubicBezTo>
                  <a:cubicBezTo>
                    <a:pt x="532" y="436"/>
                    <a:pt x="531" y="456"/>
                    <a:pt x="531" y="456"/>
                  </a:cubicBezTo>
                  <a:cubicBezTo>
                    <a:pt x="516" y="457"/>
                    <a:pt x="516" y="457"/>
                    <a:pt x="516" y="457"/>
                  </a:cubicBezTo>
                  <a:cubicBezTo>
                    <a:pt x="498" y="437"/>
                    <a:pt x="498" y="437"/>
                    <a:pt x="498" y="437"/>
                  </a:cubicBezTo>
                  <a:cubicBezTo>
                    <a:pt x="498" y="426"/>
                    <a:pt x="498" y="426"/>
                    <a:pt x="498" y="426"/>
                  </a:cubicBezTo>
                  <a:cubicBezTo>
                    <a:pt x="481" y="401"/>
                    <a:pt x="481" y="401"/>
                    <a:pt x="481" y="401"/>
                  </a:cubicBezTo>
                  <a:cubicBezTo>
                    <a:pt x="498" y="399"/>
                    <a:pt x="498" y="399"/>
                    <a:pt x="498" y="399"/>
                  </a:cubicBezTo>
                  <a:cubicBezTo>
                    <a:pt x="500" y="389"/>
                    <a:pt x="500" y="389"/>
                    <a:pt x="500" y="389"/>
                  </a:cubicBezTo>
                  <a:cubicBezTo>
                    <a:pt x="512" y="376"/>
                    <a:pt x="512" y="376"/>
                    <a:pt x="512" y="376"/>
                  </a:cubicBezTo>
                  <a:cubicBezTo>
                    <a:pt x="512" y="376"/>
                    <a:pt x="514" y="366"/>
                    <a:pt x="519" y="362"/>
                  </a:cubicBezTo>
                  <a:cubicBezTo>
                    <a:pt x="524" y="358"/>
                    <a:pt x="534" y="361"/>
                    <a:pt x="534" y="361"/>
                  </a:cubicBezTo>
                  <a:cubicBezTo>
                    <a:pt x="535" y="351"/>
                    <a:pt x="535" y="351"/>
                    <a:pt x="535" y="351"/>
                  </a:cubicBezTo>
                  <a:cubicBezTo>
                    <a:pt x="543" y="348"/>
                    <a:pt x="543" y="348"/>
                    <a:pt x="543" y="348"/>
                  </a:cubicBezTo>
                  <a:cubicBezTo>
                    <a:pt x="543" y="348"/>
                    <a:pt x="559" y="343"/>
                    <a:pt x="564" y="349"/>
                  </a:cubicBezTo>
                  <a:cubicBezTo>
                    <a:pt x="569" y="355"/>
                    <a:pt x="581" y="374"/>
                    <a:pt x="581" y="374"/>
                  </a:cubicBezTo>
                  <a:cubicBezTo>
                    <a:pt x="591" y="377"/>
                    <a:pt x="591" y="377"/>
                    <a:pt x="591" y="377"/>
                  </a:cubicBezTo>
                  <a:cubicBezTo>
                    <a:pt x="592" y="393"/>
                    <a:pt x="592" y="393"/>
                    <a:pt x="592" y="393"/>
                  </a:cubicBezTo>
                  <a:cubicBezTo>
                    <a:pt x="577" y="406"/>
                    <a:pt x="577" y="406"/>
                    <a:pt x="577" y="406"/>
                  </a:cubicBezTo>
                  <a:lnTo>
                    <a:pt x="580" y="418"/>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86" name="Freeform 147"/>
            <p:cNvSpPr>
              <a:spLocks noEditPoints="1"/>
            </p:cNvSpPr>
            <p:nvPr/>
          </p:nvSpPr>
          <p:spPr bwMode="gray">
            <a:xfrm>
              <a:off x="4097338" y="2170113"/>
              <a:ext cx="222250" cy="307975"/>
            </a:xfrm>
            <a:custGeom>
              <a:avLst/>
              <a:gdLst>
                <a:gd name="T0" fmla="*/ 118 w 395"/>
                <a:gd name="T1" fmla="*/ 256 h 549"/>
                <a:gd name="T2" fmla="*/ 111 w 395"/>
                <a:gd name="T3" fmla="*/ 221 h 549"/>
                <a:gd name="T4" fmla="*/ 98 w 395"/>
                <a:gd name="T5" fmla="*/ 248 h 549"/>
                <a:gd name="T6" fmla="*/ 222 w 395"/>
                <a:gd name="T7" fmla="*/ 93 h 549"/>
                <a:gd name="T8" fmla="*/ 97 w 395"/>
                <a:gd name="T9" fmla="*/ 159 h 549"/>
                <a:gd name="T10" fmla="*/ 93 w 395"/>
                <a:gd name="T11" fmla="*/ 183 h 549"/>
                <a:gd name="T12" fmla="*/ 325 w 395"/>
                <a:gd name="T13" fmla="*/ 1 h 549"/>
                <a:gd name="T14" fmla="*/ 296 w 395"/>
                <a:gd name="T15" fmla="*/ 36 h 549"/>
                <a:gd name="T16" fmla="*/ 301 w 395"/>
                <a:gd name="T17" fmla="*/ 12 h 549"/>
                <a:gd name="T18" fmla="*/ 296 w 395"/>
                <a:gd name="T19" fmla="*/ 36 h 549"/>
                <a:gd name="T20" fmla="*/ 246 w 395"/>
                <a:gd name="T21" fmla="*/ 96 h 549"/>
                <a:gd name="T22" fmla="*/ 128 w 395"/>
                <a:gd name="T23" fmla="*/ 258 h 549"/>
                <a:gd name="T24" fmla="*/ 331 w 395"/>
                <a:gd name="T25" fmla="*/ 402 h 549"/>
                <a:gd name="T26" fmla="*/ 330 w 395"/>
                <a:gd name="T27" fmla="*/ 357 h 549"/>
                <a:gd name="T28" fmla="*/ 291 w 395"/>
                <a:gd name="T29" fmla="*/ 314 h 549"/>
                <a:gd name="T30" fmla="*/ 265 w 395"/>
                <a:gd name="T31" fmla="*/ 261 h 549"/>
                <a:gd name="T32" fmla="*/ 191 w 395"/>
                <a:gd name="T33" fmla="*/ 235 h 549"/>
                <a:gd name="T34" fmla="*/ 214 w 395"/>
                <a:gd name="T35" fmla="*/ 222 h 549"/>
                <a:gd name="T36" fmla="*/ 261 w 395"/>
                <a:gd name="T37" fmla="*/ 177 h 549"/>
                <a:gd name="T38" fmla="*/ 211 w 395"/>
                <a:gd name="T39" fmla="*/ 154 h 549"/>
                <a:gd name="T40" fmla="*/ 179 w 395"/>
                <a:gd name="T41" fmla="*/ 147 h 549"/>
                <a:gd name="T42" fmla="*/ 224 w 395"/>
                <a:gd name="T43" fmla="*/ 112 h 549"/>
                <a:gd name="T44" fmla="*/ 153 w 395"/>
                <a:gd name="T45" fmla="*/ 110 h 549"/>
                <a:gd name="T46" fmla="*/ 144 w 395"/>
                <a:gd name="T47" fmla="*/ 148 h 549"/>
                <a:gd name="T48" fmla="*/ 121 w 395"/>
                <a:gd name="T49" fmla="*/ 162 h 549"/>
                <a:gd name="T50" fmla="*/ 116 w 395"/>
                <a:gd name="T51" fmla="*/ 198 h 549"/>
                <a:gd name="T52" fmla="*/ 134 w 395"/>
                <a:gd name="T53" fmla="*/ 202 h 549"/>
                <a:gd name="T54" fmla="*/ 116 w 395"/>
                <a:gd name="T55" fmla="*/ 250 h 549"/>
                <a:gd name="T56" fmla="*/ 144 w 395"/>
                <a:gd name="T57" fmla="*/ 251 h 549"/>
                <a:gd name="T58" fmla="*/ 146 w 395"/>
                <a:gd name="T59" fmla="*/ 306 h 549"/>
                <a:gd name="T60" fmla="*/ 211 w 395"/>
                <a:gd name="T61" fmla="*/ 295 h 549"/>
                <a:gd name="T62" fmla="*/ 216 w 395"/>
                <a:gd name="T63" fmla="*/ 349 h 549"/>
                <a:gd name="T64" fmla="*/ 162 w 395"/>
                <a:gd name="T65" fmla="*/ 377 h 549"/>
                <a:gd name="T66" fmla="*/ 135 w 395"/>
                <a:gd name="T67" fmla="*/ 402 h 549"/>
                <a:gd name="T68" fmla="*/ 117 w 395"/>
                <a:gd name="T69" fmla="*/ 448 h 549"/>
                <a:gd name="T70" fmla="*/ 151 w 395"/>
                <a:gd name="T71" fmla="*/ 466 h 549"/>
                <a:gd name="T72" fmla="*/ 202 w 395"/>
                <a:gd name="T73" fmla="*/ 467 h 549"/>
                <a:gd name="T74" fmla="*/ 156 w 395"/>
                <a:gd name="T75" fmla="*/ 485 h 549"/>
                <a:gd name="T76" fmla="*/ 129 w 395"/>
                <a:gd name="T77" fmla="*/ 516 h 549"/>
                <a:gd name="T78" fmla="*/ 83 w 395"/>
                <a:gd name="T79" fmla="*/ 545 h 549"/>
                <a:gd name="T80" fmla="*/ 147 w 395"/>
                <a:gd name="T81" fmla="*/ 530 h 549"/>
                <a:gd name="T82" fmla="*/ 211 w 395"/>
                <a:gd name="T83" fmla="*/ 519 h 549"/>
                <a:gd name="T84" fmla="*/ 273 w 395"/>
                <a:gd name="T85" fmla="*/ 520 h 549"/>
                <a:gd name="T86" fmla="*/ 293 w 395"/>
                <a:gd name="T87" fmla="*/ 508 h 549"/>
                <a:gd name="T88" fmla="*/ 340 w 395"/>
                <a:gd name="T89" fmla="*/ 474 h 549"/>
                <a:gd name="T90" fmla="*/ 375 w 395"/>
                <a:gd name="T91" fmla="*/ 447 h 549"/>
                <a:gd name="T92" fmla="*/ 157 w 395"/>
                <a:gd name="T93" fmla="*/ 325 h 549"/>
                <a:gd name="T94" fmla="*/ 94 w 395"/>
                <a:gd name="T95" fmla="*/ 338 h 549"/>
                <a:gd name="T96" fmla="*/ 110 w 395"/>
                <a:gd name="T97" fmla="*/ 308 h 549"/>
                <a:gd name="T98" fmla="*/ 86 w 395"/>
                <a:gd name="T99" fmla="*/ 281 h 549"/>
                <a:gd name="T100" fmla="*/ 58 w 395"/>
                <a:gd name="T101" fmla="*/ 288 h 549"/>
                <a:gd name="T102" fmla="*/ 13 w 395"/>
                <a:gd name="T103" fmla="*/ 325 h 549"/>
                <a:gd name="T104" fmla="*/ 67 w 395"/>
                <a:gd name="T105" fmla="*/ 335 h 549"/>
                <a:gd name="T106" fmla="*/ 63 w 395"/>
                <a:gd name="T107" fmla="*/ 155 h 549"/>
                <a:gd name="T108" fmla="*/ 63 w 395"/>
                <a:gd name="T109" fmla="*/ 155 h 549"/>
                <a:gd name="T110" fmla="*/ 108 w 395"/>
                <a:gd name="T111" fmla="*/ 115 h 549"/>
                <a:gd name="T112" fmla="*/ 72 w 395"/>
                <a:gd name="T113" fmla="*/ 128 h 549"/>
                <a:gd name="T114" fmla="*/ 57 w 395"/>
                <a:gd name="T115" fmla="*/ 169 h 549"/>
                <a:gd name="T116" fmla="*/ 57 w 395"/>
                <a:gd name="T117" fmla="*/ 169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95" h="549">
                  <a:moveTo>
                    <a:pt x="118" y="256"/>
                  </a:moveTo>
                  <a:cubicBezTo>
                    <a:pt x="110" y="256"/>
                    <a:pt x="109" y="262"/>
                    <a:pt x="106" y="277"/>
                  </a:cubicBezTo>
                  <a:cubicBezTo>
                    <a:pt x="104" y="289"/>
                    <a:pt x="126" y="256"/>
                    <a:pt x="118" y="256"/>
                  </a:cubicBezTo>
                  <a:close/>
                  <a:moveTo>
                    <a:pt x="100" y="210"/>
                  </a:moveTo>
                  <a:cubicBezTo>
                    <a:pt x="96" y="210"/>
                    <a:pt x="90" y="222"/>
                    <a:pt x="94" y="225"/>
                  </a:cubicBezTo>
                  <a:cubicBezTo>
                    <a:pt x="98" y="228"/>
                    <a:pt x="111" y="221"/>
                    <a:pt x="111" y="221"/>
                  </a:cubicBezTo>
                  <a:cubicBezTo>
                    <a:pt x="111" y="221"/>
                    <a:pt x="104" y="210"/>
                    <a:pt x="100" y="210"/>
                  </a:cubicBezTo>
                  <a:close/>
                  <a:moveTo>
                    <a:pt x="87" y="261"/>
                  </a:moveTo>
                  <a:cubicBezTo>
                    <a:pt x="102" y="261"/>
                    <a:pt x="109" y="250"/>
                    <a:pt x="98" y="248"/>
                  </a:cubicBezTo>
                  <a:cubicBezTo>
                    <a:pt x="87" y="246"/>
                    <a:pt x="78" y="261"/>
                    <a:pt x="87" y="261"/>
                  </a:cubicBezTo>
                  <a:close/>
                  <a:moveTo>
                    <a:pt x="231" y="85"/>
                  </a:moveTo>
                  <a:cubicBezTo>
                    <a:pt x="223" y="78"/>
                    <a:pt x="222" y="93"/>
                    <a:pt x="222" y="93"/>
                  </a:cubicBezTo>
                  <a:cubicBezTo>
                    <a:pt x="229" y="99"/>
                    <a:pt x="239" y="92"/>
                    <a:pt x="231" y="85"/>
                  </a:cubicBezTo>
                  <a:close/>
                  <a:moveTo>
                    <a:pt x="103" y="176"/>
                  </a:moveTo>
                  <a:cubicBezTo>
                    <a:pt x="103" y="176"/>
                    <a:pt x="107" y="159"/>
                    <a:pt x="97" y="159"/>
                  </a:cubicBezTo>
                  <a:cubicBezTo>
                    <a:pt x="87" y="159"/>
                    <a:pt x="93" y="169"/>
                    <a:pt x="93" y="169"/>
                  </a:cubicBezTo>
                  <a:cubicBezTo>
                    <a:pt x="93" y="169"/>
                    <a:pt x="85" y="166"/>
                    <a:pt x="82" y="169"/>
                  </a:cubicBezTo>
                  <a:cubicBezTo>
                    <a:pt x="79" y="172"/>
                    <a:pt x="91" y="179"/>
                    <a:pt x="93" y="183"/>
                  </a:cubicBezTo>
                  <a:cubicBezTo>
                    <a:pt x="95" y="187"/>
                    <a:pt x="110" y="184"/>
                    <a:pt x="110" y="184"/>
                  </a:cubicBezTo>
                  <a:lnTo>
                    <a:pt x="103" y="176"/>
                  </a:lnTo>
                  <a:close/>
                  <a:moveTo>
                    <a:pt x="325" y="1"/>
                  </a:moveTo>
                  <a:cubicBezTo>
                    <a:pt x="318" y="2"/>
                    <a:pt x="316" y="11"/>
                    <a:pt x="316" y="11"/>
                  </a:cubicBezTo>
                  <a:cubicBezTo>
                    <a:pt x="327" y="16"/>
                    <a:pt x="332" y="0"/>
                    <a:pt x="325" y="1"/>
                  </a:cubicBezTo>
                  <a:close/>
                  <a:moveTo>
                    <a:pt x="296" y="36"/>
                  </a:moveTo>
                  <a:cubicBezTo>
                    <a:pt x="300" y="45"/>
                    <a:pt x="300" y="45"/>
                    <a:pt x="300" y="45"/>
                  </a:cubicBezTo>
                  <a:cubicBezTo>
                    <a:pt x="305" y="49"/>
                    <a:pt x="312" y="28"/>
                    <a:pt x="311" y="24"/>
                  </a:cubicBezTo>
                  <a:cubicBezTo>
                    <a:pt x="310" y="20"/>
                    <a:pt x="301" y="12"/>
                    <a:pt x="301" y="12"/>
                  </a:cubicBezTo>
                  <a:cubicBezTo>
                    <a:pt x="300" y="21"/>
                    <a:pt x="300" y="21"/>
                    <a:pt x="300" y="21"/>
                  </a:cubicBezTo>
                  <a:cubicBezTo>
                    <a:pt x="300" y="21"/>
                    <a:pt x="287" y="25"/>
                    <a:pt x="288" y="29"/>
                  </a:cubicBezTo>
                  <a:cubicBezTo>
                    <a:pt x="289" y="33"/>
                    <a:pt x="296" y="36"/>
                    <a:pt x="296" y="36"/>
                  </a:cubicBezTo>
                  <a:close/>
                  <a:moveTo>
                    <a:pt x="239" y="94"/>
                  </a:moveTo>
                  <a:cubicBezTo>
                    <a:pt x="237" y="104"/>
                    <a:pt x="237" y="104"/>
                    <a:pt x="237" y="104"/>
                  </a:cubicBezTo>
                  <a:cubicBezTo>
                    <a:pt x="246" y="96"/>
                    <a:pt x="246" y="96"/>
                    <a:pt x="246" y="96"/>
                  </a:cubicBezTo>
                  <a:lnTo>
                    <a:pt x="239" y="94"/>
                  </a:lnTo>
                  <a:close/>
                  <a:moveTo>
                    <a:pt x="137" y="269"/>
                  </a:moveTo>
                  <a:cubicBezTo>
                    <a:pt x="143" y="265"/>
                    <a:pt x="134" y="252"/>
                    <a:pt x="128" y="258"/>
                  </a:cubicBezTo>
                  <a:cubicBezTo>
                    <a:pt x="122" y="264"/>
                    <a:pt x="130" y="273"/>
                    <a:pt x="137" y="269"/>
                  </a:cubicBezTo>
                  <a:close/>
                  <a:moveTo>
                    <a:pt x="346" y="395"/>
                  </a:moveTo>
                  <a:cubicBezTo>
                    <a:pt x="346" y="395"/>
                    <a:pt x="341" y="409"/>
                    <a:pt x="331" y="402"/>
                  </a:cubicBezTo>
                  <a:cubicBezTo>
                    <a:pt x="321" y="394"/>
                    <a:pt x="341" y="387"/>
                    <a:pt x="340" y="378"/>
                  </a:cubicBezTo>
                  <a:cubicBezTo>
                    <a:pt x="339" y="369"/>
                    <a:pt x="308" y="364"/>
                    <a:pt x="308" y="359"/>
                  </a:cubicBezTo>
                  <a:cubicBezTo>
                    <a:pt x="308" y="354"/>
                    <a:pt x="330" y="357"/>
                    <a:pt x="330" y="357"/>
                  </a:cubicBezTo>
                  <a:cubicBezTo>
                    <a:pt x="321" y="349"/>
                    <a:pt x="321" y="349"/>
                    <a:pt x="321" y="349"/>
                  </a:cubicBezTo>
                  <a:cubicBezTo>
                    <a:pt x="321" y="349"/>
                    <a:pt x="312" y="328"/>
                    <a:pt x="308" y="321"/>
                  </a:cubicBezTo>
                  <a:cubicBezTo>
                    <a:pt x="304" y="314"/>
                    <a:pt x="291" y="314"/>
                    <a:pt x="291" y="314"/>
                  </a:cubicBezTo>
                  <a:cubicBezTo>
                    <a:pt x="291" y="314"/>
                    <a:pt x="283" y="305"/>
                    <a:pt x="275" y="299"/>
                  </a:cubicBezTo>
                  <a:cubicBezTo>
                    <a:pt x="267" y="293"/>
                    <a:pt x="273" y="261"/>
                    <a:pt x="273" y="261"/>
                  </a:cubicBezTo>
                  <a:cubicBezTo>
                    <a:pt x="265" y="261"/>
                    <a:pt x="265" y="261"/>
                    <a:pt x="265" y="261"/>
                  </a:cubicBezTo>
                  <a:cubicBezTo>
                    <a:pt x="265" y="261"/>
                    <a:pt x="264" y="255"/>
                    <a:pt x="250" y="245"/>
                  </a:cubicBezTo>
                  <a:cubicBezTo>
                    <a:pt x="235" y="235"/>
                    <a:pt x="216" y="245"/>
                    <a:pt x="208" y="246"/>
                  </a:cubicBezTo>
                  <a:cubicBezTo>
                    <a:pt x="200" y="247"/>
                    <a:pt x="191" y="235"/>
                    <a:pt x="191" y="235"/>
                  </a:cubicBezTo>
                  <a:cubicBezTo>
                    <a:pt x="191" y="235"/>
                    <a:pt x="205" y="240"/>
                    <a:pt x="209" y="239"/>
                  </a:cubicBezTo>
                  <a:cubicBezTo>
                    <a:pt x="213" y="238"/>
                    <a:pt x="231" y="234"/>
                    <a:pt x="232" y="228"/>
                  </a:cubicBezTo>
                  <a:cubicBezTo>
                    <a:pt x="233" y="223"/>
                    <a:pt x="214" y="222"/>
                    <a:pt x="214" y="222"/>
                  </a:cubicBezTo>
                  <a:cubicBezTo>
                    <a:pt x="230" y="218"/>
                    <a:pt x="230" y="218"/>
                    <a:pt x="230" y="218"/>
                  </a:cubicBezTo>
                  <a:cubicBezTo>
                    <a:pt x="230" y="218"/>
                    <a:pt x="239" y="211"/>
                    <a:pt x="245" y="206"/>
                  </a:cubicBezTo>
                  <a:cubicBezTo>
                    <a:pt x="250" y="201"/>
                    <a:pt x="261" y="177"/>
                    <a:pt x="261" y="177"/>
                  </a:cubicBezTo>
                  <a:cubicBezTo>
                    <a:pt x="261" y="177"/>
                    <a:pt x="276" y="168"/>
                    <a:pt x="276" y="161"/>
                  </a:cubicBezTo>
                  <a:cubicBezTo>
                    <a:pt x="276" y="154"/>
                    <a:pt x="222" y="159"/>
                    <a:pt x="222" y="159"/>
                  </a:cubicBezTo>
                  <a:cubicBezTo>
                    <a:pt x="222" y="159"/>
                    <a:pt x="223" y="154"/>
                    <a:pt x="211" y="154"/>
                  </a:cubicBezTo>
                  <a:cubicBezTo>
                    <a:pt x="199" y="154"/>
                    <a:pt x="177" y="162"/>
                    <a:pt x="177" y="162"/>
                  </a:cubicBezTo>
                  <a:cubicBezTo>
                    <a:pt x="185" y="155"/>
                    <a:pt x="185" y="155"/>
                    <a:pt x="185" y="155"/>
                  </a:cubicBezTo>
                  <a:cubicBezTo>
                    <a:pt x="179" y="147"/>
                    <a:pt x="179" y="147"/>
                    <a:pt x="179" y="147"/>
                  </a:cubicBezTo>
                  <a:cubicBezTo>
                    <a:pt x="191" y="145"/>
                    <a:pt x="191" y="145"/>
                    <a:pt x="191" y="145"/>
                  </a:cubicBezTo>
                  <a:cubicBezTo>
                    <a:pt x="212" y="132"/>
                    <a:pt x="212" y="132"/>
                    <a:pt x="212" y="132"/>
                  </a:cubicBezTo>
                  <a:cubicBezTo>
                    <a:pt x="212" y="132"/>
                    <a:pt x="223" y="123"/>
                    <a:pt x="224" y="112"/>
                  </a:cubicBezTo>
                  <a:cubicBezTo>
                    <a:pt x="225" y="105"/>
                    <a:pt x="211" y="107"/>
                    <a:pt x="203" y="108"/>
                  </a:cubicBezTo>
                  <a:cubicBezTo>
                    <a:pt x="195" y="109"/>
                    <a:pt x="183" y="115"/>
                    <a:pt x="175" y="115"/>
                  </a:cubicBezTo>
                  <a:cubicBezTo>
                    <a:pt x="167" y="115"/>
                    <a:pt x="160" y="106"/>
                    <a:pt x="153" y="110"/>
                  </a:cubicBezTo>
                  <a:cubicBezTo>
                    <a:pt x="146" y="114"/>
                    <a:pt x="153" y="124"/>
                    <a:pt x="153" y="124"/>
                  </a:cubicBezTo>
                  <a:cubicBezTo>
                    <a:pt x="153" y="124"/>
                    <a:pt x="146" y="125"/>
                    <a:pt x="141" y="129"/>
                  </a:cubicBezTo>
                  <a:cubicBezTo>
                    <a:pt x="136" y="133"/>
                    <a:pt x="144" y="148"/>
                    <a:pt x="144" y="148"/>
                  </a:cubicBezTo>
                  <a:cubicBezTo>
                    <a:pt x="115" y="151"/>
                    <a:pt x="115" y="151"/>
                    <a:pt x="115" y="151"/>
                  </a:cubicBezTo>
                  <a:cubicBezTo>
                    <a:pt x="115" y="157"/>
                    <a:pt x="115" y="157"/>
                    <a:pt x="115" y="157"/>
                  </a:cubicBezTo>
                  <a:cubicBezTo>
                    <a:pt x="121" y="162"/>
                    <a:pt x="121" y="162"/>
                    <a:pt x="121" y="162"/>
                  </a:cubicBezTo>
                  <a:cubicBezTo>
                    <a:pt x="130" y="180"/>
                    <a:pt x="130" y="180"/>
                    <a:pt x="130" y="180"/>
                  </a:cubicBezTo>
                  <a:cubicBezTo>
                    <a:pt x="130" y="180"/>
                    <a:pt x="124" y="185"/>
                    <a:pt x="121" y="188"/>
                  </a:cubicBezTo>
                  <a:cubicBezTo>
                    <a:pt x="118" y="191"/>
                    <a:pt x="116" y="198"/>
                    <a:pt x="116" y="198"/>
                  </a:cubicBezTo>
                  <a:cubicBezTo>
                    <a:pt x="105" y="203"/>
                    <a:pt x="105" y="203"/>
                    <a:pt x="105" y="203"/>
                  </a:cubicBezTo>
                  <a:cubicBezTo>
                    <a:pt x="105" y="203"/>
                    <a:pt x="111" y="212"/>
                    <a:pt x="119" y="211"/>
                  </a:cubicBezTo>
                  <a:cubicBezTo>
                    <a:pt x="127" y="210"/>
                    <a:pt x="134" y="202"/>
                    <a:pt x="134" y="202"/>
                  </a:cubicBezTo>
                  <a:cubicBezTo>
                    <a:pt x="133" y="214"/>
                    <a:pt x="133" y="214"/>
                    <a:pt x="133" y="214"/>
                  </a:cubicBezTo>
                  <a:cubicBezTo>
                    <a:pt x="133" y="214"/>
                    <a:pt x="120" y="220"/>
                    <a:pt x="115" y="228"/>
                  </a:cubicBezTo>
                  <a:cubicBezTo>
                    <a:pt x="110" y="237"/>
                    <a:pt x="116" y="250"/>
                    <a:pt x="116" y="250"/>
                  </a:cubicBezTo>
                  <a:cubicBezTo>
                    <a:pt x="116" y="250"/>
                    <a:pt x="127" y="242"/>
                    <a:pt x="134" y="247"/>
                  </a:cubicBezTo>
                  <a:cubicBezTo>
                    <a:pt x="140" y="252"/>
                    <a:pt x="153" y="241"/>
                    <a:pt x="153" y="241"/>
                  </a:cubicBezTo>
                  <a:cubicBezTo>
                    <a:pt x="144" y="251"/>
                    <a:pt x="144" y="251"/>
                    <a:pt x="144" y="251"/>
                  </a:cubicBezTo>
                  <a:cubicBezTo>
                    <a:pt x="149" y="269"/>
                    <a:pt x="149" y="269"/>
                    <a:pt x="149" y="269"/>
                  </a:cubicBezTo>
                  <a:cubicBezTo>
                    <a:pt x="149" y="269"/>
                    <a:pt x="138" y="282"/>
                    <a:pt x="130" y="296"/>
                  </a:cubicBezTo>
                  <a:cubicBezTo>
                    <a:pt x="123" y="309"/>
                    <a:pt x="146" y="306"/>
                    <a:pt x="146" y="306"/>
                  </a:cubicBezTo>
                  <a:cubicBezTo>
                    <a:pt x="146" y="306"/>
                    <a:pt x="159" y="300"/>
                    <a:pt x="166" y="303"/>
                  </a:cubicBezTo>
                  <a:cubicBezTo>
                    <a:pt x="173" y="306"/>
                    <a:pt x="189" y="293"/>
                    <a:pt x="189" y="293"/>
                  </a:cubicBezTo>
                  <a:cubicBezTo>
                    <a:pt x="211" y="295"/>
                    <a:pt x="211" y="295"/>
                    <a:pt x="211" y="295"/>
                  </a:cubicBezTo>
                  <a:cubicBezTo>
                    <a:pt x="211" y="295"/>
                    <a:pt x="188" y="308"/>
                    <a:pt x="186" y="318"/>
                  </a:cubicBezTo>
                  <a:cubicBezTo>
                    <a:pt x="185" y="328"/>
                    <a:pt x="215" y="335"/>
                    <a:pt x="215" y="335"/>
                  </a:cubicBezTo>
                  <a:cubicBezTo>
                    <a:pt x="216" y="349"/>
                    <a:pt x="216" y="349"/>
                    <a:pt x="216" y="349"/>
                  </a:cubicBezTo>
                  <a:cubicBezTo>
                    <a:pt x="208" y="361"/>
                    <a:pt x="208" y="361"/>
                    <a:pt x="208" y="361"/>
                  </a:cubicBezTo>
                  <a:cubicBezTo>
                    <a:pt x="208" y="361"/>
                    <a:pt x="210" y="375"/>
                    <a:pt x="207" y="379"/>
                  </a:cubicBezTo>
                  <a:cubicBezTo>
                    <a:pt x="204" y="383"/>
                    <a:pt x="162" y="377"/>
                    <a:pt x="162" y="377"/>
                  </a:cubicBezTo>
                  <a:cubicBezTo>
                    <a:pt x="162" y="377"/>
                    <a:pt x="152" y="374"/>
                    <a:pt x="143" y="376"/>
                  </a:cubicBezTo>
                  <a:cubicBezTo>
                    <a:pt x="134" y="378"/>
                    <a:pt x="149" y="389"/>
                    <a:pt x="149" y="389"/>
                  </a:cubicBezTo>
                  <a:cubicBezTo>
                    <a:pt x="135" y="402"/>
                    <a:pt x="135" y="402"/>
                    <a:pt x="135" y="402"/>
                  </a:cubicBezTo>
                  <a:cubicBezTo>
                    <a:pt x="163" y="400"/>
                    <a:pt x="163" y="400"/>
                    <a:pt x="163" y="400"/>
                  </a:cubicBezTo>
                  <a:cubicBezTo>
                    <a:pt x="163" y="400"/>
                    <a:pt x="163" y="423"/>
                    <a:pt x="156" y="430"/>
                  </a:cubicBezTo>
                  <a:cubicBezTo>
                    <a:pt x="149" y="437"/>
                    <a:pt x="121" y="445"/>
                    <a:pt x="117" y="448"/>
                  </a:cubicBezTo>
                  <a:cubicBezTo>
                    <a:pt x="113" y="451"/>
                    <a:pt x="118" y="466"/>
                    <a:pt x="122" y="468"/>
                  </a:cubicBezTo>
                  <a:cubicBezTo>
                    <a:pt x="126" y="470"/>
                    <a:pt x="144" y="456"/>
                    <a:pt x="144" y="456"/>
                  </a:cubicBezTo>
                  <a:cubicBezTo>
                    <a:pt x="144" y="456"/>
                    <a:pt x="147" y="462"/>
                    <a:pt x="151" y="466"/>
                  </a:cubicBezTo>
                  <a:cubicBezTo>
                    <a:pt x="155" y="470"/>
                    <a:pt x="165" y="466"/>
                    <a:pt x="165" y="466"/>
                  </a:cubicBezTo>
                  <a:cubicBezTo>
                    <a:pt x="165" y="466"/>
                    <a:pt x="173" y="475"/>
                    <a:pt x="181" y="476"/>
                  </a:cubicBezTo>
                  <a:cubicBezTo>
                    <a:pt x="190" y="477"/>
                    <a:pt x="197" y="472"/>
                    <a:pt x="202" y="467"/>
                  </a:cubicBezTo>
                  <a:cubicBezTo>
                    <a:pt x="207" y="462"/>
                    <a:pt x="220" y="463"/>
                    <a:pt x="220" y="463"/>
                  </a:cubicBezTo>
                  <a:cubicBezTo>
                    <a:pt x="220" y="463"/>
                    <a:pt x="204" y="478"/>
                    <a:pt x="194" y="485"/>
                  </a:cubicBezTo>
                  <a:cubicBezTo>
                    <a:pt x="183" y="492"/>
                    <a:pt x="163" y="485"/>
                    <a:pt x="156" y="485"/>
                  </a:cubicBezTo>
                  <a:cubicBezTo>
                    <a:pt x="149" y="485"/>
                    <a:pt x="151" y="495"/>
                    <a:pt x="151" y="495"/>
                  </a:cubicBezTo>
                  <a:cubicBezTo>
                    <a:pt x="151" y="495"/>
                    <a:pt x="142" y="495"/>
                    <a:pt x="135" y="498"/>
                  </a:cubicBezTo>
                  <a:cubicBezTo>
                    <a:pt x="127" y="501"/>
                    <a:pt x="135" y="507"/>
                    <a:pt x="129" y="516"/>
                  </a:cubicBezTo>
                  <a:cubicBezTo>
                    <a:pt x="124" y="524"/>
                    <a:pt x="117" y="520"/>
                    <a:pt x="110" y="520"/>
                  </a:cubicBezTo>
                  <a:cubicBezTo>
                    <a:pt x="103" y="520"/>
                    <a:pt x="106" y="530"/>
                    <a:pt x="99" y="536"/>
                  </a:cubicBezTo>
                  <a:cubicBezTo>
                    <a:pt x="92" y="542"/>
                    <a:pt x="83" y="541"/>
                    <a:pt x="83" y="545"/>
                  </a:cubicBezTo>
                  <a:cubicBezTo>
                    <a:pt x="83" y="549"/>
                    <a:pt x="102" y="549"/>
                    <a:pt x="105" y="549"/>
                  </a:cubicBezTo>
                  <a:cubicBezTo>
                    <a:pt x="108" y="549"/>
                    <a:pt x="116" y="539"/>
                    <a:pt x="122" y="534"/>
                  </a:cubicBezTo>
                  <a:cubicBezTo>
                    <a:pt x="128" y="529"/>
                    <a:pt x="138" y="530"/>
                    <a:pt x="147" y="530"/>
                  </a:cubicBezTo>
                  <a:cubicBezTo>
                    <a:pt x="156" y="530"/>
                    <a:pt x="159" y="540"/>
                    <a:pt x="165" y="540"/>
                  </a:cubicBezTo>
                  <a:cubicBezTo>
                    <a:pt x="171" y="540"/>
                    <a:pt x="184" y="515"/>
                    <a:pt x="191" y="512"/>
                  </a:cubicBezTo>
                  <a:cubicBezTo>
                    <a:pt x="197" y="508"/>
                    <a:pt x="211" y="519"/>
                    <a:pt x="211" y="519"/>
                  </a:cubicBezTo>
                  <a:cubicBezTo>
                    <a:pt x="228" y="520"/>
                    <a:pt x="228" y="520"/>
                    <a:pt x="228" y="520"/>
                  </a:cubicBezTo>
                  <a:cubicBezTo>
                    <a:pt x="248" y="512"/>
                    <a:pt x="248" y="512"/>
                    <a:pt x="248" y="512"/>
                  </a:cubicBezTo>
                  <a:cubicBezTo>
                    <a:pt x="248" y="512"/>
                    <a:pt x="267" y="521"/>
                    <a:pt x="273" y="520"/>
                  </a:cubicBezTo>
                  <a:cubicBezTo>
                    <a:pt x="279" y="519"/>
                    <a:pt x="265" y="508"/>
                    <a:pt x="271" y="503"/>
                  </a:cubicBezTo>
                  <a:cubicBezTo>
                    <a:pt x="277" y="498"/>
                    <a:pt x="286" y="513"/>
                    <a:pt x="286" y="513"/>
                  </a:cubicBezTo>
                  <a:cubicBezTo>
                    <a:pt x="293" y="508"/>
                    <a:pt x="293" y="508"/>
                    <a:pt x="293" y="508"/>
                  </a:cubicBezTo>
                  <a:cubicBezTo>
                    <a:pt x="293" y="508"/>
                    <a:pt x="346" y="508"/>
                    <a:pt x="359" y="501"/>
                  </a:cubicBezTo>
                  <a:cubicBezTo>
                    <a:pt x="371" y="494"/>
                    <a:pt x="379" y="479"/>
                    <a:pt x="379" y="479"/>
                  </a:cubicBezTo>
                  <a:cubicBezTo>
                    <a:pt x="340" y="474"/>
                    <a:pt x="340" y="474"/>
                    <a:pt x="340" y="474"/>
                  </a:cubicBezTo>
                  <a:cubicBezTo>
                    <a:pt x="358" y="471"/>
                    <a:pt x="358" y="471"/>
                    <a:pt x="358" y="471"/>
                  </a:cubicBezTo>
                  <a:cubicBezTo>
                    <a:pt x="354" y="461"/>
                    <a:pt x="354" y="461"/>
                    <a:pt x="354" y="461"/>
                  </a:cubicBezTo>
                  <a:cubicBezTo>
                    <a:pt x="354" y="461"/>
                    <a:pt x="368" y="448"/>
                    <a:pt x="375" y="447"/>
                  </a:cubicBezTo>
                  <a:cubicBezTo>
                    <a:pt x="382" y="446"/>
                    <a:pt x="393" y="435"/>
                    <a:pt x="394" y="415"/>
                  </a:cubicBezTo>
                  <a:cubicBezTo>
                    <a:pt x="395" y="394"/>
                    <a:pt x="346" y="395"/>
                    <a:pt x="346" y="395"/>
                  </a:cubicBezTo>
                  <a:close/>
                  <a:moveTo>
                    <a:pt x="157" y="325"/>
                  </a:moveTo>
                  <a:cubicBezTo>
                    <a:pt x="152" y="310"/>
                    <a:pt x="147" y="330"/>
                    <a:pt x="138" y="338"/>
                  </a:cubicBezTo>
                  <a:cubicBezTo>
                    <a:pt x="138" y="338"/>
                    <a:pt x="162" y="340"/>
                    <a:pt x="157" y="325"/>
                  </a:cubicBezTo>
                  <a:close/>
                  <a:moveTo>
                    <a:pt x="94" y="338"/>
                  </a:moveTo>
                  <a:cubicBezTo>
                    <a:pt x="97" y="335"/>
                    <a:pt x="99" y="329"/>
                    <a:pt x="99" y="329"/>
                  </a:cubicBezTo>
                  <a:cubicBezTo>
                    <a:pt x="99" y="329"/>
                    <a:pt x="104" y="336"/>
                    <a:pt x="107" y="330"/>
                  </a:cubicBezTo>
                  <a:cubicBezTo>
                    <a:pt x="110" y="324"/>
                    <a:pt x="117" y="314"/>
                    <a:pt x="110" y="308"/>
                  </a:cubicBezTo>
                  <a:cubicBezTo>
                    <a:pt x="103" y="302"/>
                    <a:pt x="103" y="293"/>
                    <a:pt x="103" y="293"/>
                  </a:cubicBezTo>
                  <a:cubicBezTo>
                    <a:pt x="98" y="295"/>
                    <a:pt x="98" y="295"/>
                    <a:pt x="98" y="295"/>
                  </a:cubicBezTo>
                  <a:cubicBezTo>
                    <a:pt x="98" y="295"/>
                    <a:pt x="93" y="283"/>
                    <a:pt x="86" y="281"/>
                  </a:cubicBezTo>
                  <a:cubicBezTo>
                    <a:pt x="79" y="279"/>
                    <a:pt x="61" y="282"/>
                    <a:pt x="61" y="282"/>
                  </a:cubicBezTo>
                  <a:cubicBezTo>
                    <a:pt x="61" y="282"/>
                    <a:pt x="61" y="282"/>
                    <a:pt x="61" y="281"/>
                  </a:cubicBezTo>
                  <a:cubicBezTo>
                    <a:pt x="58" y="288"/>
                    <a:pt x="58" y="288"/>
                    <a:pt x="58" y="288"/>
                  </a:cubicBezTo>
                  <a:cubicBezTo>
                    <a:pt x="28" y="302"/>
                    <a:pt x="28" y="302"/>
                    <a:pt x="28" y="302"/>
                  </a:cubicBezTo>
                  <a:cubicBezTo>
                    <a:pt x="29" y="312"/>
                    <a:pt x="29" y="312"/>
                    <a:pt x="29" y="312"/>
                  </a:cubicBezTo>
                  <a:cubicBezTo>
                    <a:pt x="29" y="312"/>
                    <a:pt x="0" y="318"/>
                    <a:pt x="13" y="325"/>
                  </a:cubicBezTo>
                  <a:cubicBezTo>
                    <a:pt x="26" y="333"/>
                    <a:pt x="38" y="335"/>
                    <a:pt x="38" y="335"/>
                  </a:cubicBezTo>
                  <a:cubicBezTo>
                    <a:pt x="55" y="319"/>
                    <a:pt x="55" y="319"/>
                    <a:pt x="55" y="319"/>
                  </a:cubicBezTo>
                  <a:cubicBezTo>
                    <a:pt x="67" y="335"/>
                    <a:pt x="67" y="335"/>
                    <a:pt x="67" y="335"/>
                  </a:cubicBezTo>
                  <a:cubicBezTo>
                    <a:pt x="89" y="340"/>
                    <a:pt x="89" y="340"/>
                    <a:pt x="89" y="340"/>
                  </a:cubicBezTo>
                  <a:cubicBezTo>
                    <a:pt x="91" y="340"/>
                    <a:pt x="93" y="339"/>
                    <a:pt x="94" y="338"/>
                  </a:cubicBezTo>
                  <a:close/>
                  <a:moveTo>
                    <a:pt x="63" y="155"/>
                  </a:moveTo>
                  <a:cubicBezTo>
                    <a:pt x="57" y="155"/>
                    <a:pt x="54" y="155"/>
                    <a:pt x="52" y="163"/>
                  </a:cubicBezTo>
                  <a:cubicBezTo>
                    <a:pt x="66" y="163"/>
                    <a:pt x="66" y="163"/>
                    <a:pt x="66" y="163"/>
                  </a:cubicBezTo>
                  <a:cubicBezTo>
                    <a:pt x="66" y="163"/>
                    <a:pt x="69" y="155"/>
                    <a:pt x="63" y="155"/>
                  </a:cubicBezTo>
                  <a:close/>
                  <a:moveTo>
                    <a:pt x="82" y="144"/>
                  </a:moveTo>
                  <a:cubicBezTo>
                    <a:pt x="82" y="144"/>
                    <a:pt x="88" y="146"/>
                    <a:pt x="94" y="145"/>
                  </a:cubicBezTo>
                  <a:cubicBezTo>
                    <a:pt x="100" y="144"/>
                    <a:pt x="108" y="115"/>
                    <a:pt x="108" y="115"/>
                  </a:cubicBezTo>
                  <a:cubicBezTo>
                    <a:pt x="108" y="115"/>
                    <a:pt x="100" y="117"/>
                    <a:pt x="94" y="122"/>
                  </a:cubicBezTo>
                  <a:cubicBezTo>
                    <a:pt x="88" y="126"/>
                    <a:pt x="86" y="133"/>
                    <a:pt x="86" y="133"/>
                  </a:cubicBezTo>
                  <a:cubicBezTo>
                    <a:pt x="86" y="133"/>
                    <a:pt x="78" y="125"/>
                    <a:pt x="72" y="128"/>
                  </a:cubicBezTo>
                  <a:cubicBezTo>
                    <a:pt x="67" y="131"/>
                    <a:pt x="73" y="153"/>
                    <a:pt x="73" y="153"/>
                  </a:cubicBezTo>
                  <a:lnTo>
                    <a:pt x="82" y="144"/>
                  </a:lnTo>
                  <a:close/>
                  <a:moveTo>
                    <a:pt x="57" y="169"/>
                  </a:moveTo>
                  <a:cubicBezTo>
                    <a:pt x="51" y="191"/>
                    <a:pt x="51" y="191"/>
                    <a:pt x="51" y="191"/>
                  </a:cubicBezTo>
                  <a:cubicBezTo>
                    <a:pt x="62" y="177"/>
                    <a:pt x="62" y="177"/>
                    <a:pt x="62" y="177"/>
                  </a:cubicBezTo>
                  <a:lnTo>
                    <a:pt x="57" y="169"/>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87" name="Freeform 148"/>
            <p:cNvSpPr>
              <a:spLocks/>
            </p:cNvSpPr>
            <p:nvPr/>
          </p:nvSpPr>
          <p:spPr bwMode="gray">
            <a:xfrm>
              <a:off x="4041775" y="2324100"/>
              <a:ext cx="106362" cy="112713"/>
            </a:xfrm>
            <a:custGeom>
              <a:avLst/>
              <a:gdLst>
                <a:gd name="T0" fmla="*/ 186 w 189"/>
                <a:gd name="T1" fmla="*/ 104 h 202"/>
                <a:gd name="T2" fmla="*/ 177 w 189"/>
                <a:gd name="T3" fmla="*/ 87 h 202"/>
                <a:gd name="T4" fmla="*/ 175 w 189"/>
                <a:gd name="T5" fmla="*/ 73 h 202"/>
                <a:gd name="T6" fmla="*/ 189 w 189"/>
                <a:gd name="T7" fmla="*/ 66 h 202"/>
                <a:gd name="T8" fmla="*/ 167 w 189"/>
                <a:gd name="T9" fmla="*/ 61 h 202"/>
                <a:gd name="T10" fmla="*/ 155 w 189"/>
                <a:gd name="T11" fmla="*/ 45 h 202"/>
                <a:gd name="T12" fmla="*/ 138 w 189"/>
                <a:gd name="T13" fmla="*/ 61 h 202"/>
                <a:gd name="T14" fmla="*/ 113 w 189"/>
                <a:gd name="T15" fmla="*/ 51 h 202"/>
                <a:gd name="T16" fmla="*/ 129 w 189"/>
                <a:gd name="T17" fmla="*/ 38 h 202"/>
                <a:gd name="T18" fmla="*/ 128 w 189"/>
                <a:gd name="T19" fmla="*/ 28 h 202"/>
                <a:gd name="T20" fmla="*/ 158 w 189"/>
                <a:gd name="T21" fmla="*/ 14 h 202"/>
                <a:gd name="T22" fmla="*/ 161 w 189"/>
                <a:gd name="T23" fmla="*/ 7 h 202"/>
                <a:gd name="T24" fmla="*/ 153 w 189"/>
                <a:gd name="T25" fmla="*/ 2 h 202"/>
                <a:gd name="T26" fmla="*/ 138 w 189"/>
                <a:gd name="T27" fmla="*/ 14 h 202"/>
                <a:gd name="T28" fmla="*/ 134 w 189"/>
                <a:gd name="T29" fmla="*/ 4 h 202"/>
                <a:gd name="T30" fmla="*/ 107 w 189"/>
                <a:gd name="T31" fmla="*/ 9 h 202"/>
                <a:gd name="T32" fmla="*/ 99 w 189"/>
                <a:gd name="T33" fmla="*/ 30 h 202"/>
                <a:gd name="T34" fmla="*/ 84 w 189"/>
                <a:gd name="T35" fmla="*/ 35 h 202"/>
                <a:gd name="T36" fmla="*/ 102 w 189"/>
                <a:gd name="T37" fmla="*/ 44 h 202"/>
                <a:gd name="T38" fmla="*/ 92 w 189"/>
                <a:gd name="T39" fmla="*/ 50 h 202"/>
                <a:gd name="T40" fmla="*/ 87 w 189"/>
                <a:gd name="T41" fmla="*/ 57 h 202"/>
                <a:gd name="T42" fmla="*/ 69 w 189"/>
                <a:gd name="T43" fmla="*/ 56 h 202"/>
                <a:gd name="T44" fmla="*/ 69 w 189"/>
                <a:gd name="T45" fmla="*/ 61 h 202"/>
                <a:gd name="T46" fmla="*/ 48 w 189"/>
                <a:gd name="T47" fmla="*/ 51 h 202"/>
                <a:gd name="T48" fmla="*/ 30 w 189"/>
                <a:gd name="T49" fmla="*/ 54 h 202"/>
                <a:gd name="T50" fmla="*/ 33 w 189"/>
                <a:gd name="T51" fmla="*/ 71 h 202"/>
                <a:gd name="T52" fmla="*/ 42 w 189"/>
                <a:gd name="T53" fmla="*/ 79 h 202"/>
                <a:gd name="T54" fmla="*/ 31 w 189"/>
                <a:gd name="T55" fmla="*/ 86 h 202"/>
                <a:gd name="T56" fmla="*/ 25 w 189"/>
                <a:gd name="T57" fmla="*/ 98 h 202"/>
                <a:gd name="T58" fmla="*/ 48 w 189"/>
                <a:gd name="T59" fmla="*/ 107 h 202"/>
                <a:gd name="T60" fmla="*/ 66 w 189"/>
                <a:gd name="T61" fmla="*/ 107 h 202"/>
                <a:gd name="T62" fmla="*/ 50 w 189"/>
                <a:gd name="T63" fmla="*/ 116 h 202"/>
                <a:gd name="T64" fmla="*/ 50 w 189"/>
                <a:gd name="T65" fmla="*/ 130 h 202"/>
                <a:gd name="T66" fmla="*/ 35 w 189"/>
                <a:gd name="T67" fmla="*/ 134 h 202"/>
                <a:gd name="T68" fmla="*/ 30 w 189"/>
                <a:gd name="T69" fmla="*/ 156 h 202"/>
                <a:gd name="T70" fmla="*/ 4 w 189"/>
                <a:gd name="T71" fmla="*/ 161 h 202"/>
                <a:gd name="T72" fmla="*/ 15 w 189"/>
                <a:gd name="T73" fmla="*/ 167 h 202"/>
                <a:gd name="T74" fmla="*/ 0 w 189"/>
                <a:gd name="T75" fmla="*/ 176 h 202"/>
                <a:gd name="T76" fmla="*/ 7 w 189"/>
                <a:gd name="T77" fmla="*/ 183 h 202"/>
                <a:gd name="T78" fmla="*/ 30 w 189"/>
                <a:gd name="T79" fmla="*/ 180 h 202"/>
                <a:gd name="T80" fmla="*/ 19 w 189"/>
                <a:gd name="T81" fmla="*/ 192 h 202"/>
                <a:gd name="T82" fmla="*/ 35 w 189"/>
                <a:gd name="T83" fmla="*/ 190 h 202"/>
                <a:gd name="T84" fmla="*/ 29 w 189"/>
                <a:gd name="T85" fmla="*/ 202 h 202"/>
                <a:gd name="T86" fmla="*/ 74 w 189"/>
                <a:gd name="T87" fmla="*/ 191 h 202"/>
                <a:gd name="T88" fmla="*/ 83 w 189"/>
                <a:gd name="T89" fmla="*/ 178 h 202"/>
                <a:gd name="T90" fmla="*/ 102 w 189"/>
                <a:gd name="T91" fmla="*/ 178 h 202"/>
                <a:gd name="T92" fmla="*/ 124 w 189"/>
                <a:gd name="T93" fmla="*/ 166 h 202"/>
                <a:gd name="T94" fmla="*/ 140 w 189"/>
                <a:gd name="T95" fmla="*/ 165 h 202"/>
                <a:gd name="T96" fmla="*/ 143 w 189"/>
                <a:gd name="T97" fmla="*/ 159 h 202"/>
                <a:gd name="T98" fmla="*/ 168 w 189"/>
                <a:gd name="T99" fmla="*/ 160 h 202"/>
                <a:gd name="T100" fmla="*/ 167 w 189"/>
                <a:gd name="T101" fmla="*/ 148 h 202"/>
                <a:gd name="T102" fmla="*/ 179 w 189"/>
                <a:gd name="T103" fmla="*/ 146 h 202"/>
                <a:gd name="T104" fmla="*/ 178 w 189"/>
                <a:gd name="T105" fmla="*/ 133 h 202"/>
                <a:gd name="T106" fmla="*/ 186 w 189"/>
                <a:gd name="T107" fmla="*/ 104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202">
                  <a:moveTo>
                    <a:pt x="186" y="104"/>
                  </a:moveTo>
                  <a:cubicBezTo>
                    <a:pt x="186" y="94"/>
                    <a:pt x="177" y="87"/>
                    <a:pt x="177" y="87"/>
                  </a:cubicBezTo>
                  <a:cubicBezTo>
                    <a:pt x="177" y="87"/>
                    <a:pt x="177" y="78"/>
                    <a:pt x="175" y="73"/>
                  </a:cubicBezTo>
                  <a:cubicBezTo>
                    <a:pt x="175" y="69"/>
                    <a:pt x="184" y="68"/>
                    <a:pt x="189" y="66"/>
                  </a:cubicBezTo>
                  <a:cubicBezTo>
                    <a:pt x="167" y="61"/>
                    <a:pt x="167" y="61"/>
                    <a:pt x="167" y="61"/>
                  </a:cubicBezTo>
                  <a:cubicBezTo>
                    <a:pt x="155" y="45"/>
                    <a:pt x="155" y="45"/>
                    <a:pt x="155" y="45"/>
                  </a:cubicBezTo>
                  <a:cubicBezTo>
                    <a:pt x="138" y="61"/>
                    <a:pt x="138" y="61"/>
                    <a:pt x="138" y="61"/>
                  </a:cubicBezTo>
                  <a:cubicBezTo>
                    <a:pt x="138" y="61"/>
                    <a:pt x="126" y="59"/>
                    <a:pt x="113" y="51"/>
                  </a:cubicBezTo>
                  <a:cubicBezTo>
                    <a:pt x="100" y="44"/>
                    <a:pt x="129" y="38"/>
                    <a:pt x="129" y="38"/>
                  </a:cubicBezTo>
                  <a:cubicBezTo>
                    <a:pt x="128" y="28"/>
                    <a:pt x="128" y="28"/>
                    <a:pt x="128" y="28"/>
                  </a:cubicBezTo>
                  <a:cubicBezTo>
                    <a:pt x="158" y="14"/>
                    <a:pt x="158" y="14"/>
                    <a:pt x="158" y="14"/>
                  </a:cubicBezTo>
                  <a:cubicBezTo>
                    <a:pt x="161" y="7"/>
                    <a:pt x="161" y="7"/>
                    <a:pt x="161" y="7"/>
                  </a:cubicBezTo>
                  <a:cubicBezTo>
                    <a:pt x="160" y="6"/>
                    <a:pt x="158" y="4"/>
                    <a:pt x="153" y="2"/>
                  </a:cubicBezTo>
                  <a:cubicBezTo>
                    <a:pt x="146" y="0"/>
                    <a:pt x="138" y="14"/>
                    <a:pt x="138" y="14"/>
                  </a:cubicBezTo>
                  <a:cubicBezTo>
                    <a:pt x="134" y="4"/>
                    <a:pt x="134" y="4"/>
                    <a:pt x="134" y="4"/>
                  </a:cubicBezTo>
                  <a:cubicBezTo>
                    <a:pt x="134" y="4"/>
                    <a:pt x="111" y="4"/>
                    <a:pt x="107" y="9"/>
                  </a:cubicBezTo>
                  <a:cubicBezTo>
                    <a:pt x="103" y="15"/>
                    <a:pt x="99" y="30"/>
                    <a:pt x="99" y="30"/>
                  </a:cubicBezTo>
                  <a:cubicBezTo>
                    <a:pt x="99" y="30"/>
                    <a:pt x="84" y="29"/>
                    <a:pt x="84" y="35"/>
                  </a:cubicBezTo>
                  <a:cubicBezTo>
                    <a:pt x="84" y="41"/>
                    <a:pt x="106" y="37"/>
                    <a:pt x="102" y="44"/>
                  </a:cubicBezTo>
                  <a:cubicBezTo>
                    <a:pt x="98" y="51"/>
                    <a:pt x="94" y="47"/>
                    <a:pt x="92" y="50"/>
                  </a:cubicBezTo>
                  <a:cubicBezTo>
                    <a:pt x="90" y="53"/>
                    <a:pt x="87" y="57"/>
                    <a:pt x="87" y="57"/>
                  </a:cubicBezTo>
                  <a:cubicBezTo>
                    <a:pt x="69" y="56"/>
                    <a:pt x="69" y="56"/>
                    <a:pt x="69" y="56"/>
                  </a:cubicBezTo>
                  <a:cubicBezTo>
                    <a:pt x="69" y="61"/>
                    <a:pt x="69" y="61"/>
                    <a:pt x="69" y="61"/>
                  </a:cubicBezTo>
                  <a:cubicBezTo>
                    <a:pt x="69" y="61"/>
                    <a:pt x="56" y="47"/>
                    <a:pt x="48" y="51"/>
                  </a:cubicBezTo>
                  <a:cubicBezTo>
                    <a:pt x="40" y="55"/>
                    <a:pt x="30" y="54"/>
                    <a:pt x="30" y="54"/>
                  </a:cubicBezTo>
                  <a:cubicBezTo>
                    <a:pt x="30" y="54"/>
                    <a:pt x="28" y="71"/>
                    <a:pt x="33" y="71"/>
                  </a:cubicBezTo>
                  <a:cubicBezTo>
                    <a:pt x="38" y="71"/>
                    <a:pt x="42" y="79"/>
                    <a:pt x="42" y="79"/>
                  </a:cubicBezTo>
                  <a:cubicBezTo>
                    <a:pt x="31" y="86"/>
                    <a:pt x="31" y="86"/>
                    <a:pt x="31" y="86"/>
                  </a:cubicBezTo>
                  <a:cubicBezTo>
                    <a:pt x="31" y="86"/>
                    <a:pt x="20" y="90"/>
                    <a:pt x="25" y="98"/>
                  </a:cubicBezTo>
                  <a:cubicBezTo>
                    <a:pt x="30" y="106"/>
                    <a:pt x="48" y="107"/>
                    <a:pt x="48" y="107"/>
                  </a:cubicBezTo>
                  <a:cubicBezTo>
                    <a:pt x="48" y="107"/>
                    <a:pt x="67" y="99"/>
                    <a:pt x="66" y="107"/>
                  </a:cubicBezTo>
                  <a:cubicBezTo>
                    <a:pt x="65" y="115"/>
                    <a:pt x="50" y="116"/>
                    <a:pt x="50" y="116"/>
                  </a:cubicBezTo>
                  <a:cubicBezTo>
                    <a:pt x="50" y="130"/>
                    <a:pt x="50" y="130"/>
                    <a:pt x="50" y="130"/>
                  </a:cubicBezTo>
                  <a:cubicBezTo>
                    <a:pt x="50" y="130"/>
                    <a:pt x="37" y="125"/>
                    <a:pt x="35" y="134"/>
                  </a:cubicBezTo>
                  <a:cubicBezTo>
                    <a:pt x="33" y="143"/>
                    <a:pt x="30" y="156"/>
                    <a:pt x="30" y="156"/>
                  </a:cubicBezTo>
                  <a:cubicBezTo>
                    <a:pt x="30" y="156"/>
                    <a:pt x="5" y="156"/>
                    <a:pt x="4" y="161"/>
                  </a:cubicBezTo>
                  <a:cubicBezTo>
                    <a:pt x="3" y="166"/>
                    <a:pt x="15" y="167"/>
                    <a:pt x="15" y="167"/>
                  </a:cubicBezTo>
                  <a:cubicBezTo>
                    <a:pt x="15" y="167"/>
                    <a:pt x="0" y="169"/>
                    <a:pt x="0" y="176"/>
                  </a:cubicBezTo>
                  <a:cubicBezTo>
                    <a:pt x="0" y="184"/>
                    <a:pt x="7" y="183"/>
                    <a:pt x="7" y="183"/>
                  </a:cubicBezTo>
                  <a:cubicBezTo>
                    <a:pt x="30" y="180"/>
                    <a:pt x="30" y="180"/>
                    <a:pt x="30" y="180"/>
                  </a:cubicBezTo>
                  <a:cubicBezTo>
                    <a:pt x="19" y="192"/>
                    <a:pt x="19" y="192"/>
                    <a:pt x="19" y="192"/>
                  </a:cubicBezTo>
                  <a:cubicBezTo>
                    <a:pt x="19" y="192"/>
                    <a:pt x="36" y="187"/>
                    <a:pt x="35" y="190"/>
                  </a:cubicBezTo>
                  <a:cubicBezTo>
                    <a:pt x="34" y="193"/>
                    <a:pt x="14" y="202"/>
                    <a:pt x="29" y="202"/>
                  </a:cubicBezTo>
                  <a:cubicBezTo>
                    <a:pt x="44" y="202"/>
                    <a:pt x="65" y="196"/>
                    <a:pt x="74" y="191"/>
                  </a:cubicBezTo>
                  <a:cubicBezTo>
                    <a:pt x="83" y="186"/>
                    <a:pt x="83" y="178"/>
                    <a:pt x="83" y="178"/>
                  </a:cubicBezTo>
                  <a:cubicBezTo>
                    <a:pt x="83" y="178"/>
                    <a:pt x="93" y="184"/>
                    <a:pt x="102" y="178"/>
                  </a:cubicBezTo>
                  <a:cubicBezTo>
                    <a:pt x="111" y="173"/>
                    <a:pt x="112" y="167"/>
                    <a:pt x="124" y="166"/>
                  </a:cubicBezTo>
                  <a:cubicBezTo>
                    <a:pt x="135" y="165"/>
                    <a:pt x="140" y="165"/>
                    <a:pt x="140" y="165"/>
                  </a:cubicBezTo>
                  <a:cubicBezTo>
                    <a:pt x="143" y="159"/>
                    <a:pt x="143" y="159"/>
                    <a:pt x="143" y="159"/>
                  </a:cubicBezTo>
                  <a:cubicBezTo>
                    <a:pt x="168" y="160"/>
                    <a:pt x="168" y="160"/>
                    <a:pt x="168" y="160"/>
                  </a:cubicBezTo>
                  <a:cubicBezTo>
                    <a:pt x="167" y="148"/>
                    <a:pt x="167" y="148"/>
                    <a:pt x="167" y="148"/>
                  </a:cubicBezTo>
                  <a:cubicBezTo>
                    <a:pt x="167" y="148"/>
                    <a:pt x="179" y="150"/>
                    <a:pt x="179" y="146"/>
                  </a:cubicBezTo>
                  <a:cubicBezTo>
                    <a:pt x="179" y="142"/>
                    <a:pt x="174" y="138"/>
                    <a:pt x="178" y="133"/>
                  </a:cubicBezTo>
                  <a:cubicBezTo>
                    <a:pt x="181" y="128"/>
                    <a:pt x="186" y="114"/>
                    <a:pt x="186" y="104"/>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88" name="Freeform 149"/>
            <p:cNvSpPr>
              <a:spLocks noEditPoints="1"/>
            </p:cNvSpPr>
            <p:nvPr/>
          </p:nvSpPr>
          <p:spPr bwMode="gray">
            <a:xfrm>
              <a:off x="3092450" y="1628775"/>
              <a:ext cx="1479550" cy="717550"/>
            </a:xfrm>
            <a:custGeom>
              <a:avLst/>
              <a:gdLst>
                <a:gd name="T0" fmla="*/ 1565 w 2644"/>
                <a:gd name="T1" fmla="*/ 52 h 1282"/>
                <a:gd name="T2" fmla="*/ 1392 w 2644"/>
                <a:gd name="T3" fmla="*/ 47 h 1282"/>
                <a:gd name="T4" fmla="*/ 1490 w 2644"/>
                <a:gd name="T5" fmla="*/ 10 h 1282"/>
                <a:gd name="T6" fmla="*/ 1129 w 2644"/>
                <a:gd name="T7" fmla="*/ 20 h 1282"/>
                <a:gd name="T8" fmla="*/ 1006 w 2644"/>
                <a:gd name="T9" fmla="*/ 38 h 1282"/>
                <a:gd name="T10" fmla="*/ 728 w 2644"/>
                <a:gd name="T11" fmla="*/ 51 h 1282"/>
                <a:gd name="T12" fmla="*/ 452 w 2644"/>
                <a:gd name="T13" fmla="*/ 80 h 1282"/>
                <a:gd name="T14" fmla="*/ 236 w 2644"/>
                <a:gd name="T15" fmla="*/ 157 h 1282"/>
                <a:gd name="T16" fmla="*/ 83 w 2644"/>
                <a:gd name="T17" fmla="*/ 219 h 1282"/>
                <a:gd name="T18" fmla="*/ 96 w 2644"/>
                <a:gd name="T19" fmla="*/ 231 h 1282"/>
                <a:gd name="T20" fmla="*/ 106 w 2644"/>
                <a:gd name="T21" fmla="*/ 266 h 1282"/>
                <a:gd name="T22" fmla="*/ 313 w 2644"/>
                <a:gd name="T23" fmla="*/ 274 h 1282"/>
                <a:gd name="T24" fmla="*/ 399 w 2644"/>
                <a:gd name="T25" fmla="*/ 369 h 1282"/>
                <a:gd name="T26" fmla="*/ 370 w 2644"/>
                <a:gd name="T27" fmla="*/ 445 h 1282"/>
                <a:gd name="T28" fmla="*/ 438 w 2644"/>
                <a:gd name="T29" fmla="*/ 447 h 1282"/>
                <a:gd name="T30" fmla="*/ 432 w 2644"/>
                <a:gd name="T31" fmla="*/ 517 h 1282"/>
                <a:gd name="T32" fmla="*/ 456 w 2644"/>
                <a:gd name="T33" fmla="*/ 542 h 1282"/>
                <a:gd name="T34" fmla="*/ 421 w 2644"/>
                <a:gd name="T35" fmla="*/ 578 h 1282"/>
                <a:gd name="T36" fmla="*/ 408 w 2644"/>
                <a:gd name="T37" fmla="*/ 639 h 1282"/>
                <a:gd name="T38" fmla="*/ 354 w 2644"/>
                <a:gd name="T39" fmla="*/ 640 h 1282"/>
                <a:gd name="T40" fmla="*/ 276 w 2644"/>
                <a:gd name="T41" fmla="*/ 668 h 1282"/>
                <a:gd name="T42" fmla="*/ 273 w 2644"/>
                <a:gd name="T43" fmla="*/ 727 h 1282"/>
                <a:gd name="T44" fmla="*/ 270 w 2644"/>
                <a:gd name="T45" fmla="*/ 802 h 1282"/>
                <a:gd name="T46" fmla="*/ 328 w 2644"/>
                <a:gd name="T47" fmla="*/ 798 h 1282"/>
                <a:gd name="T48" fmla="*/ 286 w 2644"/>
                <a:gd name="T49" fmla="*/ 851 h 1282"/>
                <a:gd name="T50" fmla="*/ 322 w 2644"/>
                <a:gd name="T51" fmla="*/ 925 h 1282"/>
                <a:gd name="T52" fmla="*/ 398 w 2644"/>
                <a:gd name="T53" fmla="*/ 969 h 1282"/>
                <a:gd name="T54" fmla="*/ 443 w 2644"/>
                <a:gd name="T55" fmla="*/ 1000 h 1282"/>
                <a:gd name="T56" fmla="*/ 540 w 2644"/>
                <a:gd name="T57" fmla="*/ 948 h 1282"/>
                <a:gd name="T58" fmla="*/ 585 w 2644"/>
                <a:gd name="T59" fmla="*/ 903 h 1282"/>
                <a:gd name="T60" fmla="*/ 625 w 2644"/>
                <a:gd name="T61" fmla="*/ 858 h 1282"/>
                <a:gd name="T62" fmla="*/ 673 w 2644"/>
                <a:gd name="T63" fmla="*/ 802 h 1282"/>
                <a:gd name="T64" fmla="*/ 752 w 2644"/>
                <a:gd name="T65" fmla="*/ 741 h 1282"/>
                <a:gd name="T66" fmla="*/ 841 w 2644"/>
                <a:gd name="T67" fmla="*/ 727 h 1282"/>
                <a:gd name="T68" fmla="*/ 1053 w 2644"/>
                <a:gd name="T69" fmla="*/ 599 h 1282"/>
                <a:gd name="T70" fmla="*/ 1317 w 2644"/>
                <a:gd name="T71" fmla="*/ 578 h 1282"/>
                <a:gd name="T72" fmla="*/ 1303 w 2644"/>
                <a:gd name="T73" fmla="*/ 524 h 1282"/>
                <a:gd name="T74" fmla="*/ 1217 w 2644"/>
                <a:gd name="T75" fmla="*/ 512 h 1282"/>
                <a:gd name="T76" fmla="*/ 1271 w 2644"/>
                <a:gd name="T77" fmla="*/ 465 h 1282"/>
                <a:gd name="T78" fmla="*/ 1427 w 2644"/>
                <a:gd name="T79" fmla="*/ 502 h 1282"/>
                <a:gd name="T80" fmla="*/ 1425 w 2644"/>
                <a:gd name="T81" fmla="*/ 459 h 1282"/>
                <a:gd name="T82" fmla="*/ 1303 w 2644"/>
                <a:gd name="T83" fmla="*/ 412 h 1282"/>
                <a:gd name="T84" fmla="*/ 1471 w 2644"/>
                <a:gd name="T85" fmla="*/ 404 h 1282"/>
                <a:gd name="T86" fmla="*/ 1535 w 2644"/>
                <a:gd name="T87" fmla="*/ 368 h 1282"/>
                <a:gd name="T88" fmla="*/ 1546 w 2644"/>
                <a:gd name="T89" fmla="*/ 334 h 1282"/>
                <a:gd name="T90" fmla="*/ 1594 w 2644"/>
                <a:gd name="T91" fmla="*/ 289 h 1282"/>
                <a:gd name="T92" fmla="*/ 1590 w 2644"/>
                <a:gd name="T93" fmla="*/ 221 h 1282"/>
                <a:gd name="T94" fmla="*/ 1627 w 2644"/>
                <a:gd name="T95" fmla="*/ 165 h 1282"/>
                <a:gd name="T96" fmla="*/ 1659 w 2644"/>
                <a:gd name="T97" fmla="*/ 111 h 1282"/>
                <a:gd name="T98" fmla="*/ 1807 w 2644"/>
                <a:gd name="T99" fmla="*/ 79 h 1282"/>
                <a:gd name="T100" fmla="*/ 371 w 2644"/>
                <a:gd name="T101" fmla="*/ 534 h 1282"/>
                <a:gd name="T102" fmla="*/ 2531 w 2644"/>
                <a:gd name="T103" fmla="*/ 1160 h 1282"/>
                <a:gd name="T104" fmla="*/ 2458 w 2644"/>
                <a:gd name="T105" fmla="*/ 1164 h 1282"/>
                <a:gd name="T106" fmla="*/ 2471 w 2644"/>
                <a:gd name="T107" fmla="*/ 1249 h 1282"/>
                <a:gd name="T108" fmla="*/ 2517 w 2644"/>
                <a:gd name="T109" fmla="*/ 1268 h 1282"/>
                <a:gd name="T110" fmla="*/ 2531 w 2644"/>
                <a:gd name="T111" fmla="*/ 1179 h 1282"/>
                <a:gd name="T112" fmla="*/ 2577 w 2644"/>
                <a:gd name="T113" fmla="*/ 1240 h 1282"/>
                <a:gd name="T114" fmla="*/ 2624 w 2644"/>
                <a:gd name="T115" fmla="*/ 1211 h 1282"/>
                <a:gd name="T116" fmla="*/ 2629 w 2644"/>
                <a:gd name="T117" fmla="*/ 1260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44" h="1282">
                  <a:moveTo>
                    <a:pt x="1845" y="57"/>
                  </a:moveTo>
                  <a:cubicBezTo>
                    <a:pt x="1825" y="57"/>
                    <a:pt x="1757" y="51"/>
                    <a:pt x="1752" y="57"/>
                  </a:cubicBezTo>
                  <a:cubicBezTo>
                    <a:pt x="1747" y="63"/>
                    <a:pt x="1722" y="69"/>
                    <a:pt x="1711" y="69"/>
                  </a:cubicBezTo>
                  <a:cubicBezTo>
                    <a:pt x="1700" y="69"/>
                    <a:pt x="1655" y="60"/>
                    <a:pt x="1647" y="64"/>
                  </a:cubicBezTo>
                  <a:cubicBezTo>
                    <a:pt x="1639" y="68"/>
                    <a:pt x="1587" y="83"/>
                    <a:pt x="1581" y="86"/>
                  </a:cubicBezTo>
                  <a:cubicBezTo>
                    <a:pt x="1575" y="89"/>
                    <a:pt x="1523" y="101"/>
                    <a:pt x="1532" y="94"/>
                  </a:cubicBezTo>
                  <a:cubicBezTo>
                    <a:pt x="1541" y="87"/>
                    <a:pt x="1615" y="71"/>
                    <a:pt x="1610" y="61"/>
                  </a:cubicBezTo>
                  <a:cubicBezTo>
                    <a:pt x="1605" y="51"/>
                    <a:pt x="1576" y="48"/>
                    <a:pt x="1565" y="52"/>
                  </a:cubicBezTo>
                  <a:cubicBezTo>
                    <a:pt x="1554" y="56"/>
                    <a:pt x="1536" y="63"/>
                    <a:pt x="1536" y="63"/>
                  </a:cubicBezTo>
                  <a:cubicBezTo>
                    <a:pt x="1457" y="73"/>
                    <a:pt x="1457" y="73"/>
                    <a:pt x="1457" y="73"/>
                  </a:cubicBezTo>
                  <a:cubicBezTo>
                    <a:pt x="1457" y="73"/>
                    <a:pt x="1531" y="55"/>
                    <a:pt x="1513" y="54"/>
                  </a:cubicBezTo>
                  <a:cubicBezTo>
                    <a:pt x="1495" y="53"/>
                    <a:pt x="1427" y="52"/>
                    <a:pt x="1427" y="52"/>
                  </a:cubicBezTo>
                  <a:cubicBezTo>
                    <a:pt x="1403" y="57"/>
                    <a:pt x="1403" y="57"/>
                    <a:pt x="1403" y="57"/>
                  </a:cubicBezTo>
                  <a:cubicBezTo>
                    <a:pt x="1358" y="53"/>
                    <a:pt x="1358" y="53"/>
                    <a:pt x="1358" y="53"/>
                  </a:cubicBezTo>
                  <a:cubicBezTo>
                    <a:pt x="1358" y="53"/>
                    <a:pt x="1307" y="68"/>
                    <a:pt x="1309" y="61"/>
                  </a:cubicBezTo>
                  <a:cubicBezTo>
                    <a:pt x="1311" y="54"/>
                    <a:pt x="1371" y="47"/>
                    <a:pt x="1392" y="47"/>
                  </a:cubicBezTo>
                  <a:cubicBezTo>
                    <a:pt x="1413" y="47"/>
                    <a:pt x="1548" y="45"/>
                    <a:pt x="1557" y="45"/>
                  </a:cubicBezTo>
                  <a:cubicBezTo>
                    <a:pt x="1566" y="45"/>
                    <a:pt x="1645" y="43"/>
                    <a:pt x="1636" y="35"/>
                  </a:cubicBezTo>
                  <a:cubicBezTo>
                    <a:pt x="1627" y="27"/>
                    <a:pt x="1577" y="24"/>
                    <a:pt x="1558" y="27"/>
                  </a:cubicBezTo>
                  <a:cubicBezTo>
                    <a:pt x="1539" y="30"/>
                    <a:pt x="1526" y="29"/>
                    <a:pt x="1526" y="29"/>
                  </a:cubicBezTo>
                  <a:cubicBezTo>
                    <a:pt x="1526" y="29"/>
                    <a:pt x="1551" y="18"/>
                    <a:pt x="1535" y="17"/>
                  </a:cubicBezTo>
                  <a:cubicBezTo>
                    <a:pt x="1519" y="16"/>
                    <a:pt x="1492" y="19"/>
                    <a:pt x="1492" y="19"/>
                  </a:cubicBezTo>
                  <a:cubicBezTo>
                    <a:pt x="1492" y="19"/>
                    <a:pt x="1462" y="18"/>
                    <a:pt x="1455" y="16"/>
                  </a:cubicBezTo>
                  <a:cubicBezTo>
                    <a:pt x="1448" y="14"/>
                    <a:pt x="1483" y="17"/>
                    <a:pt x="1490" y="10"/>
                  </a:cubicBezTo>
                  <a:cubicBezTo>
                    <a:pt x="1497" y="3"/>
                    <a:pt x="1454" y="5"/>
                    <a:pt x="1432" y="5"/>
                  </a:cubicBezTo>
                  <a:cubicBezTo>
                    <a:pt x="1410" y="5"/>
                    <a:pt x="1355" y="8"/>
                    <a:pt x="1355" y="8"/>
                  </a:cubicBezTo>
                  <a:cubicBezTo>
                    <a:pt x="1355" y="8"/>
                    <a:pt x="1315" y="4"/>
                    <a:pt x="1292" y="2"/>
                  </a:cubicBezTo>
                  <a:cubicBezTo>
                    <a:pt x="1269" y="0"/>
                    <a:pt x="1246" y="5"/>
                    <a:pt x="1237" y="6"/>
                  </a:cubicBezTo>
                  <a:cubicBezTo>
                    <a:pt x="1228" y="7"/>
                    <a:pt x="1210" y="7"/>
                    <a:pt x="1188" y="6"/>
                  </a:cubicBezTo>
                  <a:cubicBezTo>
                    <a:pt x="1166" y="5"/>
                    <a:pt x="1144" y="5"/>
                    <a:pt x="1146" y="10"/>
                  </a:cubicBezTo>
                  <a:cubicBezTo>
                    <a:pt x="1148" y="15"/>
                    <a:pt x="1177" y="16"/>
                    <a:pt x="1177" y="16"/>
                  </a:cubicBezTo>
                  <a:cubicBezTo>
                    <a:pt x="1177" y="16"/>
                    <a:pt x="1142" y="21"/>
                    <a:pt x="1129" y="20"/>
                  </a:cubicBezTo>
                  <a:cubicBezTo>
                    <a:pt x="1116" y="19"/>
                    <a:pt x="1061" y="13"/>
                    <a:pt x="1047" y="11"/>
                  </a:cubicBezTo>
                  <a:cubicBezTo>
                    <a:pt x="1033" y="9"/>
                    <a:pt x="995" y="13"/>
                    <a:pt x="990" y="13"/>
                  </a:cubicBezTo>
                  <a:cubicBezTo>
                    <a:pt x="985" y="13"/>
                    <a:pt x="935" y="19"/>
                    <a:pt x="956" y="24"/>
                  </a:cubicBezTo>
                  <a:cubicBezTo>
                    <a:pt x="977" y="29"/>
                    <a:pt x="1046" y="31"/>
                    <a:pt x="1046" y="31"/>
                  </a:cubicBezTo>
                  <a:cubicBezTo>
                    <a:pt x="1103" y="38"/>
                    <a:pt x="1103" y="38"/>
                    <a:pt x="1103" y="38"/>
                  </a:cubicBezTo>
                  <a:cubicBezTo>
                    <a:pt x="1103" y="38"/>
                    <a:pt x="1048" y="40"/>
                    <a:pt x="1040" y="40"/>
                  </a:cubicBezTo>
                  <a:cubicBezTo>
                    <a:pt x="1032" y="40"/>
                    <a:pt x="984" y="27"/>
                    <a:pt x="985" y="31"/>
                  </a:cubicBezTo>
                  <a:cubicBezTo>
                    <a:pt x="986" y="35"/>
                    <a:pt x="1006" y="38"/>
                    <a:pt x="1006" y="38"/>
                  </a:cubicBezTo>
                  <a:cubicBezTo>
                    <a:pt x="975" y="41"/>
                    <a:pt x="975" y="41"/>
                    <a:pt x="975" y="41"/>
                  </a:cubicBezTo>
                  <a:cubicBezTo>
                    <a:pt x="975" y="41"/>
                    <a:pt x="958" y="55"/>
                    <a:pt x="962" y="59"/>
                  </a:cubicBezTo>
                  <a:cubicBezTo>
                    <a:pt x="966" y="63"/>
                    <a:pt x="938" y="64"/>
                    <a:pt x="925" y="56"/>
                  </a:cubicBezTo>
                  <a:cubicBezTo>
                    <a:pt x="912" y="48"/>
                    <a:pt x="885" y="42"/>
                    <a:pt x="859" y="40"/>
                  </a:cubicBezTo>
                  <a:cubicBezTo>
                    <a:pt x="833" y="38"/>
                    <a:pt x="804" y="38"/>
                    <a:pt x="804" y="38"/>
                  </a:cubicBezTo>
                  <a:cubicBezTo>
                    <a:pt x="806" y="58"/>
                    <a:pt x="806" y="58"/>
                    <a:pt x="806" y="58"/>
                  </a:cubicBezTo>
                  <a:cubicBezTo>
                    <a:pt x="806" y="58"/>
                    <a:pt x="786" y="61"/>
                    <a:pt x="773" y="59"/>
                  </a:cubicBezTo>
                  <a:cubicBezTo>
                    <a:pt x="760" y="57"/>
                    <a:pt x="736" y="49"/>
                    <a:pt x="728" y="51"/>
                  </a:cubicBezTo>
                  <a:cubicBezTo>
                    <a:pt x="720" y="53"/>
                    <a:pt x="702" y="62"/>
                    <a:pt x="702" y="62"/>
                  </a:cubicBezTo>
                  <a:cubicBezTo>
                    <a:pt x="702" y="62"/>
                    <a:pt x="713" y="44"/>
                    <a:pt x="700" y="44"/>
                  </a:cubicBezTo>
                  <a:cubicBezTo>
                    <a:pt x="687" y="44"/>
                    <a:pt x="616" y="45"/>
                    <a:pt x="597" y="48"/>
                  </a:cubicBezTo>
                  <a:cubicBezTo>
                    <a:pt x="578" y="51"/>
                    <a:pt x="545" y="44"/>
                    <a:pt x="550" y="49"/>
                  </a:cubicBezTo>
                  <a:cubicBezTo>
                    <a:pt x="555" y="54"/>
                    <a:pt x="590" y="71"/>
                    <a:pt x="590" y="71"/>
                  </a:cubicBezTo>
                  <a:cubicBezTo>
                    <a:pt x="590" y="71"/>
                    <a:pt x="536" y="54"/>
                    <a:pt x="527" y="54"/>
                  </a:cubicBezTo>
                  <a:cubicBezTo>
                    <a:pt x="518" y="54"/>
                    <a:pt x="491" y="49"/>
                    <a:pt x="487" y="59"/>
                  </a:cubicBezTo>
                  <a:cubicBezTo>
                    <a:pt x="483" y="69"/>
                    <a:pt x="465" y="80"/>
                    <a:pt x="452" y="80"/>
                  </a:cubicBezTo>
                  <a:cubicBezTo>
                    <a:pt x="439" y="80"/>
                    <a:pt x="402" y="80"/>
                    <a:pt x="402" y="80"/>
                  </a:cubicBezTo>
                  <a:cubicBezTo>
                    <a:pt x="402" y="80"/>
                    <a:pt x="328" y="94"/>
                    <a:pt x="324" y="95"/>
                  </a:cubicBezTo>
                  <a:cubicBezTo>
                    <a:pt x="320" y="96"/>
                    <a:pt x="248" y="106"/>
                    <a:pt x="259" y="113"/>
                  </a:cubicBezTo>
                  <a:cubicBezTo>
                    <a:pt x="270" y="120"/>
                    <a:pt x="310" y="122"/>
                    <a:pt x="315" y="121"/>
                  </a:cubicBezTo>
                  <a:cubicBezTo>
                    <a:pt x="320" y="120"/>
                    <a:pt x="335" y="118"/>
                    <a:pt x="335" y="118"/>
                  </a:cubicBezTo>
                  <a:cubicBezTo>
                    <a:pt x="311" y="128"/>
                    <a:pt x="311" y="128"/>
                    <a:pt x="311" y="128"/>
                  </a:cubicBezTo>
                  <a:cubicBezTo>
                    <a:pt x="300" y="139"/>
                    <a:pt x="300" y="139"/>
                    <a:pt x="300" y="139"/>
                  </a:cubicBezTo>
                  <a:cubicBezTo>
                    <a:pt x="300" y="139"/>
                    <a:pt x="253" y="157"/>
                    <a:pt x="236" y="157"/>
                  </a:cubicBezTo>
                  <a:cubicBezTo>
                    <a:pt x="219" y="157"/>
                    <a:pt x="151" y="157"/>
                    <a:pt x="137" y="169"/>
                  </a:cubicBezTo>
                  <a:cubicBezTo>
                    <a:pt x="123" y="181"/>
                    <a:pt x="112" y="167"/>
                    <a:pt x="112" y="167"/>
                  </a:cubicBezTo>
                  <a:cubicBezTo>
                    <a:pt x="90" y="176"/>
                    <a:pt x="90" y="176"/>
                    <a:pt x="90" y="176"/>
                  </a:cubicBezTo>
                  <a:cubicBezTo>
                    <a:pt x="57" y="175"/>
                    <a:pt x="57" y="175"/>
                    <a:pt x="57" y="175"/>
                  </a:cubicBezTo>
                  <a:cubicBezTo>
                    <a:pt x="57" y="175"/>
                    <a:pt x="0" y="181"/>
                    <a:pt x="14" y="191"/>
                  </a:cubicBezTo>
                  <a:cubicBezTo>
                    <a:pt x="28" y="201"/>
                    <a:pt x="51" y="212"/>
                    <a:pt x="51" y="212"/>
                  </a:cubicBezTo>
                  <a:cubicBezTo>
                    <a:pt x="71" y="204"/>
                    <a:pt x="71" y="204"/>
                    <a:pt x="71" y="204"/>
                  </a:cubicBezTo>
                  <a:cubicBezTo>
                    <a:pt x="71" y="204"/>
                    <a:pt x="73" y="216"/>
                    <a:pt x="83" y="219"/>
                  </a:cubicBezTo>
                  <a:cubicBezTo>
                    <a:pt x="93" y="222"/>
                    <a:pt x="116" y="209"/>
                    <a:pt x="116" y="209"/>
                  </a:cubicBezTo>
                  <a:cubicBezTo>
                    <a:pt x="116" y="209"/>
                    <a:pt x="112" y="220"/>
                    <a:pt x="122" y="220"/>
                  </a:cubicBezTo>
                  <a:cubicBezTo>
                    <a:pt x="132" y="220"/>
                    <a:pt x="169" y="204"/>
                    <a:pt x="176" y="209"/>
                  </a:cubicBezTo>
                  <a:cubicBezTo>
                    <a:pt x="183" y="214"/>
                    <a:pt x="181" y="220"/>
                    <a:pt x="181" y="220"/>
                  </a:cubicBezTo>
                  <a:cubicBezTo>
                    <a:pt x="170" y="221"/>
                    <a:pt x="170" y="221"/>
                    <a:pt x="170" y="221"/>
                  </a:cubicBezTo>
                  <a:cubicBezTo>
                    <a:pt x="170" y="221"/>
                    <a:pt x="162" y="232"/>
                    <a:pt x="155" y="232"/>
                  </a:cubicBezTo>
                  <a:cubicBezTo>
                    <a:pt x="148" y="232"/>
                    <a:pt x="152" y="226"/>
                    <a:pt x="141" y="226"/>
                  </a:cubicBezTo>
                  <a:cubicBezTo>
                    <a:pt x="130" y="226"/>
                    <a:pt x="96" y="231"/>
                    <a:pt x="96" y="231"/>
                  </a:cubicBezTo>
                  <a:cubicBezTo>
                    <a:pt x="69" y="228"/>
                    <a:pt x="69" y="228"/>
                    <a:pt x="69" y="228"/>
                  </a:cubicBezTo>
                  <a:cubicBezTo>
                    <a:pt x="69" y="228"/>
                    <a:pt x="31" y="208"/>
                    <a:pt x="20" y="227"/>
                  </a:cubicBezTo>
                  <a:cubicBezTo>
                    <a:pt x="9" y="246"/>
                    <a:pt x="36" y="252"/>
                    <a:pt x="44" y="251"/>
                  </a:cubicBezTo>
                  <a:cubicBezTo>
                    <a:pt x="52" y="250"/>
                    <a:pt x="79" y="251"/>
                    <a:pt x="79" y="251"/>
                  </a:cubicBezTo>
                  <a:cubicBezTo>
                    <a:pt x="79" y="251"/>
                    <a:pt x="36" y="254"/>
                    <a:pt x="41" y="261"/>
                  </a:cubicBezTo>
                  <a:cubicBezTo>
                    <a:pt x="46" y="268"/>
                    <a:pt x="74" y="274"/>
                    <a:pt x="74" y="274"/>
                  </a:cubicBezTo>
                  <a:cubicBezTo>
                    <a:pt x="98" y="277"/>
                    <a:pt x="98" y="277"/>
                    <a:pt x="98" y="277"/>
                  </a:cubicBezTo>
                  <a:cubicBezTo>
                    <a:pt x="98" y="277"/>
                    <a:pt x="99" y="267"/>
                    <a:pt x="106" y="266"/>
                  </a:cubicBezTo>
                  <a:cubicBezTo>
                    <a:pt x="113" y="265"/>
                    <a:pt x="121" y="276"/>
                    <a:pt x="121" y="276"/>
                  </a:cubicBezTo>
                  <a:cubicBezTo>
                    <a:pt x="144" y="267"/>
                    <a:pt x="144" y="267"/>
                    <a:pt x="144" y="267"/>
                  </a:cubicBezTo>
                  <a:cubicBezTo>
                    <a:pt x="144" y="267"/>
                    <a:pt x="148" y="277"/>
                    <a:pt x="151" y="277"/>
                  </a:cubicBezTo>
                  <a:cubicBezTo>
                    <a:pt x="154" y="277"/>
                    <a:pt x="184" y="263"/>
                    <a:pt x="193" y="265"/>
                  </a:cubicBezTo>
                  <a:cubicBezTo>
                    <a:pt x="202" y="267"/>
                    <a:pt x="209" y="271"/>
                    <a:pt x="214" y="271"/>
                  </a:cubicBezTo>
                  <a:cubicBezTo>
                    <a:pt x="219" y="271"/>
                    <a:pt x="230" y="262"/>
                    <a:pt x="236" y="262"/>
                  </a:cubicBezTo>
                  <a:cubicBezTo>
                    <a:pt x="242" y="262"/>
                    <a:pt x="259" y="273"/>
                    <a:pt x="259" y="273"/>
                  </a:cubicBezTo>
                  <a:cubicBezTo>
                    <a:pt x="259" y="273"/>
                    <a:pt x="291" y="268"/>
                    <a:pt x="313" y="274"/>
                  </a:cubicBezTo>
                  <a:cubicBezTo>
                    <a:pt x="335" y="280"/>
                    <a:pt x="339" y="291"/>
                    <a:pt x="339" y="291"/>
                  </a:cubicBezTo>
                  <a:cubicBezTo>
                    <a:pt x="339" y="291"/>
                    <a:pt x="361" y="286"/>
                    <a:pt x="361" y="291"/>
                  </a:cubicBezTo>
                  <a:cubicBezTo>
                    <a:pt x="361" y="296"/>
                    <a:pt x="351" y="306"/>
                    <a:pt x="351" y="306"/>
                  </a:cubicBezTo>
                  <a:cubicBezTo>
                    <a:pt x="357" y="315"/>
                    <a:pt x="357" y="315"/>
                    <a:pt x="357" y="315"/>
                  </a:cubicBezTo>
                  <a:cubicBezTo>
                    <a:pt x="357" y="315"/>
                    <a:pt x="390" y="321"/>
                    <a:pt x="390" y="330"/>
                  </a:cubicBezTo>
                  <a:cubicBezTo>
                    <a:pt x="390" y="339"/>
                    <a:pt x="374" y="343"/>
                    <a:pt x="374" y="343"/>
                  </a:cubicBezTo>
                  <a:cubicBezTo>
                    <a:pt x="383" y="359"/>
                    <a:pt x="383" y="359"/>
                    <a:pt x="383" y="359"/>
                  </a:cubicBezTo>
                  <a:cubicBezTo>
                    <a:pt x="399" y="369"/>
                    <a:pt x="399" y="369"/>
                    <a:pt x="399" y="369"/>
                  </a:cubicBezTo>
                  <a:cubicBezTo>
                    <a:pt x="385" y="374"/>
                    <a:pt x="385" y="374"/>
                    <a:pt x="385" y="374"/>
                  </a:cubicBezTo>
                  <a:cubicBezTo>
                    <a:pt x="395" y="387"/>
                    <a:pt x="395" y="387"/>
                    <a:pt x="395" y="387"/>
                  </a:cubicBezTo>
                  <a:cubicBezTo>
                    <a:pt x="395" y="387"/>
                    <a:pt x="383" y="386"/>
                    <a:pt x="383" y="395"/>
                  </a:cubicBezTo>
                  <a:cubicBezTo>
                    <a:pt x="383" y="404"/>
                    <a:pt x="405" y="407"/>
                    <a:pt x="402" y="412"/>
                  </a:cubicBezTo>
                  <a:cubicBezTo>
                    <a:pt x="399" y="417"/>
                    <a:pt x="380" y="426"/>
                    <a:pt x="380" y="426"/>
                  </a:cubicBezTo>
                  <a:cubicBezTo>
                    <a:pt x="388" y="433"/>
                    <a:pt x="388" y="433"/>
                    <a:pt x="388" y="433"/>
                  </a:cubicBezTo>
                  <a:cubicBezTo>
                    <a:pt x="388" y="433"/>
                    <a:pt x="347" y="438"/>
                    <a:pt x="348" y="441"/>
                  </a:cubicBezTo>
                  <a:cubicBezTo>
                    <a:pt x="349" y="444"/>
                    <a:pt x="357" y="446"/>
                    <a:pt x="370" y="445"/>
                  </a:cubicBezTo>
                  <a:cubicBezTo>
                    <a:pt x="383" y="444"/>
                    <a:pt x="367" y="455"/>
                    <a:pt x="367" y="455"/>
                  </a:cubicBezTo>
                  <a:cubicBezTo>
                    <a:pt x="367" y="455"/>
                    <a:pt x="316" y="456"/>
                    <a:pt x="328" y="465"/>
                  </a:cubicBezTo>
                  <a:cubicBezTo>
                    <a:pt x="340" y="474"/>
                    <a:pt x="353" y="479"/>
                    <a:pt x="369" y="478"/>
                  </a:cubicBezTo>
                  <a:cubicBezTo>
                    <a:pt x="385" y="477"/>
                    <a:pt x="389" y="467"/>
                    <a:pt x="389" y="467"/>
                  </a:cubicBezTo>
                  <a:cubicBezTo>
                    <a:pt x="389" y="467"/>
                    <a:pt x="416" y="469"/>
                    <a:pt x="414" y="460"/>
                  </a:cubicBezTo>
                  <a:cubicBezTo>
                    <a:pt x="412" y="451"/>
                    <a:pt x="419" y="439"/>
                    <a:pt x="419" y="439"/>
                  </a:cubicBezTo>
                  <a:cubicBezTo>
                    <a:pt x="421" y="458"/>
                    <a:pt x="421" y="458"/>
                    <a:pt x="421" y="458"/>
                  </a:cubicBezTo>
                  <a:cubicBezTo>
                    <a:pt x="438" y="447"/>
                    <a:pt x="438" y="447"/>
                    <a:pt x="438" y="447"/>
                  </a:cubicBezTo>
                  <a:cubicBezTo>
                    <a:pt x="438" y="447"/>
                    <a:pt x="430" y="453"/>
                    <a:pt x="434" y="458"/>
                  </a:cubicBezTo>
                  <a:cubicBezTo>
                    <a:pt x="438" y="463"/>
                    <a:pt x="463" y="465"/>
                    <a:pt x="463" y="465"/>
                  </a:cubicBezTo>
                  <a:cubicBezTo>
                    <a:pt x="454" y="471"/>
                    <a:pt x="454" y="471"/>
                    <a:pt x="454" y="471"/>
                  </a:cubicBezTo>
                  <a:cubicBezTo>
                    <a:pt x="454" y="471"/>
                    <a:pt x="448" y="484"/>
                    <a:pt x="457" y="487"/>
                  </a:cubicBezTo>
                  <a:cubicBezTo>
                    <a:pt x="466" y="490"/>
                    <a:pt x="479" y="504"/>
                    <a:pt x="473" y="510"/>
                  </a:cubicBezTo>
                  <a:cubicBezTo>
                    <a:pt x="467" y="516"/>
                    <a:pt x="456" y="513"/>
                    <a:pt x="456" y="513"/>
                  </a:cubicBezTo>
                  <a:cubicBezTo>
                    <a:pt x="456" y="519"/>
                    <a:pt x="456" y="519"/>
                    <a:pt x="456" y="519"/>
                  </a:cubicBezTo>
                  <a:cubicBezTo>
                    <a:pt x="456" y="519"/>
                    <a:pt x="441" y="518"/>
                    <a:pt x="432" y="517"/>
                  </a:cubicBezTo>
                  <a:cubicBezTo>
                    <a:pt x="423" y="516"/>
                    <a:pt x="415" y="506"/>
                    <a:pt x="415" y="506"/>
                  </a:cubicBezTo>
                  <a:cubicBezTo>
                    <a:pt x="375" y="505"/>
                    <a:pt x="375" y="505"/>
                    <a:pt x="375" y="505"/>
                  </a:cubicBezTo>
                  <a:cubicBezTo>
                    <a:pt x="375" y="505"/>
                    <a:pt x="351" y="483"/>
                    <a:pt x="345" y="505"/>
                  </a:cubicBezTo>
                  <a:cubicBezTo>
                    <a:pt x="343" y="514"/>
                    <a:pt x="355" y="520"/>
                    <a:pt x="362" y="521"/>
                  </a:cubicBezTo>
                  <a:cubicBezTo>
                    <a:pt x="369" y="522"/>
                    <a:pt x="374" y="518"/>
                    <a:pt x="383" y="522"/>
                  </a:cubicBezTo>
                  <a:cubicBezTo>
                    <a:pt x="392" y="526"/>
                    <a:pt x="400" y="540"/>
                    <a:pt x="415" y="540"/>
                  </a:cubicBezTo>
                  <a:cubicBezTo>
                    <a:pt x="430" y="540"/>
                    <a:pt x="441" y="534"/>
                    <a:pt x="441" y="534"/>
                  </a:cubicBezTo>
                  <a:cubicBezTo>
                    <a:pt x="456" y="542"/>
                    <a:pt x="456" y="542"/>
                    <a:pt x="456" y="542"/>
                  </a:cubicBezTo>
                  <a:cubicBezTo>
                    <a:pt x="470" y="533"/>
                    <a:pt x="470" y="533"/>
                    <a:pt x="470" y="533"/>
                  </a:cubicBezTo>
                  <a:cubicBezTo>
                    <a:pt x="467" y="547"/>
                    <a:pt x="467" y="547"/>
                    <a:pt x="467" y="547"/>
                  </a:cubicBezTo>
                  <a:cubicBezTo>
                    <a:pt x="467" y="547"/>
                    <a:pt x="452" y="540"/>
                    <a:pt x="450" y="547"/>
                  </a:cubicBezTo>
                  <a:cubicBezTo>
                    <a:pt x="448" y="554"/>
                    <a:pt x="459" y="561"/>
                    <a:pt x="459" y="561"/>
                  </a:cubicBezTo>
                  <a:cubicBezTo>
                    <a:pt x="459" y="561"/>
                    <a:pt x="432" y="561"/>
                    <a:pt x="433" y="566"/>
                  </a:cubicBezTo>
                  <a:cubicBezTo>
                    <a:pt x="434" y="571"/>
                    <a:pt x="454" y="572"/>
                    <a:pt x="454" y="572"/>
                  </a:cubicBezTo>
                  <a:cubicBezTo>
                    <a:pt x="454" y="572"/>
                    <a:pt x="451" y="581"/>
                    <a:pt x="446" y="583"/>
                  </a:cubicBezTo>
                  <a:cubicBezTo>
                    <a:pt x="441" y="585"/>
                    <a:pt x="425" y="572"/>
                    <a:pt x="421" y="578"/>
                  </a:cubicBezTo>
                  <a:cubicBezTo>
                    <a:pt x="417" y="584"/>
                    <a:pt x="427" y="592"/>
                    <a:pt x="427" y="592"/>
                  </a:cubicBezTo>
                  <a:cubicBezTo>
                    <a:pt x="411" y="591"/>
                    <a:pt x="411" y="591"/>
                    <a:pt x="411" y="591"/>
                  </a:cubicBezTo>
                  <a:cubicBezTo>
                    <a:pt x="416" y="605"/>
                    <a:pt x="416" y="605"/>
                    <a:pt x="416" y="605"/>
                  </a:cubicBezTo>
                  <a:cubicBezTo>
                    <a:pt x="416" y="605"/>
                    <a:pt x="395" y="606"/>
                    <a:pt x="398" y="616"/>
                  </a:cubicBezTo>
                  <a:cubicBezTo>
                    <a:pt x="401" y="626"/>
                    <a:pt x="420" y="628"/>
                    <a:pt x="420" y="628"/>
                  </a:cubicBezTo>
                  <a:cubicBezTo>
                    <a:pt x="420" y="628"/>
                    <a:pt x="422" y="639"/>
                    <a:pt x="415" y="639"/>
                  </a:cubicBezTo>
                  <a:cubicBezTo>
                    <a:pt x="408" y="639"/>
                    <a:pt x="413" y="647"/>
                    <a:pt x="413" y="647"/>
                  </a:cubicBezTo>
                  <a:cubicBezTo>
                    <a:pt x="413" y="647"/>
                    <a:pt x="411" y="649"/>
                    <a:pt x="408" y="639"/>
                  </a:cubicBezTo>
                  <a:cubicBezTo>
                    <a:pt x="405" y="629"/>
                    <a:pt x="394" y="624"/>
                    <a:pt x="394" y="624"/>
                  </a:cubicBezTo>
                  <a:cubicBezTo>
                    <a:pt x="394" y="624"/>
                    <a:pt x="377" y="593"/>
                    <a:pt x="367" y="595"/>
                  </a:cubicBezTo>
                  <a:cubicBezTo>
                    <a:pt x="357" y="597"/>
                    <a:pt x="331" y="609"/>
                    <a:pt x="345" y="617"/>
                  </a:cubicBezTo>
                  <a:cubicBezTo>
                    <a:pt x="359" y="625"/>
                    <a:pt x="381" y="628"/>
                    <a:pt x="381" y="628"/>
                  </a:cubicBezTo>
                  <a:cubicBezTo>
                    <a:pt x="381" y="628"/>
                    <a:pt x="364" y="630"/>
                    <a:pt x="353" y="630"/>
                  </a:cubicBezTo>
                  <a:cubicBezTo>
                    <a:pt x="342" y="630"/>
                    <a:pt x="328" y="625"/>
                    <a:pt x="320" y="630"/>
                  </a:cubicBezTo>
                  <a:cubicBezTo>
                    <a:pt x="312" y="635"/>
                    <a:pt x="289" y="640"/>
                    <a:pt x="296" y="643"/>
                  </a:cubicBezTo>
                  <a:cubicBezTo>
                    <a:pt x="303" y="646"/>
                    <a:pt x="344" y="639"/>
                    <a:pt x="354" y="640"/>
                  </a:cubicBezTo>
                  <a:cubicBezTo>
                    <a:pt x="364" y="641"/>
                    <a:pt x="388" y="643"/>
                    <a:pt x="388" y="643"/>
                  </a:cubicBezTo>
                  <a:cubicBezTo>
                    <a:pt x="388" y="643"/>
                    <a:pt x="368" y="644"/>
                    <a:pt x="362" y="644"/>
                  </a:cubicBezTo>
                  <a:cubicBezTo>
                    <a:pt x="356" y="644"/>
                    <a:pt x="290" y="649"/>
                    <a:pt x="284" y="654"/>
                  </a:cubicBezTo>
                  <a:cubicBezTo>
                    <a:pt x="278" y="659"/>
                    <a:pt x="278" y="663"/>
                    <a:pt x="294" y="662"/>
                  </a:cubicBezTo>
                  <a:cubicBezTo>
                    <a:pt x="310" y="661"/>
                    <a:pt x="348" y="657"/>
                    <a:pt x="348" y="657"/>
                  </a:cubicBezTo>
                  <a:cubicBezTo>
                    <a:pt x="348" y="657"/>
                    <a:pt x="375" y="656"/>
                    <a:pt x="376" y="659"/>
                  </a:cubicBezTo>
                  <a:cubicBezTo>
                    <a:pt x="377" y="662"/>
                    <a:pt x="330" y="664"/>
                    <a:pt x="330" y="664"/>
                  </a:cubicBezTo>
                  <a:cubicBezTo>
                    <a:pt x="330" y="664"/>
                    <a:pt x="275" y="666"/>
                    <a:pt x="276" y="668"/>
                  </a:cubicBezTo>
                  <a:cubicBezTo>
                    <a:pt x="277" y="670"/>
                    <a:pt x="286" y="675"/>
                    <a:pt x="295" y="675"/>
                  </a:cubicBezTo>
                  <a:cubicBezTo>
                    <a:pt x="304" y="675"/>
                    <a:pt x="318" y="682"/>
                    <a:pt x="318" y="682"/>
                  </a:cubicBezTo>
                  <a:cubicBezTo>
                    <a:pt x="318" y="682"/>
                    <a:pt x="294" y="676"/>
                    <a:pt x="289" y="682"/>
                  </a:cubicBezTo>
                  <a:cubicBezTo>
                    <a:pt x="284" y="688"/>
                    <a:pt x="289" y="690"/>
                    <a:pt x="289" y="690"/>
                  </a:cubicBezTo>
                  <a:cubicBezTo>
                    <a:pt x="289" y="690"/>
                    <a:pt x="258" y="699"/>
                    <a:pt x="262" y="705"/>
                  </a:cubicBezTo>
                  <a:cubicBezTo>
                    <a:pt x="287" y="706"/>
                    <a:pt x="287" y="706"/>
                    <a:pt x="287" y="706"/>
                  </a:cubicBezTo>
                  <a:cubicBezTo>
                    <a:pt x="264" y="716"/>
                    <a:pt x="264" y="716"/>
                    <a:pt x="264" y="716"/>
                  </a:cubicBezTo>
                  <a:cubicBezTo>
                    <a:pt x="264" y="716"/>
                    <a:pt x="263" y="729"/>
                    <a:pt x="273" y="727"/>
                  </a:cubicBezTo>
                  <a:cubicBezTo>
                    <a:pt x="283" y="725"/>
                    <a:pt x="306" y="725"/>
                    <a:pt x="306" y="725"/>
                  </a:cubicBezTo>
                  <a:cubicBezTo>
                    <a:pt x="306" y="725"/>
                    <a:pt x="267" y="736"/>
                    <a:pt x="274" y="744"/>
                  </a:cubicBezTo>
                  <a:cubicBezTo>
                    <a:pt x="281" y="752"/>
                    <a:pt x="304" y="740"/>
                    <a:pt x="304" y="740"/>
                  </a:cubicBezTo>
                  <a:cubicBezTo>
                    <a:pt x="304" y="740"/>
                    <a:pt x="287" y="755"/>
                    <a:pt x="285" y="762"/>
                  </a:cubicBezTo>
                  <a:cubicBezTo>
                    <a:pt x="283" y="769"/>
                    <a:pt x="280" y="775"/>
                    <a:pt x="286" y="775"/>
                  </a:cubicBezTo>
                  <a:cubicBezTo>
                    <a:pt x="292" y="775"/>
                    <a:pt x="303" y="767"/>
                    <a:pt x="303" y="767"/>
                  </a:cubicBezTo>
                  <a:cubicBezTo>
                    <a:pt x="303" y="767"/>
                    <a:pt x="298" y="783"/>
                    <a:pt x="291" y="783"/>
                  </a:cubicBezTo>
                  <a:cubicBezTo>
                    <a:pt x="284" y="783"/>
                    <a:pt x="269" y="792"/>
                    <a:pt x="270" y="802"/>
                  </a:cubicBezTo>
                  <a:cubicBezTo>
                    <a:pt x="271" y="812"/>
                    <a:pt x="294" y="793"/>
                    <a:pt x="294" y="793"/>
                  </a:cubicBezTo>
                  <a:cubicBezTo>
                    <a:pt x="294" y="793"/>
                    <a:pt x="309" y="776"/>
                    <a:pt x="313" y="780"/>
                  </a:cubicBezTo>
                  <a:cubicBezTo>
                    <a:pt x="317" y="784"/>
                    <a:pt x="341" y="774"/>
                    <a:pt x="341" y="774"/>
                  </a:cubicBezTo>
                  <a:cubicBezTo>
                    <a:pt x="338" y="784"/>
                    <a:pt x="338" y="784"/>
                    <a:pt x="338" y="784"/>
                  </a:cubicBezTo>
                  <a:cubicBezTo>
                    <a:pt x="352" y="774"/>
                    <a:pt x="352" y="774"/>
                    <a:pt x="352" y="774"/>
                  </a:cubicBezTo>
                  <a:cubicBezTo>
                    <a:pt x="338" y="791"/>
                    <a:pt x="338" y="791"/>
                    <a:pt x="338" y="791"/>
                  </a:cubicBezTo>
                  <a:cubicBezTo>
                    <a:pt x="360" y="794"/>
                    <a:pt x="360" y="794"/>
                    <a:pt x="360" y="794"/>
                  </a:cubicBezTo>
                  <a:cubicBezTo>
                    <a:pt x="360" y="794"/>
                    <a:pt x="330" y="794"/>
                    <a:pt x="328" y="798"/>
                  </a:cubicBezTo>
                  <a:cubicBezTo>
                    <a:pt x="326" y="802"/>
                    <a:pt x="335" y="804"/>
                    <a:pt x="335" y="804"/>
                  </a:cubicBezTo>
                  <a:cubicBezTo>
                    <a:pt x="335" y="804"/>
                    <a:pt x="312" y="809"/>
                    <a:pt x="306" y="810"/>
                  </a:cubicBezTo>
                  <a:cubicBezTo>
                    <a:pt x="300" y="811"/>
                    <a:pt x="307" y="816"/>
                    <a:pt x="307" y="816"/>
                  </a:cubicBezTo>
                  <a:cubicBezTo>
                    <a:pt x="307" y="816"/>
                    <a:pt x="283" y="821"/>
                    <a:pt x="281" y="826"/>
                  </a:cubicBezTo>
                  <a:cubicBezTo>
                    <a:pt x="279" y="831"/>
                    <a:pt x="305" y="829"/>
                    <a:pt x="305" y="829"/>
                  </a:cubicBezTo>
                  <a:cubicBezTo>
                    <a:pt x="305" y="829"/>
                    <a:pt x="284" y="833"/>
                    <a:pt x="284" y="836"/>
                  </a:cubicBezTo>
                  <a:cubicBezTo>
                    <a:pt x="284" y="839"/>
                    <a:pt x="304" y="844"/>
                    <a:pt x="304" y="844"/>
                  </a:cubicBezTo>
                  <a:cubicBezTo>
                    <a:pt x="304" y="844"/>
                    <a:pt x="287" y="844"/>
                    <a:pt x="286" y="851"/>
                  </a:cubicBezTo>
                  <a:cubicBezTo>
                    <a:pt x="285" y="858"/>
                    <a:pt x="310" y="855"/>
                    <a:pt x="310" y="855"/>
                  </a:cubicBezTo>
                  <a:cubicBezTo>
                    <a:pt x="298" y="870"/>
                    <a:pt x="298" y="870"/>
                    <a:pt x="298" y="870"/>
                  </a:cubicBezTo>
                  <a:cubicBezTo>
                    <a:pt x="317" y="867"/>
                    <a:pt x="317" y="867"/>
                    <a:pt x="317" y="867"/>
                  </a:cubicBezTo>
                  <a:cubicBezTo>
                    <a:pt x="317" y="867"/>
                    <a:pt x="295" y="880"/>
                    <a:pt x="298" y="891"/>
                  </a:cubicBezTo>
                  <a:cubicBezTo>
                    <a:pt x="301" y="902"/>
                    <a:pt x="324" y="900"/>
                    <a:pt x="324" y="900"/>
                  </a:cubicBezTo>
                  <a:cubicBezTo>
                    <a:pt x="313" y="915"/>
                    <a:pt x="313" y="915"/>
                    <a:pt x="313" y="915"/>
                  </a:cubicBezTo>
                  <a:cubicBezTo>
                    <a:pt x="334" y="908"/>
                    <a:pt x="334" y="908"/>
                    <a:pt x="334" y="908"/>
                  </a:cubicBezTo>
                  <a:cubicBezTo>
                    <a:pt x="334" y="908"/>
                    <a:pt x="319" y="920"/>
                    <a:pt x="322" y="925"/>
                  </a:cubicBezTo>
                  <a:cubicBezTo>
                    <a:pt x="325" y="930"/>
                    <a:pt x="344" y="931"/>
                    <a:pt x="344" y="931"/>
                  </a:cubicBezTo>
                  <a:cubicBezTo>
                    <a:pt x="344" y="931"/>
                    <a:pt x="334" y="934"/>
                    <a:pt x="337" y="940"/>
                  </a:cubicBezTo>
                  <a:cubicBezTo>
                    <a:pt x="340" y="946"/>
                    <a:pt x="351" y="943"/>
                    <a:pt x="351" y="943"/>
                  </a:cubicBezTo>
                  <a:cubicBezTo>
                    <a:pt x="351" y="943"/>
                    <a:pt x="336" y="955"/>
                    <a:pt x="339" y="959"/>
                  </a:cubicBezTo>
                  <a:cubicBezTo>
                    <a:pt x="342" y="963"/>
                    <a:pt x="358" y="961"/>
                    <a:pt x="358" y="961"/>
                  </a:cubicBezTo>
                  <a:cubicBezTo>
                    <a:pt x="356" y="969"/>
                    <a:pt x="356" y="969"/>
                    <a:pt x="356" y="969"/>
                  </a:cubicBezTo>
                  <a:cubicBezTo>
                    <a:pt x="382" y="963"/>
                    <a:pt x="382" y="963"/>
                    <a:pt x="382" y="963"/>
                  </a:cubicBezTo>
                  <a:cubicBezTo>
                    <a:pt x="382" y="963"/>
                    <a:pt x="390" y="976"/>
                    <a:pt x="398" y="969"/>
                  </a:cubicBezTo>
                  <a:cubicBezTo>
                    <a:pt x="406" y="962"/>
                    <a:pt x="431" y="946"/>
                    <a:pt x="435" y="948"/>
                  </a:cubicBezTo>
                  <a:cubicBezTo>
                    <a:pt x="439" y="950"/>
                    <a:pt x="428" y="958"/>
                    <a:pt x="428" y="958"/>
                  </a:cubicBezTo>
                  <a:cubicBezTo>
                    <a:pt x="443" y="962"/>
                    <a:pt x="443" y="962"/>
                    <a:pt x="443" y="962"/>
                  </a:cubicBezTo>
                  <a:cubicBezTo>
                    <a:pt x="457" y="955"/>
                    <a:pt x="457" y="955"/>
                    <a:pt x="457" y="955"/>
                  </a:cubicBezTo>
                  <a:cubicBezTo>
                    <a:pt x="457" y="955"/>
                    <a:pt x="436" y="968"/>
                    <a:pt x="431" y="973"/>
                  </a:cubicBezTo>
                  <a:cubicBezTo>
                    <a:pt x="426" y="978"/>
                    <a:pt x="422" y="983"/>
                    <a:pt x="430" y="983"/>
                  </a:cubicBezTo>
                  <a:cubicBezTo>
                    <a:pt x="438" y="983"/>
                    <a:pt x="465" y="978"/>
                    <a:pt x="465" y="978"/>
                  </a:cubicBezTo>
                  <a:cubicBezTo>
                    <a:pt x="465" y="978"/>
                    <a:pt x="434" y="994"/>
                    <a:pt x="443" y="1000"/>
                  </a:cubicBezTo>
                  <a:cubicBezTo>
                    <a:pt x="452" y="1006"/>
                    <a:pt x="471" y="1000"/>
                    <a:pt x="471" y="1000"/>
                  </a:cubicBezTo>
                  <a:cubicBezTo>
                    <a:pt x="471" y="1000"/>
                    <a:pt x="481" y="1019"/>
                    <a:pt x="493" y="1012"/>
                  </a:cubicBezTo>
                  <a:cubicBezTo>
                    <a:pt x="505" y="1005"/>
                    <a:pt x="511" y="998"/>
                    <a:pt x="511" y="998"/>
                  </a:cubicBezTo>
                  <a:cubicBezTo>
                    <a:pt x="511" y="998"/>
                    <a:pt x="506" y="995"/>
                    <a:pt x="502" y="989"/>
                  </a:cubicBezTo>
                  <a:cubicBezTo>
                    <a:pt x="498" y="983"/>
                    <a:pt x="515" y="990"/>
                    <a:pt x="520" y="985"/>
                  </a:cubicBezTo>
                  <a:cubicBezTo>
                    <a:pt x="525" y="980"/>
                    <a:pt x="524" y="964"/>
                    <a:pt x="524" y="964"/>
                  </a:cubicBezTo>
                  <a:cubicBezTo>
                    <a:pt x="524" y="964"/>
                    <a:pt x="546" y="974"/>
                    <a:pt x="545" y="964"/>
                  </a:cubicBezTo>
                  <a:cubicBezTo>
                    <a:pt x="544" y="954"/>
                    <a:pt x="540" y="948"/>
                    <a:pt x="540" y="948"/>
                  </a:cubicBezTo>
                  <a:cubicBezTo>
                    <a:pt x="540" y="948"/>
                    <a:pt x="546" y="957"/>
                    <a:pt x="552" y="958"/>
                  </a:cubicBezTo>
                  <a:cubicBezTo>
                    <a:pt x="557" y="958"/>
                    <a:pt x="562" y="949"/>
                    <a:pt x="559" y="944"/>
                  </a:cubicBezTo>
                  <a:cubicBezTo>
                    <a:pt x="553" y="934"/>
                    <a:pt x="547" y="931"/>
                    <a:pt x="547" y="931"/>
                  </a:cubicBezTo>
                  <a:cubicBezTo>
                    <a:pt x="547" y="931"/>
                    <a:pt x="569" y="937"/>
                    <a:pt x="569" y="933"/>
                  </a:cubicBezTo>
                  <a:cubicBezTo>
                    <a:pt x="569" y="929"/>
                    <a:pt x="564" y="923"/>
                    <a:pt x="564" y="923"/>
                  </a:cubicBezTo>
                  <a:cubicBezTo>
                    <a:pt x="582" y="922"/>
                    <a:pt x="582" y="922"/>
                    <a:pt x="582" y="922"/>
                  </a:cubicBezTo>
                  <a:cubicBezTo>
                    <a:pt x="574" y="908"/>
                    <a:pt x="574" y="908"/>
                    <a:pt x="574" y="908"/>
                  </a:cubicBezTo>
                  <a:cubicBezTo>
                    <a:pt x="585" y="903"/>
                    <a:pt x="585" y="903"/>
                    <a:pt x="585" y="903"/>
                  </a:cubicBezTo>
                  <a:cubicBezTo>
                    <a:pt x="585" y="903"/>
                    <a:pt x="572" y="894"/>
                    <a:pt x="569" y="893"/>
                  </a:cubicBezTo>
                  <a:cubicBezTo>
                    <a:pt x="566" y="892"/>
                    <a:pt x="580" y="887"/>
                    <a:pt x="580" y="887"/>
                  </a:cubicBezTo>
                  <a:cubicBezTo>
                    <a:pt x="566" y="873"/>
                    <a:pt x="566" y="873"/>
                    <a:pt x="566" y="873"/>
                  </a:cubicBezTo>
                  <a:cubicBezTo>
                    <a:pt x="566" y="873"/>
                    <a:pt x="580" y="885"/>
                    <a:pt x="584" y="882"/>
                  </a:cubicBezTo>
                  <a:cubicBezTo>
                    <a:pt x="588" y="879"/>
                    <a:pt x="596" y="873"/>
                    <a:pt x="596" y="873"/>
                  </a:cubicBezTo>
                  <a:cubicBezTo>
                    <a:pt x="596" y="873"/>
                    <a:pt x="612" y="875"/>
                    <a:pt x="615" y="872"/>
                  </a:cubicBezTo>
                  <a:cubicBezTo>
                    <a:pt x="618" y="869"/>
                    <a:pt x="611" y="859"/>
                    <a:pt x="611" y="859"/>
                  </a:cubicBezTo>
                  <a:cubicBezTo>
                    <a:pt x="625" y="858"/>
                    <a:pt x="625" y="858"/>
                    <a:pt x="625" y="858"/>
                  </a:cubicBezTo>
                  <a:cubicBezTo>
                    <a:pt x="630" y="841"/>
                    <a:pt x="630" y="841"/>
                    <a:pt x="630" y="841"/>
                  </a:cubicBezTo>
                  <a:cubicBezTo>
                    <a:pt x="630" y="841"/>
                    <a:pt x="650" y="848"/>
                    <a:pt x="656" y="843"/>
                  </a:cubicBezTo>
                  <a:cubicBezTo>
                    <a:pt x="662" y="838"/>
                    <a:pt x="657" y="829"/>
                    <a:pt x="657" y="829"/>
                  </a:cubicBezTo>
                  <a:cubicBezTo>
                    <a:pt x="657" y="829"/>
                    <a:pt x="664" y="839"/>
                    <a:pt x="671" y="839"/>
                  </a:cubicBezTo>
                  <a:cubicBezTo>
                    <a:pt x="675" y="839"/>
                    <a:pt x="678" y="830"/>
                    <a:pt x="680" y="828"/>
                  </a:cubicBezTo>
                  <a:cubicBezTo>
                    <a:pt x="685" y="821"/>
                    <a:pt x="680" y="811"/>
                    <a:pt x="680" y="811"/>
                  </a:cubicBezTo>
                  <a:cubicBezTo>
                    <a:pt x="655" y="807"/>
                    <a:pt x="655" y="807"/>
                    <a:pt x="655" y="807"/>
                  </a:cubicBezTo>
                  <a:cubicBezTo>
                    <a:pt x="673" y="802"/>
                    <a:pt x="673" y="802"/>
                    <a:pt x="673" y="802"/>
                  </a:cubicBezTo>
                  <a:cubicBezTo>
                    <a:pt x="693" y="794"/>
                    <a:pt x="693" y="794"/>
                    <a:pt x="693" y="794"/>
                  </a:cubicBezTo>
                  <a:cubicBezTo>
                    <a:pt x="694" y="780"/>
                    <a:pt x="694" y="780"/>
                    <a:pt x="694" y="780"/>
                  </a:cubicBezTo>
                  <a:cubicBezTo>
                    <a:pt x="681" y="777"/>
                    <a:pt x="681" y="777"/>
                    <a:pt x="681" y="777"/>
                  </a:cubicBezTo>
                  <a:cubicBezTo>
                    <a:pt x="686" y="765"/>
                    <a:pt x="686" y="765"/>
                    <a:pt x="686" y="765"/>
                  </a:cubicBezTo>
                  <a:cubicBezTo>
                    <a:pt x="707" y="765"/>
                    <a:pt x="707" y="765"/>
                    <a:pt x="707" y="765"/>
                  </a:cubicBezTo>
                  <a:cubicBezTo>
                    <a:pt x="707" y="765"/>
                    <a:pt x="721" y="769"/>
                    <a:pt x="728" y="763"/>
                  </a:cubicBezTo>
                  <a:cubicBezTo>
                    <a:pt x="735" y="757"/>
                    <a:pt x="730" y="745"/>
                    <a:pt x="730" y="745"/>
                  </a:cubicBezTo>
                  <a:cubicBezTo>
                    <a:pt x="752" y="741"/>
                    <a:pt x="752" y="741"/>
                    <a:pt x="752" y="741"/>
                  </a:cubicBezTo>
                  <a:cubicBezTo>
                    <a:pt x="752" y="741"/>
                    <a:pt x="783" y="747"/>
                    <a:pt x="791" y="740"/>
                  </a:cubicBezTo>
                  <a:cubicBezTo>
                    <a:pt x="799" y="733"/>
                    <a:pt x="802" y="726"/>
                    <a:pt x="802" y="726"/>
                  </a:cubicBezTo>
                  <a:cubicBezTo>
                    <a:pt x="811" y="721"/>
                    <a:pt x="811" y="721"/>
                    <a:pt x="811" y="721"/>
                  </a:cubicBezTo>
                  <a:cubicBezTo>
                    <a:pt x="811" y="721"/>
                    <a:pt x="813" y="710"/>
                    <a:pt x="824" y="708"/>
                  </a:cubicBezTo>
                  <a:cubicBezTo>
                    <a:pt x="835" y="706"/>
                    <a:pt x="804" y="740"/>
                    <a:pt x="812" y="740"/>
                  </a:cubicBezTo>
                  <a:cubicBezTo>
                    <a:pt x="820" y="740"/>
                    <a:pt x="828" y="738"/>
                    <a:pt x="828" y="738"/>
                  </a:cubicBezTo>
                  <a:cubicBezTo>
                    <a:pt x="832" y="725"/>
                    <a:pt x="832" y="725"/>
                    <a:pt x="832" y="725"/>
                  </a:cubicBezTo>
                  <a:cubicBezTo>
                    <a:pt x="841" y="727"/>
                    <a:pt x="841" y="727"/>
                    <a:pt x="841" y="727"/>
                  </a:cubicBezTo>
                  <a:cubicBezTo>
                    <a:pt x="849" y="718"/>
                    <a:pt x="849" y="718"/>
                    <a:pt x="849" y="718"/>
                  </a:cubicBezTo>
                  <a:cubicBezTo>
                    <a:pt x="849" y="718"/>
                    <a:pt x="866" y="733"/>
                    <a:pt x="878" y="725"/>
                  </a:cubicBezTo>
                  <a:cubicBezTo>
                    <a:pt x="890" y="717"/>
                    <a:pt x="907" y="704"/>
                    <a:pt x="907" y="704"/>
                  </a:cubicBezTo>
                  <a:cubicBezTo>
                    <a:pt x="907" y="704"/>
                    <a:pt x="923" y="709"/>
                    <a:pt x="950" y="698"/>
                  </a:cubicBezTo>
                  <a:cubicBezTo>
                    <a:pt x="977" y="687"/>
                    <a:pt x="974" y="670"/>
                    <a:pt x="992" y="658"/>
                  </a:cubicBezTo>
                  <a:cubicBezTo>
                    <a:pt x="1010" y="646"/>
                    <a:pt x="1052" y="634"/>
                    <a:pt x="1052" y="634"/>
                  </a:cubicBezTo>
                  <a:cubicBezTo>
                    <a:pt x="1052" y="634"/>
                    <a:pt x="1055" y="625"/>
                    <a:pt x="1054" y="619"/>
                  </a:cubicBezTo>
                  <a:cubicBezTo>
                    <a:pt x="1053" y="613"/>
                    <a:pt x="1046" y="601"/>
                    <a:pt x="1053" y="599"/>
                  </a:cubicBezTo>
                  <a:cubicBezTo>
                    <a:pt x="1060" y="597"/>
                    <a:pt x="1071" y="625"/>
                    <a:pt x="1082" y="625"/>
                  </a:cubicBezTo>
                  <a:cubicBezTo>
                    <a:pt x="1082" y="625"/>
                    <a:pt x="1124" y="624"/>
                    <a:pt x="1135" y="622"/>
                  </a:cubicBezTo>
                  <a:cubicBezTo>
                    <a:pt x="1146" y="620"/>
                    <a:pt x="1167" y="609"/>
                    <a:pt x="1190" y="606"/>
                  </a:cubicBezTo>
                  <a:cubicBezTo>
                    <a:pt x="1213" y="603"/>
                    <a:pt x="1253" y="600"/>
                    <a:pt x="1260" y="598"/>
                  </a:cubicBezTo>
                  <a:cubicBezTo>
                    <a:pt x="1267" y="596"/>
                    <a:pt x="1273" y="589"/>
                    <a:pt x="1273" y="589"/>
                  </a:cubicBezTo>
                  <a:cubicBezTo>
                    <a:pt x="1291" y="589"/>
                    <a:pt x="1291" y="589"/>
                    <a:pt x="1291" y="589"/>
                  </a:cubicBezTo>
                  <a:cubicBezTo>
                    <a:pt x="1300" y="578"/>
                    <a:pt x="1300" y="578"/>
                    <a:pt x="1300" y="578"/>
                  </a:cubicBezTo>
                  <a:cubicBezTo>
                    <a:pt x="1317" y="578"/>
                    <a:pt x="1317" y="578"/>
                    <a:pt x="1317" y="578"/>
                  </a:cubicBezTo>
                  <a:cubicBezTo>
                    <a:pt x="1317" y="578"/>
                    <a:pt x="1335" y="561"/>
                    <a:pt x="1339" y="558"/>
                  </a:cubicBezTo>
                  <a:cubicBezTo>
                    <a:pt x="1343" y="555"/>
                    <a:pt x="1369" y="553"/>
                    <a:pt x="1369" y="553"/>
                  </a:cubicBezTo>
                  <a:cubicBezTo>
                    <a:pt x="1401" y="542"/>
                    <a:pt x="1401" y="542"/>
                    <a:pt x="1401" y="542"/>
                  </a:cubicBezTo>
                  <a:cubicBezTo>
                    <a:pt x="1422" y="537"/>
                    <a:pt x="1422" y="537"/>
                    <a:pt x="1422" y="537"/>
                  </a:cubicBezTo>
                  <a:cubicBezTo>
                    <a:pt x="1427" y="529"/>
                    <a:pt x="1427" y="529"/>
                    <a:pt x="1427" y="529"/>
                  </a:cubicBezTo>
                  <a:cubicBezTo>
                    <a:pt x="1427" y="529"/>
                    <a:pt x="1407" y="531"/>
                    <a:pt x="1395" y="531"/>
                  </a:cubicBezTo>
                  <a:cubicBezTo>
                    <a:pt x="1383" y="531"/>
                    <a:pt x="1375" y="524"/>
                    <a:pt x="1360" y="522"/>
                  </a:cubicBezTo>
                  <a:cubicBezTo>
                    <a:pt x="1345" y="520"/>
                    <a:pt x="1317" y="520"/>
                    <a:pt x="1303" y="524"/>
                  </a:cubicBezTo>
                  <a:cubicBezTo>
                    <a:pt x="1289" y="528"/>
                    <a:pt x="1269" y="528"/>
                    <a:pt x="1269" y="528"/>
                  </a:cubicBezTo>
                  <a:cubicBezTo>
                    <a:pt x="1259" y="537"/>
                    <a:pt x="1259" y="537"/>
                    <a:pt x="1259" y="537"/>
                  </a:cubicBezTo>
                  <a:cubicBezTo>
                    <a:pt x="1259" y="537"/>
                    <a:pt x="1214" y="541"/>
                    <a:pt x="1221" y="535"/>
                  </a:cubicBezTo>
                  <a:cubicBezTo>
                    <a:pt x="1228" y="529"/>
                    <a:pt x="1288" y="520"/>
                    <a:pt x="1288" y="520"/>
                  </a:cubicBezTo>
                  <a:cubicBezTo>
                    <a:pt x="1288" y="520"/>
                    <a:pt x="1348" y="508"/>
                    <a:pt x="1333" y="499"/>
                  </a:cubicBezTo>
                  <a:cubicBezTo>
                    <a:pt x="1318" y="490"/>
                    <a:pt x="1310" y="490"/>
                    <a:pt x="1310" y="490"/>
                  </a:cubicBezTo>
                  <a:cubicBezTo>
                    <a:pt x="1310" y="490"/>
                    <a:pt x="1255" y="508"/>
                    <a:pt x="1249" y="511"/>
                  </a:cubicBezTo>
                  <a:cubicBezTo>
                    <a:pt x="1243" y="514"/>
                    <a:pt x="1217" y="512"/>
                    <a:pt x="1217" y="512"/>
                  </a:cubicBezTo>
                  <a:cubicBezTo>
                    <a:pt x="1241" y="500"/>
                    <a:pt x="1241" y="500"/>
                    <a:pt x="1241" y="500"/>
                  </a:cubicBezTo>
                  <a:cubicBezTo>
                    <a:pt x="1255" y="489"/>
                    <a:pt x="1255" y="489"/>
                    <a:pt x="1255" y="489"/>
                  </a:cubicBezTo>
                  <a:cubicBezTo>
                    <a:pt x="1255" y="489"/>
                    <a:pt x="1279" y="493"/>
                    <a:pt x="1286" y="491"/>
                  </a:cubicBezTo>
                  <a:cubicBezTo>
                    <a:pt x="1293" y="489"/>
                    <a:pt x="1311" y="485"/>
                    <a:pt x="1319" y="485"/>
                  </a:cubicBezTo>
                  <a:cubicBezTo>
                    <a:pt x="1327" y="485"/>
                    <a:pt x="1349" y="483"/>
                    <a:pt x="1337" y="477"/>
                  </a:cubicBezTo>
                  <a:cubicBezTo>
                    <a:pt x="1325" y="471"/>
                    <a:pt x="1287" y="470"/>
                    <a:pt x="1287" y="470"/>
                  </a:cubicBezTo>
                  <a:cubicBezTo>
                    <a:pt x="1255" y="472"/>
                    <a:pt x="1255" y="472"/>
                    <a:pt x="1255" y="472"/>
                  </a:cubicBezTo>
                  <a:cubicBezTo>
                    <a:pt x="1271" y="465"/>
                    <a:pt x="1271" y="465"/>
                    <a:pt x="1271" y="465"/>
                  </a:cubicBezTo>
                  <a:cubicBezTo>
                    <a:pt x="1255" y="455"/>
                    <a:pt x="1255" y="455"/>
                    <a:pt x="1255" y="455"/>
                  </a:cubicBezTo>
                  <a:cubicBezTo>
                    <a:pt x="1255" y="455"/>
                    <a:pt x="1253" y="446"/>
                    <a:pt x="1257" y="446"/>
                  </a:cubicBezTo>
                  <a:cubicBezTo>
                    <a:pt x="1261" y="446"/>
                    <a:pt x="1281" y="463"/>
                    <a:pt x="1294" y="464"/>
                  </a:cubicBezTo>
                  <a:cubicBezTo>
                    <a:pt x="1307" y="465"/>
                    <a:pt x="1348" y="477"/>
                    <a:pt x="1348" y="477"/>
                  </a:cubicBezTo>
                  <a:cubicBezTo>
                    <a:pt x="1348" y="477"/>
                    <a:pt x="1366" y="469"/>
                    <a:pt x="1367" y="478"/>
                  </a:cubicBezTo>
                  <a:cubicBezTo>
                    <a:pt x="1368" y="487"/>
                    <a:pt x="1356" y="501"/>
                    <a:pt x="1377" y="507"/>
                  </a:cubicBezTo>
                  <a:cubicBezTo>
                    <a:pt x="1398" y="513"/>
                    <a:pt x="1421" y="514"/>
                    <a:pt x="1421" y="514"/>
                  </a:cubicBezTo>
                  <a:cubicBezTo>
                    <a:pt x="1421" y="514"/>
                    <a:pt x="1423" y="499"/>
                    <a:pt x="1427" y="502"/>
                  </a:cubicBezTo>
                  <a:cubicBezTo>
                    <a:pt x="1431" y="505"/>
                    <a:pt x="1427" y="520"/>
                    <a:pt x="1436" y="520"/>
                  </a:cubicBezTo>
                  <a:cubicBezTo>
                    <a:pt x="1445" y="520"/>
                    <a:pt x="1457" y="510"/>
                    <a:pt x="1457" y="510"/>
                  </a:cubicBezTo>
                  <a:cubicBezTo>
                    <a:pt x="1457" y="494"/>
                    <a:pt x="1457" y="494"/>
                    <a:pt x="1457" y="494"/>
                  </a:cubicBezTo>
                  <a:cubicBezTo>
                    <a:pt x="1451" y="492"/>
                    <a:pt x="1451" y="492"/>
                    <a:pt x="1451" y="492"/>
                  </a:cubicBezTo>
                  <a:cubicBezTo>
                    <a:pt x="1451" y="492"/>
                    <a:pt x="1465" y="481"/>
                    <a:pt x="1459" y="476"/>
                  </a:cubicBezTo>
                  <a:cubicBezTo>
                    <a:pt x="1453" y="471"/>
                    <a:pt x="1442" y="477"/>
                    <a:pt x="1442" y="477"/>
                  </a:cubicBezTo>
                  <a:cubicBezTo>
                    <a:pt x="1436" y="462"/>
                    <a:pt x="1436" y="462"/>
                    <a:pt x="1436" y="462"/>
                  </a:cubicBezTo>
                  <a:cubicBezTo>
                    <a:pt x="1425" y="459"/>
                    <a:pt x="1425" y="459"/>
                    <a:pt x="1425" y="459"/>
                  </a:cubicBezTo>
                  <a:cubicBezTo>
                    <a:pt x="1428" y="449"/>
                    <a:pt x="1428" y="449"/>
                    <a:pt x="1428" y="449"/>
                  </a:cubicBezTo>
                  <a:cubicBezTo>
                    <a:pt x="1380" y="430"/>
                    <a:pt x="1380" y="430"/>
                    <a:pt x="1380" y="430"/>
                  </a:cubicBezTo>
                  <a:cubicBezTo>
                    <a:pt x="1353" y="437"/>
                    <a:pt x="1353" y="437"/>
                    <a:pt x="1353" y="437"/>
                  </a:cubicBezTo>
                  <a:cubicBezTo>
                    <a:pt x="1347" y="434"/>
                    <a:pt x="1347" y="434"/>
                    <a:pt x="1347" y="434"/>
                  </a:cubicBezTo>
                  <a:cubicBezTo>
                    <a:pt x="1369" y="427"/>
                    <a:pt x="1369" y="427"/>
                    <a:pt x="1369" y="427"/>
                  </a:cubicBezTo>
                  <a:cubicBezTo>
                    <a:pt x="1371" y="424"/>
                    <a:pt x="1371" y="424"/>
                    <a:pt x="1371" y="424"/>
                  </a:cubicBezTo>
                  <a:cubicBezTo>
                    <a:pt x="1371" y="424"/>
                    <a:pt x="1370" y="415"/>
                    <a:pt x="1353" y="415"/>
                  </a:cubicBezTo>
                  <a:cubicBezTo>
                    <a:pt x="1336" y="415"/>
                    <a:pt x="1303" y="412"/>
                    <a:pt x="1303" y="412"/>
                  </a:cubicBezTo>
                  <a:cubicBezTo>
                    <a:pt x="1314" y="398"/>
                    <a:pt x="1314" y="398"/>
                    <a:pt x="1314" y="398"/>
                  </a:cubicBezTo>
                  <a:cubicBezTo>
                    <a:pt x="1314" y="398"/>
                    <a:pt x="1327" y="396"/>
                    <a:pt x="1337" y="400"/>
                  </a:cubicBezTo>
                  <a:cubicBezTo>
                    <a:pt x="1347" y="404"/>
                    <a:pt x="1363" y="393"/>
                    <a:pt x="1363" y="393"/>
                  </a:cubicBezTo>
                  <a:cubicBezTo>
                    <a:pt x="1381" y="390"/>
                    <a:pt x="1381" y="390"/>
                    <a:pt x="1381" y="390"/>
                  </a:cubicBezTo>
                  <a:cubicBezTo>
                    <a:pt x="1413" y="400"/>
                    <a:pt x="1413" y="400"/>
                    <a:pt x="1413" y="400"/>
                  </a:cubicBezTo>
                  <a:cubicBezTo>
                    <a:pt x="1427" y="397"/>
                    <a:pt x="1427" y="397"/>
                    <a:pt x="1427" y="397"/>
                  </a:cubicBezTo>
                  <a:cubicBezTo>
                    <a:pt x="1427" y="397"/>
                    <a:pt x="1453" y="418"/>
                    <a:pt x="1464" y="418"/>
                  </a:cubicBezTo>
                  <a:cubicBezTo>
                    <a:pt x="1475" y="418"/>
                    <a:pt x="1471" y="404"/>
                    <a:pt x="1471" y="404"/>
                  </a:cubicBezTo>
                  <a:cubicBezTo>
                    <a:pt x="1445" y="400"/>
                    <a:pt x="1445" y="400"/>
                    <a:pt x="1445" y="400"/>
                  </a:cubicBezTo>
                  <a:cubicBezTo>
                    <a:pt x="1425" y="390"/>
                    <a:pt x="1425" y="390"/>
                    <a:pt x="1425" y="390"/>
                  </a:cubicBezTo>
                  <a:cubicBezTo>
                    <a:pt x="1394" y="387"/>
                    <a:pt x="1394" y="387"/>
                    <a:pt x="1394" y="387"/>
                  </a:cubicBezTo>
                  <a:cubicBezTo>
                    <a:pt x="1394" y="387"/>
                    <a:pt x="1401" y="378"/>
                    <a:pt x="1408" y="375"/>
                  </a:cubicBezTo>
                  <a:cubicBezTo>
                    <a:pt x="1415" y="372"/>
                    <a:pt x="1432" y="390"/>
                    <a:pt x="1448" y="390"/>
                  </a:cubicBezTo>
                  <a:cubicBezTo>
                    <a:pt x="1464" y="390"/>
                    <a:pt x="1492" y="391"/>
                    <a:pt x="1492" y="391"/>
                  </a:cubicBezTo>
                  <a:cubicBezTo>
                    <a:pt x="1534" y="386"/>
                    <a:pt x="1534" y="386"/>
                    <a:pt x="1534" y="386"/>
                  </a:cubicBezTo>
                  <a:cubicBezTo>
                    <a:pt x="1535" y="368"/>
                    <a:pt x="1535" y="368"/>
                    <a:pt x="1535" y="368"/>
                  </a:cubicBezTo>
                  <a:cubicBezTo>
                    <a:pt x="1506" y="361"/>
                    <a:pt x="1506" y="361"/>
                    <a:pt x="1506" y="361"/>
                  </a:cubicBezTo>
                  <a:cubicBezTo>
                    <a:pt x="1491" y="371"/>
                    <a:pt x="1491" y="371"/>
                    <a:pt x="1491" y="371"/>
                  </a:cubicBezTo>
                  <a:cubicBezTo>
                    <a:pt x="1491" y="371"/>
                    <a:pt x="1477" y="359"/>
                    <a:pt x="1481" y="355"/>
                  </a:cubicBezTo>
                  <a:cubicBezTo>
                    <a:pt x="1485" y="351"/>
                    <a:pt x="1517" y="354"/>
                    <a:pt x="1517" y="354"/>
                  </a:cubicBezTo>
                  <a:cubicBezTo>
                    <a:pt x="1546" y="346"/>
                    <a:pt x="1546" y="346"/>
                    <a:pt x="1546" y="346"/>
                  </a:cubicBezTo>
                  <a:cubicBezTo>
                    <a:pt x="1546" y="346"/>
                    <a:pt x="1563" y="356"/>
                    <a:pt x="1576" y="352"/>
                  </a:cubicBezTo>
                  <a:cubicBezTo>
                    <a:pt x="1589" y="348"/>
                    <a:pt x="1602" y="339"/>
                    <a:pt x="1597" y="337"/>
                  </a:cubicBezTo>
                  <a:cubicBezTo>
                    <a:pt x="1592" y="335"/>
                    <a:pt x="1550" y="334"/>
                    <a:pt x="1546" y="334"/>
                  </a:cubicBezTo>
                  <a:cubicBezTo>
                    <a:pt x="1542" y="334"/>
                    <a:pt x="1550" y="326"/>
                    <a:pt x="1538" y="323"/>
                  </a:cubicBezTo>
                  <a:cubicBezTo>
                    <a:pt x="1526" y="320"/>
                    <a:pt x="1498" y="321"/>
                    <a:pt x="1498" y="321"/>
                  </a:cubicBezTo>
                  <a:cubicBezTo>
                    <a:pt x="1498" y="321"/>
                    <a:pt x="1532" y="320"/>
                    <a:pt x="1535" y="314"/>
                  </a:cubicBezTo>
                  <a:cubicBezTo>
                    <a:pt x="1538" y="308"/>
                    <a:pt x="1499" y="301"/>
                    <a:pt x="1499" y="301"/>
                  </a:cubicBezTo>
                  <a:cubicBezTo>
                    <a:pt x="1499" y="301"/>
                    <a:pt x="1521" y="296"/>
                    <a:pt x="1528" y="299"/>
                  </a:cubicBezTo>
                  <a:cubicBezTo>
                    <a:pt x="1535" y="302"/>
                    <a:pt x="1559" y="310"/>
                    <a:pt x="1565" y="308"/>
                  </a:cubicBezTo>
                  <a:cubicBezTo>
                    <a:pt x="1571" y="306"/>
                    <a:pt x="1573" y="320"/>
                    <a:pt x="1583" y="316"/>
                  </a:cubicBezTo>
                  <a:cubicBezTo>
                    <a:pt x="1593" y="312"/>
                    <a:pt x="1601" y="294"/>
                    <a:pt x="1594" y="289"/>
                  </a:cubicBezTo>
                  <a:cubicBezTo>
                    <a:pt x="1587" y="284"/>
                    <a:pt x="1570" y="272"/>
                    <a:pt x="1570" y="272"/>
                  </a:cubicBezTo>
                  <a:cubicBezTo>
                    <a:pt x="1531" y="264"/>
                    <a:pt x="1531" y="264"/>
                    <a:pt x="1531" y="264"/>
                  </a:cubicBezTo>
                  <a:cubicBezTo>
                    <a:pt x="1531" y="264"/>
                    <a:pt x="1513" y="256"/>
                    <a:pt x="1520" y="250"/>
                  </a:cubicBezTo>
                  <a:cubicBezTo>
                    <a:pt x="1527" y="244"/>
                    <a:pt x="1549" y="249"/>
                    <a:pt x="1549" y="249"/>
                  </a:cubicBezTo>
                  <a:cubicBezTo>
                    <a:pt x="1580" y="242"/>
                    <a:pt x="1580" y="242"/>
                    <a:pt x="1580" y="242"/>
                  </a:cubicBezTo>
                  <a:cubicBezTo>
                    <a:pt x="1580" y="242"/>
                    <a:pt x="1591" y="244"/>
                    <a:pt x="1623" y="246"/>
                  </a:cubicBezTo>
                  <a:cubicBezTo>
                    <a:pt x="1655" y="248"/>
                    <a:pt x="1670" y="225"/>
                    <a:pt x="1647" y="223"/>
                  </a:cubicBezTo>
                  <a:cubicBezTo>
                    <a:pt x="1624" y="221"/>
                    <a:pt x="1590" y="221"/>
                    <a:pt x="1590" y="221"/>
                  </a:cubicBezTo>
                  <a:cubicBezTo>
                    <a:pt x="1589" y="211"/>
                    <a:pt x="1589" y="211"/>
                    <a:pt x="1589" y="211"/>
                  </a:cubicBezTo>
                  <a:cubicBezTo>
                    <a:pt x="1609" y="210"/>
                    <a:pt x="1609" y="210"/>
                    <a:pt x="1609" y="210"/>
                  </a:cubicBezTo>
                  <a:cubicBezTo>
                    <a:pt x="1609" y="210"/>
                    <a:pt x="1603" y="195"/>
                    <a:pt x="1587" y="197"/>
                  </a:cubicBezTo>
                  <a:cubicBezTo>
                    <a:pt x="1571" y="199"/>
                    <a:pt x="1583" y="215"/>
                    <a:pt x="1574" y="216"/>
                  </a:cubicBezTo>
                  <a:cubicBezTo>
                    <a:pt x="1565" y="217"/>
                    <a:pt x="1540" y="204"/>
                    <a:pt x="1549" y="201"/>
                  </a:cubicBezTo>
                  <a:cubicBezTo>
                    <a:pt x="1558" y="198"/>
                    <a:pt x="1582" y="193"/>
                    <a:pt x="1585" y="185"/>
                  </a:cubicBezTo>
                  <a:cubicBezTo>
                    <a:pt x="1588" y="177"/>
                    <a:pt x="1598" y="165"/>
                    <a:pt x="1601" y="164"/>
                  </a:cubicBezTo>
                  <a:cubicBezTo>
                    <a:pt x="1604" y="163"/>
                    <a:pt x="1618" y="170"/>
                    <a:pt x="1627" y="165"/>
                  </a:cubicBezTo>
                  <a:cubicBezTo>
                    <a:pt x="1636" y="160"/>
                    <a:pt x="1649" y="151"/>
                    <a:pt x="1649" y="151"/>
                  </a:cubicBezTo>
                  <a:cubicBezTo>
                    <a:pt x="1639" y="141"/>
                    <a:pt x="1639" y="141"/>
                    <a:pt x="1639" y="141"/>
                  </a:cubicBezTo>
                  <a:cubicBezTo>
                    <a:pt x="1639" y="141"/>
                    <a:pt x="1665" y="128"/>
                    <a:pt x="1671" y="128"/>
                  </a:cubicBezTo>
                  <a:cubicBezTo>
                    <a:pt x="1677" y="128"/>
                    <a:pt x="1687" y="138"/>
                    <a:pt x="1695" y="132"/>
                  </a:cubicBezTo>
                  <a:cubicBezTo>
                    <a:pt x="1703" y="126"/>
                    <a:pt x="1723" y="122"/>
                    <a:pt x="1711" y="119"/>
                  </a:cubicBezTo>
                  <a:cubicBezTo>
                    <a:pt x="1699" y="116"/>
                    <a:pt x="1670" y="119"/>
                    <a:pt x="1670" y="119"/>
                  </a:cubicBezTo>
                  <a:cubicBezTo>
                    <a:pt x="1670" y="119"/>
                    <a:pt x="1615" y="134"/>
                    <a:pt x="1626" y="123"/>
                  </a:cubicBezTo>
                  <a:cubicBezTo>
                    <a:pt x="1637" y="112"/>
                    <a:pt x="1659" y="111"/>
                    <a:pt x="1659" y="111"/>
                  </a:cubicBezTo>
                  <a:cubicBezTo>
                    <a:pt x="1659" y="111"/>
                    <a:pt x="1700" y="113"/>
                    <a:pt x="1721" y="112"/>
                  </a:cubicBezTo>
                  <a:cubicBezTo>
                    <a:pt x="1742" y="111"/>
                    <a:pt x="1758" y="104"/>
                    <a:pt x="1758" y="104"/>
                  </a:cubicBezTo>
                  <a:cubicBezTo>
                    <a:pt x="1758" y="104"/>
                    <a:pt x="1723" y="95"/>
                    <a:pt x="1717" y="98"/>
                  </a:cubicBezTo>
                  <a:cubicBezTo>
                    <a:pt x="1711" y="101"/>
                    <a:pt x="1672" y="102"/>
                    <a:pt x="1672" y="102"/>
                  </a:cubicBezTo>
                  <a:cubicBezTo>
                    <a:pt x="1672" y="102"/>
                    <a:pt x="1625" y="105"/>
                    <a:pt x="1642" y="100"/>
                  </a:cubicBezTo>
                  <a:cubicBezTo>
                    <a:pt x="1659" y="95"/>
                    <a:pt x="1710" y="94"/>
                    <a:pt x="1710" y="94"/>
                  </a:cubicBezTo>
                  <a:cubicBezTo>
                    <a:pt x="1710" y="94"/>
                    <a:pt x="1776" y="95"/>
                    <a:pt x="1787" y="92"/>
                  </a:cubicBezTo>
                  <a:cubicBezTo>
                    <a:pt x="1798" y="89"/>
                    <a:pt x="1807" y="79"/>
                    <a:pt x="1807" y="79"/>
                  </a:cubicBezTo>
                  <a:cubicBezTo>
                    <a:pt x="1807" y="79"/>
                    <a:pt x="1834" y="80"/>
                    <a:pt x="1851" y="78"/>
                  </a:cubicBezTo>
                  <a:cubicBezTo>
                    <a:pt x="1868" y="76"/>
                    <a:pt x="1891" y="67"/>
                    <a:pt x="1891" y="67"/>
                  </a:cubicBezTo>
                  <a:cubicBezTo>
                    <a:pt x="1891" y="67"/>
                    <a:pt x="1865" y="57"/>
                    <a:pt x="1845" y="57"/>
                  </a:cubicBezTo>
                  <a:close/>
                  <a:moveTo>
                    <a:pt x="345" y="566"/>
                  </a:moveTo>
                  <a:cubicBezTo>
                    <a:pt x="353" y="568"/>
                    <a:pt x="353" y="568"/>
                    <a:pt x="353" y="568"/>
                  </a:cubicBezTo>
                  <a:cubicBezTo>
                    <a:pt x="353" y="568"/>
                    <a:pt x="371" y="564"/>
                    <a:pt x="377" y="564"/>
                  </a:cubicBezTo>
                  <a:cubicBezTo>
                    <a:pt x="383" y="564"/>
                    <a:pt x="397" y="554"/>
                    <a:pt x="395" y="546"/>
                  </a:cubicBezTo>
                  <a:cubicBezTo>
                    <a:pt x="393" y="538"/>
                    <a:pt x="371" y="534"/>
                    <a:pt x="371" y="534"/>
                  </a:cubicBezTo>
                  <a:cubicBezTo>
                    <a:pt x="371" y="534"/>
                    <a:pt x="361" y="526"/>
                    <a:pt x="351" y="526"/>
                  </a:cubicBezTo>
                  <a:cubicBezTo>
                    <a:pt x="341" y="526"/>
                    <a:pt x="337" y="532"/>
                    <a:pt x="321" y="526"/>
                  </a:cubicBezTo>
                  <a:cubicBezTo>
                    <a:pt x="317" y="542"/>
                    <a:pt x="317" y="542"/>
                    <a:pt x="317" y="542"/>
                  </a:cubicBezTo>
                  <a:cubicBezTo>
                    <a:pt x="317" y="542"/>
                    <a:pt x="309" y="546"/>
                    <a:pt x="309" y="552"/>
                  </a:cubicBezTo>
                  <a:cubicBezTo>
                    <a:pt x="309" y="558"/>
                    <a:pt x="321" y="564"/>
                    <a:pt x="321" y="564"/>
                  </a:cubicBezTo>
                  <a:cubicBezTo>
                    <a:pt x="317" y="572"/>
                    <a:pt x="317" y="572"/>
                    <a:pt x="317" y="572"/>
                  </a:cubicBezTo>
                  <a:lnTo>
                    <a:pt x="345" y="566"/>
                  </a:lnTo>
                  <a:close/>
                  <a:moveTo>
                    <a:pt x="2531" y="1160"/>
                  </a:moveTo>
                  <a:cubicBezTo>
                    <a:pt x="2535" y="1157"/>
                    <a:pt x="2548" y="1143"/>
                    <a:pt x="2545" y="1138"/>
                  </a:cubicBezTo>
                  <a:cubicBezTo>
                    <a:pt x="2542" y="1133"/>
                    <a:pt x="2538" y="1126"/>
                    <a:pt x="2538" y="1126"/>
                  </a:cubicBezTo>
                  <a:cubicBezTo>
                    <a:pt x="2538" y="1126"/>
                    <a:pt x="2520" y="1124"/>
                    <a:pt x="2519" y="1127"/>
                  </a:cubicBezTo>
                  <a:cubicBezTo>
                    <a:pt x="2518" y="1130"/>
                    <a:pt x="2498" y="1155"/>
                    <a:pt x="2498" y="1160"/>
                  </a:cubicBezTo>
                  <a:cubicBezTo>
                    <a:pt x="2498" y="1165"/>
                    <a:pt x="2501" y="1177"/>
                    <a:pt x="2501" y="1177"/>
                  </a:cubicBezTo>
                  <a:cubicBezTo>
                    <a:pt x="2488" y="1166"/>
                    <a:pt x="2488" y="1166"/>
                    <a:pt x="2488" y="1166"/>
                  </a:cubicBezTo>
                  <a:cubicBezTo>
                    <a:pt x="2482" y="1145"/>
                    <a:pt x="2482" y="1145"/>
                    <a:pt x="2482" y="1145"/>
                  </a:cubicBezTo>
                  <a:cubicBezTo>
                    <a:pt x="2482" y="1145"/>
                    <a:pt x="2457" y="1161"/>
                    <a:pt x="2458" y="1164"/>
                  </a:cubicBezTo>
                  <a:cubicBezTo>
                    <a:pt x="2459" y="1167"/>
                    <a:pt x="2472" y="1165"/>
                    <a:pt x="2473" y="1168"/>
                  </a:cubicBezTo>
                  <a:cubicBezTo>
                    <a:pt x="2474" y="1171"/>
                    <a:pt x="2483" y="1185"/>
                    <a:pt x="2483" y="1185"/>
                  </a:cubicBezTo>
                  <a:cubicBezTo>
                    <a:pt x="2460" y="1181"/>
                    <a:pt x="2460" y="1181"/>
                    <a:pt x="2460" y="1181"/>
                  </a:cubicBezTo>
                  <a:cubicBezTo>
                    <a:pt x="2460" y="1181"/>
                    <a:pt x="2448" y="1196"/>
                    <a:pt x="2449" y="1204"/>
                  </a:cubicBezTo>
                  <a:cubicBezTo>
                    <a:pt x="2450" y="1212"/>
                    <a:pt x="2466" y="1214"/>
                    <a:pt x="2466" y="1214"/>
                  </a:cubicBezTo>
                  <a:cubicBezTo>
                    <a:pt x="2466" y="1214"/>
                    <a:pt x="2452" y="1230"/>
                    <a:pt x="2455" y="1232"/>
                  </a:cubicBezTo>
                  <a:cubicBezTo>
                    <a:pt x="2458" y="1234"/>
                    <a:pt x="2472" y="1234"/>
                    <a:pt x="2472" y="1234"/>
                  </a:cubicBezTo>
                  <a:cubicBezTo>
                    <a:pt x="2471" y="1249"/>
                    <a:pt x="2471" y="1249"/>
                    <a:pt x="2471" y="1249"/>
                  </a:cubicBezTo>
                  <a:cubicBezTo>
                    <a:pt x="2463" y="1259"/>
                    <a:pt x="2463" y="1259"/>
                    <a:pt x="2463" y="1259"/>
                  </a:cubicBezTo>
                  <a:cubicBezTo>
                    <a:pt x="2473" y="1264"/>
                    <a:pt x="2473" y="1264"/>
                    <a:pt x="2473" y="1264"/>
                  </a:cubicBezTo>
                  <a:cubicBezTo>
                    <a:pt x="2473" y="1264"/>
                    <a:pt x="2480" y="1264"/>
                    <a:pt x="2484" y="1264"/>
                  </a:cubicBezTo>
                  <a:cubicBezTo>
                    <a:pt x="2488" y="1264"/>
                    <a:pt x="2496" y="1269"/>
                    <a:pt x="2496" y="1269"/>
                  </a:cubicBezTo>
                  <a:cubicBezTo>
                    <a:pt x="2496" y="1269"/>
                    <a:pt x="2498" y="1267"/>
                    <a:pt x="2506" y="1267"/>
                  </a:cubicBezTo>
                  <a:cubicBezTo>
                    <a:pt x="2513" y="1266"/>
                    <a:pt x="2514" y="1270"/>
                    <a:pt x="2514" y="1270"/>
                  </a:cubicBezTo>
                  <a:cubicBezTo>
                    <a:pt x="2514" y="1270"/>
                    <a:pt x="2515" y="1269"/>
                    <a:pt x="2517" y="1268"/>
                  </a:cubicBezTo>
                  <a:cubicBezTo>
                    <a:pt x="2517" y="1268"/>
                    <a:pt x="2517" y="1268"/>
                    <a:pt x="2517" y="1268"/>
                  </a:cubicBezTo>
                  <a:cubicBezTo>
                    <a:pt x="2513" y="1258"/>
                    <a:pt x="2510" y="1252"/>
                    <a:pt x="2510" y="1252"/>
                  </a:cubicBezTo>
                  <a:cubicBezTo>
                    <a:pt x="2521" y="1239"/>
                    <a:pt x="2521" y="1239"/>
                    <a:pt x="2521" y="1239"/>
                  </a:cubicBezTo>
                  <a:cubicBezTo>
                    <a:pt x="2521" y="1239"/>
                    <a:pt x="2503" y="1224"/>
                    <a:pt x="2513" y="1222"/>
                  </a:cubicBezTo>
                  <a:cubicBezTo>
                    <a:pt x="2523" y="1220"/>
                    <a:pt x="2531" y="1213"/>
                    <a:pt x="2531" y="1213"/>
                  </a:cubicBezTo>
                  <a:cubicBezTo>
                    <a:pt x="2535" y="1194"/>
                    <a:pt x="2535" y="1194"/>
                    <a:pt x="2535" y="1194"/>
                  </a:cubicBezTo>
                  <a:cubicBezTo>
                    <a:pt x="2549" y="1194"/>
                    <a:pt x="2549" y="1194"/>
                    <a:pt x="2549" y="1194"/>
                  </a:cubicBezTo>
                  <a:cubicBezTo>
                    <a:pt x="2554" y="1179"/>
                    <a:pt x="2554" y="1179"/>
                    <a:pt x="2554" y="1179"/>
                  </a:cubicBezTo>
                  <a:cubicBezTo>
                    <a:pt x="2531" y="1179"/>
                    <a:pt x="2531" y="1179"/>
                    <a:pt x="2531" y="1179"/>
                  </a:cubicBezTo>
                  <a:cubicBezTo>
                    <a:pt x="2531" y="1179"/>
                    <a:pt x="2527" y="1163"/>
                    <a:pt x="2531" y="1160"/>
                  </a:cubicBezTo>
                  <a:close/>
                  <a:moveTo>
                    <a:pt x="2525" y="1228"/>
                  </a:moveTo>
                  <a:cubicBezTo>
                    <a:pt x="2527" y="1252"/>
                    <a:pt x="2527" y="1252"/>
                    <a:pt x="2527" y="1252"/>
                  </a:cubicBezTo>
                  <a:cubicBezTo>
                    <a:pt x="2533" y="1252"/>
                    <a:pt x="2543" y="1262"/>
                    <a:pt x="2543" y="1262"/>
                  </a:cubicBezTo>
                  <a:cubicBezTo>
                    <a:pt x="2549" y="1244"/>
                    <a:pt x="2549" y="1244"/>
                    <a:pt x="2549" y="1244"/>
                  </a:cubicBezTo>
                  <a:cubicBezTo>
                    <a:pt x="2537" y="1230"/>
                    <a:pt x="2537" y="1230"/>
                    <a:pt x="2537" y="1230"/>
                  </a:cubicBezTo>
                  <a:lnTo>
                    <a:pt x="2525" y="1228"/>
                  </a:lnTo>
                  <a:close/>
                  <a:moveTo>
                    <a:pt x="2577" y="1240"/>
                  </a:moveTo>
                  <a:cubicBezTo>
                    <a:pt x="2576" y="1251"/>
                    <a:pt x="2567" y="1253"/>
                    <a:pt x="2579" y="1254"/>
                  </a:cubicBezTo>
                  <a:cubicBezTo>
                    <a:pt x="2591" y="1255"/>
                    <a:pt x="2596" y="1253"/>
                    <a:pt x="2596" y="1253"/>
                  </a:cubicBezTo>
                  <a:cubicBezTo>
                    <a:pt x="2596" y="1253"/>
                    <a:pt x="2604" y="1272"/>
                    <a:pt x="2605" y="1265"/>
                  </a:cubicBezTo>
                  <a:cubicBezTo>
                    <a:pt x="2607" y="1259"/>
                    <a:pt x="2617" y="1245"/>
                    <a:pt x="2619" y="1244"/>
                  </a:cubicBezTo>
                  <a:cubicBezTo>
                    <a:pt x="2621" y="1244"/>
                    <a:pt x="2630" y="1244"/>
                    <a:pt x="2622" y="1239"/>
                  </a:cubicBezTo>
                  <a:cubicBezTo>
                    <a:pt x="2614" y="1234"/>
                    <a:pt x="2607" y="1227"/>
                    <a:pt x="2610" y="1227"/>
                  </a:cubicBezTo>
                  <a:cubicBezTo>
                    <a:pt x="2613" y="1226"/>
                    <a:pt x="2620" y="1227"/>
                    <a:pt x="2615" y="1224"/>
                  </a:cubicBezTo>
                  <a:cubicBezTo>
                    <a:pt x="2610" y="1220"/>
                    <a:pt x="2624" y="1211"/>
                    <a:pt x="2624" y="1211"/>
                  </a:cubicBezTo>
                  <a:cubicBezTo>
                    <a:pt x="2624" y="1211"/>
                    <a:pt x="2616" y="1199"/>
                    <a:pt x="2615" y="1200"/>
                  </a:cubicBezTo>
                  <a:cubicBezTo>
                    <a:pt x="2614" y="1200"/>
                    <a:pt x="2601" y="1205"/>
                    <a:pt x="2601" y="1210"/>
                  </a:cubicBezTo>
                  <a:cubicBezTo>
                    <a:pt x="2601" y="1215"/>
                    <a:pt x="2601" y="1219"/>
                    <a:pt x="2601" y="1219"/>
                  </a:cubicBezTo>
                  <a:cubicBezTo>
                    <a:pt x="2601" y="1219"/>
                    <a:pt x="2592" y="1207"/>
                    <a:pt x="2590" y="1208"/>
                  </a:cubicBezTo>
                  <a:cubicBezTo>
                    <a:pt x="2588" y="1209"/>
                    <a:pt x="2585" y="1213"/>
                    <a:pt x="2585" y="1213"/>
                  </a:cubicBezTo>
                  <a:cubicBezTo>
                    <a:pt x="2569" y="1224"/>
                    <a:pt x="2569" y="1224"/>
                    <a:pt x="2569" y="1224"/>
                  </a:cubicBezTo>
                  <a:cubicBezTo>
                    <a:pt x="2569" y="1224"/>
                    <a:pt x="2578" y="1229"/>
                    <a:pt x="2577" y="1240"/>
                  </a:cubicBezTo>
                  <a:close/>
                  <a:moveTo>
                    <a:pt x="2629" y="1260"/>
                  </a:moveTo>
                  <a:cubicBezTo>
                    <a:pt x="2612" y="1266"/>
                    <a:pt x="2612" y="1266"/>
                    <a:pt x="2612" y="1266"/>
                  </a:cubicBezTo>
                  <a:cubicBezTo>
                    <a:pt x="2612" y="1266"/>
                    <a:pt x="2602" y="1270"/>
                    <a:pt x="2598" y="1269"/>
                  </a:cubicBezTo>
                  <a:cubicBezTo>
                    <a:pt x="2594" y="1269"/>
                    <a:pt x="2578" y="1262"/>
                    <a:pt x="2573" y="1262"/>
                  </a:cubicBezTo>
                  <a:cubicBezTo>
                    <a:pt x="2563" y="1262"/>
                    <a:pt x="2565" y="1273"/>
                    <a:pt x="2573" y="1272"/>
                  </a:cubicBezTo>
                  <a:cubicBezTo>
                    <a:pt x="2581" y="1270"/>
                    <a:pt x="2592" y="1282"/>
                    <a:pt x="2592" y="1282"/>
                  </a:cubicBezTo>
                  <a:cubicBezTo>
                    <a:pt x="2592" y="1282"/>
                    <a:pt x="2609" y="1279"/>
                    <a:pt x="2626" y="1275"/>
                  </a:cubicBezTo>
                  <a:cubicBezTo>
                    <a:pt x="2644" y="1272"/>
                    <a:pt x="2629" y="1260"/>
                    <a:pt x="2629" y="1260"/>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89" name="Freeform 150"/>
            <p:cNvSpPr>
              <a:spLocks noEditPoints="1"/>
            </p:cNvSpPr>
            <p:nvPr/>
          </p:nvSpPr>
          <p:spPr bwMode="gray">
            <a:xfrm>
              <a:off x="4759325" y="2203450"/>
              <a:ext cx="133350" cy="60325"/>
            </a:xfrm>
            <a:custGeom>
              <a:avLst/>
              <a:gdLst>
                <a:gd name="T0" fmla="*/ 228 w 237"/>
                <a:gd name="T1" fmla="*/ 76 h 107"/>
                <a:gd name="T2" fmla="*/ 221 w 237"/>
                <a:gd name="T3" fmla="*/ 74 h 107"/>
                <a:gd name="T4" fmla="*/ 226 w 237"/>
                <a:gd name="T5" fmla="*/ 56 h 107"/>
                <a:gd name="T6" fmla="*/ 217 w 237"/>
                <a:gd name="T7" fmla="*/ 52 h 107"/>
                <a:gd name="T8" fmla="*/ 220 w 237"/>
                <a:gd name="T9" fmla="*/ 36 h 107"/>
                <a:gd name="T10" fmla="*/ 231 w 237"/>
                <a:gd name="T11" fmla="*/ 30 h 107"/>
                <a:gd name="T12" fmla="*/ 228 w 237"/>
                <a:gd name="T13" fmla="*/ 21 h 107"/>
                <a:gd name="T14" fmla="*/ 231 w 237"/>
                <a:gd name="T15" fmla="*/ 11 h 107"/>
                <a:gd name="T16" fmla="*/ 170 w 237"/>
                <a:gd name="T17" fmla="*/ 1 h 107"/>
                <a:gd name="T18" fmla="*/ 110 w 237"/>
                <a:gd name="T19" fmla="*/ 6 h 107"/>
                <a:gd name="T20" fmla="*/ 60 w 237"/>
                <a:gd name="T21" fmla="*/ 31 h 107"/>
                <a:gd name="T22" fmla="*/ 66 w 237"/>
                <a:gd name="T23" fmla="*/ 56 h 107"/>
                <a:gd name="T24" fmla="*/ 105 w 237"/>
                <a:gd name="T25" fmla="*/ 61 h 107"/>
                <a:gd name="T26" fmla="*/ 98 w 237"/>
                <a:gd name="T27" fmla="*/ 85 h 107"/>
                <a:gd name="T28" fmla="*/ 102 w 237"/>
                <a:gd name="T29" fmla="*/ 85 h 107"/>
                <a:gd name="T30" fmla="*/ 123 w 237"/>
                <a:gd name="T31" fmla="*/ 79 h 107"/>
                <a:gd name="T32" fmla="*/ 144 w 237"/>
                <a:gd name="T33" fmla="*/ 78 h 107"/>
                <a:gd name="T34" fmla="*/ 172 w 237"/>
                <a:gd name="T35" fmla="*/ 95 h 107"/>
                <a:gd name="T36" fmla="*/ 192 w 237"/>
                <a:gd name="T37" fmla="*/ 107 h 107"/>
                <a:gd name="T38" fmla="*/ 203 w 237"/>
                <a:gd name="T39" fmla="*/ 101 h 107"/>
                <a:gd name="T40" fmla="*/ 216 w 237"/>
                <a:gd name="T41" fmla="*/ 106 h 107"/>
                <a:gd name="T42" fmla="*/ 224 w 237"/>
                <a:gd name="T43" fmla="*/ 105 h 107"/>
                <a:gd name="T44" fmla="*/ 224 w 237"/>
                <a:gd name="T45" fmla="*/ 97 h 107"/>
                <a:gd name="T46" fmla="*/ 237 w 237"/>
                <a:gd name="T47" fmla="*/ 88 h 107"/>
                <a:gd name="T48" fmla="*/ 228 w 237"/>
                <a:gd name="T49" fmla="*/ 76 h 107"/>
                <a:gd name="T50" fmla="*/ 27 w 237"/>
                <a:gd name="T51" fmla="*/ 53 h 107"/>
                <a:gd name="T52" fmla="*/ 7 w 237"/>
                <a:gd name="T53" fmla="*/ 55 h 107"/>
                <a:gd name="T54" fmla="*/ 9 w 237"/>
                <a:gd name="T55" fmla="*/ 74 h 107"/>
                <a:gd name="T56" fmla="*/ 14 w 237"/>
                <a:gd name="T57" fmla="*/ 87 h 107"/>
                <a:gd name="T58" fmla="*/ 34 w 237"/>
                <a:gd name="T59" fmla="*/ 74 h 107"/>
                <a:gd name="T60" fmla="*/ 55 w 237"/>
                <a:gd name="T61" fmla="*/ 60 h 107"/>
                <a:gd name="T62" fmla="*/ 51 w 237"/>
                <a:gd name="T63" fmla="*/ 49 h 107"/>
                <a:gd name="T64" fmla="*/ 27 w 237"/>
                <a:gd name="T65" fmla="*/ 53 h 107"/>
                <a:gd name="T66" fmla="*/ 29 w 237"/>
                <a:gd name="T67" fmla="*/ 45 h 107"/>
                <a:gd name="T68" fmla="*/ 35 w 237"/>
                <a:gd name="T69" fmla="*/ 25 h 107"/>
                <a:gd name="T70" fmla="*/ 29 w 237"/>
                <a:gd name="T71" fmla="*/ 45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7" h="107">
                  <a:moveTo>
                    <a:pt x="228" y="76"/>
                  </a:moveTo>
                  <a:cubicBezTo>
                    <a:pt x="221" y="74"/>
                    <a:pt x="221" y="74"/>
                    <a:pt x="221" y="74"/>
                  </a:cubicBezTo>
                  <a:cubicBezTo>
                    <a:pt x="226" y="56"/>
                    <a:pt x="226" y="56"/>
                    <a:pt x="226" y="56"/>
                  </a:cubicBezTo>
                  <a:cubicBezTo>
                    <a:pt x="217" y="52"/>
                    <a:pt x="217" y="52"/>
                    <a:pt x="217" y="52"/>
                  </a:cubicBezTo>
                  <a:cubicBezTo>
                    <a:pt x="217" y="52"/>
                    <a:pt x="216" y="38"/>
                    <a:pt x="220" y="36"/>
                  </a:cubicBezTo>
                  <a:cubicBezTo>
                    <a:pt x="224" y="34"/>
                    <a:pt x="231" y="30"/>
                    <a:pt x="231" y="30"/>
                  </a:cubicBezTo>
                  <a:cubicBezTo>
                    <a:pt x="228" y="21"/>
                    <a:pt x="228" y="21"/>
                    <a:pt x="228" y="21"/>
                  </a:cubicBezTo>
                  <a:cubicBezTo>
                    <a:pt x="231" y="11"/>
                    <a:pt x="231" y="11"/>
                    <a:pt x="231" y="11"/>
                  </a:cubicBezTo>
                  <a:cubicBezTo>
                    <a:pt x="215" y="8"/>
                    <a:pt x="180" y="2"/>
                    <a:pt x="170" y="1"/>
                  </a:cubicBezTo>
                  <a:cubicBezTo>
                    <a:pt x="157" y="0"/>
                    <a:pt x="110" y="6"/>
                    <a:pt x="110" y="6"/>
                  </a:cubicBezTo>
                  <a:cubicBezTo>
                    <a:pt x="110" y="6"/>
                    <a:pt x="60" y="24"/>
                    <a:pt x="60" y="31"/>
                  </a:cubicBezTo>
                  <a:cubicBezTo>
                    <a:pt x="60" y="38"/>
                    <a:pt x="66" y="56"/>
                    <a:pt x="66" y="56"/>
                  </a:cubicBezTo>
                  <a:cubicBezTo>
                    <a:pt x="105" y="61"/>
                    <a:pt x="105" y="61"/>
                    <a:pt x="105" y="61"/>
                  </a:cubicBezTo>
                  <a:cubicBezTo>
                    <a:pt x="98" y="85"/>
                    <a:pt x="98" y="85"/>
                    <a:pt x="98" y="85"/>
                  </a:cubicBezTo>
                  <a:cubicBezTo>
                    <a:pt x="102" y="85"/>
                    <a:pt x="102" y="85"/>
                    <a:pt x="102" y="85"/>
                  </a:cubicBezTo>
                  <a:cubicBezTo>
                    <a:pt x="123" y="79"/>
                    <a:pt x="123" y="79"/>
                    <a:pt x="123" y="79"/>
                  </a:cubicBezTo>
                  <a:cubicBezTo>
                    <a:pt x="123" y="79"/>
                    <a:pt x="129" y="75"/>
                    <a:pt x="144" y="78"/>
                  </a:cubicBezTo>
                  <a:cubicBezTo>
                    <a:pt x="159" y="81"/>
                    <a:pt x="161" y="86"/>
                    <a:pt x="172" y="95"/>
                  </a:cubicBezTo>
                  <a:cubicBezTo>
                    <a:pt x="183" y="104"/>
                    <a:pt x="186" y="107"/>
                    <a:pt x="192" y="107"/>
                  </a:cubicBezTo>
                  <a:cubicBezTo>
                    <a:pt x="198" y="107"/>
                    <a:pt x="200" y="100"/>
                    <a:pt x="203" y="101"/>
                  </a:cubicBezTo>
                  <a:cubicBezTo>
                    <a:pt x="206" y="102"/>
                    <a:pt x="216" y="106"/>
                    <a:pt x="216" y="106"/>
                  </a:cubicBezTo>
                  <a:cubicBezTo>
                    <a:pt x="224" y="105"/>
                    <a:pt x="224" y="105"/>
                    <a:pt x="224" y="105"/>
                  </a:cubicBezTo>
                  <a:cubicBezTo>
                    <a:pt x="224" y="97"/>
                    <a:pt x="224" y="97"/>
                    <a:pt x="224" y="97"/>
                  </a:cubicBezTo>
                  <a:cubicBezTo>
                    <a:pt x="237" y="88"/>
                    <a:pt x="237" y="88"/>
                    <a:pt x="237" y="88"/>
                  </a:cubicBezTo>
                  <a:lnTo>
                    <a:pt x="228" y="76"/>
                  </a:lnTo>
                  <a:close/>
                  <a:moveTo>
                    <a:pt x="27" y="53"/>
                  </a:moveTo>
                  <a:cubicBezTo>
                    <a:pt x="27" y="53"/>
                    <a:pt x="14" y="52"/>
                    <a:pt x="7" y="55"/>
                  </a:cubicBezTo>
                  <a:cubicBezTo>
                    <a:pt x="0" y="57"/>
                    <a:pt x="9" y="74"/>
                    <a:pt x="9" y="74"/>
                  </a:cubicBezTo>
                  <a:cubicBezTo>
                    <a:pt x="14" y="87"/>
                    <a:pt x="14" y="87"/>
                    <a:pt x="14" y="87"/>
                  </a:cubicBezTo>
                  <a:cubicBezTo>
                    <a:pt x="14" y="87"/>
                    <a:pt x="30" y="74"/>
                    <a:pt x="34" y="74"/>
                  </a:cubicBezTo>
                  <a:cubicBezTo>
                    <a:pt x="38" y="74"/>
                    <a:pt x="55" y="60"/>
                    <a:pt x="55" y="60"/>
                  </a:cubicBezTo>
                  <a:cubicBezTo>
                    <a:pt x="51" y="49"/>
                    <a:pt x="51" y="49"/>
                    <a:pt x="51" y="49"/>
                  </a:cubicBezTo>
                  <a:lnTo>
                    <a:pt x="27" y="53"/>
                  </a:lnTo>
                  <a:close/>
                  <a:moveTo>
                    <a:pt x="29" y="45"/>
                  </a:moveTo>
                  <a:cubicBezTo>
                    <a:pt x="44" y="45"/>
                    <a:pt x="48" y="23"/>
                    <a:pt x="35" y="25"/>
                  </a:cubicBezTo>
                  <a:cubicBezTo>
                    <a:pt x="22" y="28"/>
                    <a:pt x="15" y="45"/>
                    <a:pt x="29" y="45"/>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90" name="Freeform 151"/>
            <p:cNvSpPr>
              <a:spLocks/>
            </p:cNvSpPr>
            <p:nvPr/>
          </p:nvSpPr>
          <p:spPr bwMode="gray">
            <a:xfrm>
              <a:off x="7158038" y="3752850"/>
              <a:ext cx="258762" cy="198438"/>
            </a:xfrm>
            <a:custGeom>
              <a:avLst/>
              <a:gdLst>
                <a:gd name="T0" fmla="*/ 9 w 461"/>
                <a:gd name="T1" fmla="*/ 338 h 355"/>
                <a:gd name="T2" fmla="*/ 43 w 461"/>
                <a:gd name="T3" fmla="*/ 352 h 355"/>
                <a:gd name="T4" fmla="*/ 61 w 461"/>
                <a:gd name="T5" fmla="*/ 342 h 355"/>
                <a:gd name="T6" fmla="*/ 98 w 461"/>
                <a:gd name="T7" fmla="*/ 345 h 355"/>
                <a:gd name="T8" fmla="*/ 121 w 461"/>
                <a:gd name="T9" fmla="*/ 318 h 355"/>
                <a:gd name="T10" fmla="*/ 150 w 461"/>
                <a:gd name="T11" fmla="*/ 318 h 355"/>
                <a:gd name="T12" fmla="*/ 182 w 461"/>
                <a:gd name="T13" fmla="*/ 335 h 355"/>
                <a:gd name="T14" fmla="*/ 203 w 461"/>
                <a:gd name="T15" fmla="*/ 322 h 355"/>
                <a:gd name="T16" fmla="*/ 219 w 461"/>
                <a:gd name="T17" fmla="*/ 322 h 355"/>
                <a:gd name="T18" fmla="*/ 236 w 461"/>
                <a:gd name="T19" fmla="*/ 299 h 355"/>
                <a:gd name="T20" fmla="*/ 235 w 461"/>
                <a:gd name="T21" fmla="*/ 287 h 355"/>
                <a:gd name="T22" fmla="*/ 257 w 461"/>
                <a:gd name="T23" fmla="*/ 268 h 355"/>
                <a:gd name="T24" fmla="*/ 252 w 461"/>
                <a:gd name="T25" fmla="*/ 243 h 355"/>
                <a:gd name="T26" fmla="*/ 265 w 461"/>
                <a:gd name="T27" fmla="*/ 235 h 355"/>
                <a:gd name="T28" fmla="*/ 275 w 461"/>
                <a:gd name="T29" fmla="*/ 204 h 355"/>
                <a:gd name="T30" fmla="*/ 284 w 461"/>
                <a:gd name="T31" fmla="*/ 165 h 355"/>
                <a:gd name="T32" fmla="*/ 344 w 461"/>
                <a:gd name="T33" fmla="*/ 166 h 355"/>
                <a:gd name="T34" fmla="*/ 375 w 461"/>
                <a:gd name="T35" fmla="*/ 190 h 355"/>
                <a:gd name="T36" fmla="*/ 374 w 461"/>
                <a:gd name="T37" fmla="*/ 189 h 355"/>
                <a:gd name="T38" fmla="*/ 387 w 461"/>
                <a:gd name="T39" fmla="*/ 186 h 355"/>
                <a:gd name="T40" fmla="*/ 378 w 461"/>
                <a:gd name="T41" fmla="*/ 144 h 355"/>
                <a:gd name="T42" fmla="*/ 402 w 461"/>
                <a:gd name="T43" fmla="*/ 162 h 355"/>
                <a:gd name="T44" fmla="*/ 427 w 461"/>
                <a:gd name="T45" fmla="*/ 160 h 355"/>
                <a:gd name="T46" fmla="*/ 408 w 461"/>
                <a:gd name="T47" fmla="*/ 126 h 355"/>
                <a:gd name="T48" fmla="*/ 444 w 461"/>
                <a:gd name="T49" fmla="*/ 131 h 355"/>
                <a:gd name="T50" fmla="*/ 461 w 461"/>
                <a:gd name="T51" fmla="*/ 111 h 355"/>
                <a:gd name="T52" fmla="*/ 444 w 461"/>
                <a:gd name="T53" fmla="*/ 105 h 355"/>
                <a:gd name="T54" fmla="*/ 433 w 461"/>
                <a:gd name="T55" fmla="*/ 88 h 355"/>
                <a:gd name="T56" fmla="*/ 393 w 461"/>
                <a:gd name="T57" fmla="*/ 77 h 355"/>
                <a:gd name="T58" fmla="*/ 380 w 461"/>
                <a:gd name="T59" fmla="*/ 46 h 355"/>
                <a:gd name="T60" fmla="*/ 354 w 461"/>
                <a:gd name="T61" fmla="*/ 42 h 355"/>
                <a:gd name="T62" fmla="*/ 343 w 461"/>
                <a:gd name="T63" fmla="*/ 1 h 355"/>
                <a:gd name="T64" fmla="*/ 339 w 461"/>
                <a:gd name="T65" fmla="*/ 14 h 355"/>
                <a:gd name="T66" fmla="*/ 329 w 461"/>
                <a:gd name="T67" fmla="*/ 0 h 355"/>
                <a:gd name="T68" fmla="*/ 323 w 461"/>
                <a:gd name="T69" fmla="*/ 41 h 355"/>
                <a:gd name="T70" fmla="*/ 301 w 461"/>
                <a:gd name="T71" fmla="*/ 50 h 355"/>
                <a:gd name="T72" fmla="*/ 293 w 461"/>
                <a:gd name="T73" fmla="*/ 77 h 355"/>
                <a:gd name="T74" fmla="*/ 276 w 461"/>
                <a:gd name="T75" fmla="*/ 83 h 355"/>
                <a:gd name="T76" fmla="*/ 283 w 461"/>
                <a:gd name="T77" fmla="*/ 107 h 355"/>
                <a:gd name="T78" fmla="*/ 243 w 461"/>
                <a:gd name="T79" fmla="*/ 101 h 355"/>
                <a:gd name="T80" fmla="*/ 227 w 461"/>
                <a:gd name="T81" fmla="*/ 136 h 355"/>
                <a:gd name="T82" fmla="*/ 200 w 461"/>
                <a:gd name="T83" fmla="*/ 166 h 355"/>
                <a:gd name="T84" fmla="*/ 176 w 461"/>
                <a:gd name="T85" fmla="*/ 213 h 355"/>
                <a:gd name="T86" fmla="*/ 110 w 461"/>
                <a:gd name="T87" fmla="*/ 235 h 355"/>
                <a:gd name="T88" fmla="*/ 69 w 461"/>
                <a:gd name="T89" fmla="*/ 262 h 355"/>
                <a:gd name="T90" fmla="*/ 60 w 461"/>
                <a:gd name="T91" fmla="*/ 285 h 355"/>
                <a:gd name="T92" fmla="*/ 65 w 461"/>
                <a:gd name="T93" fmla="*/ 317 h 355"/>
                <a:gd name="T94" fmla="*/ 23 w 461"/>
                <a:gd name="T95" fmla="*/ 305 h 355"/>
                <a:gd name="T96" fmla="*/ 0 w 461"/>
                <a:gd name="T97" fmla="*/ 322 h 355"/>
                <a:gd name="T98" fmla="*/ 0 w 461"/>
                <a:gd name="T99" fmla="*/ 322 h 355"/>
                <a:gd name="T100" fmla="*/ 9 w 461"/>
                <a:gd name="T101" fmla="*/ 338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 h="355">
                  <a:moveTo>
                    <a:pt x="9" y="338"/>
                  </a:moveTo>
                  <a:cubicBezTo>
                    <a:pt x="17" y="347"/>
                    <a:pt x="39" y="355"/>
                    <a:pt x="43" y="352"/>
                  </a:cubicBezTo>
                  <a:cubicBezTo>
                    <a:pt x="47" y="350"/>
                    <a:pt x="46" y="342"/>
                    <a:pt x="61" y="342"/>
                  </a:cubicBezTo>
                  <a:cubicBezTo>
                    <a:pt x="75" y="342"/>
                    <a:pt x="88" y="351"/>
                    <a:pt x="98" y="345"/>
                  </a:cubicBezTo>
                  <a:cubicBezTo>
                    <a:pt x="108" y="339"/>
                    <a:pt x="121" y="318"/>
                    <a:pt x="121" y="318"/>
                  </a:cubicBezTo>
                  <a:cubicBezTo>
                    <a:pt x="121" y="318"/>
                    <a:pt x="146" y="315"/>
                    <a:pt x="150" y="318"/>
                  </a:cubicBezTo>
                  <a:cubicBezTo>
                    <a:pt x="154" y="320"/>
                    <a:pt x="179" y="336"/>
                    <a:pt x="182" y="335"/>
                  </a:cubicBezTo>
                  <a:cubicBezTo>
                    <a:pt x="185" y="335"/>
                    <a:pt x="203" y="322"/>
                    <a:pt x="203" y="322"/>
                  </a:cubicBezTo>
                  <a:cubicBezTo>
                    <a:pt x="219" y="322"/>
                    <a:pt x="219" y="322"/>
                    <a:pt x="219" y="322"/>
                  </a:cubicBezTo>
                  <a:cubicBezTo>
                    <a:pt x="236" y="299"/>
                    <a:pt x="236" y="299"/>
                    <a:pt x="236" y="299"/>
                  </a:cubicBezTo>
                  <a:cubicBezTo>
                    <a:pt x="235" y="287"/>
                    <a:pt x="235" y="287"/>
                    <a:pt x="235" y="287"/>
                  </a:cubicBezTo>
                  <a:cubicBezTo>
                    <a:pt x="257" y="268"/>
                    <a:pt x="257" y="268"/>
                    <a:pt x="257" y="268"/>
                  </a:cubicBezTo>
                  <a:cubicBezTo>
                    <a:pt x="257" y="268"/>
                    <a:pt x="245" y="252"/>
                    <a:pt x="252" y="243"/>
                  </a:cubicBezTo>
                  <a:cubicBezTo>
                    <a:pt x="258" y="234"/>
                    <a:pt x="265" y="235"/>
                    <a:pt x="265" y="235"/>
                  </a:cubicBezTo>
                  <a:cubicBezTo>
                    <a:pt x="265" y="235"/>
                    <a:pt x="274" y="220"/>
                    <a:pt x="275" y="204"/>
                  </a:cubicBezTo>
                  <a:cubicBezTo>
                    <a:pt x="277" y="188"/>
                    <a:pt x="270" y="166"/>
                    <a:pt x="284" y="165"/>
                  </a:cubicBezTo>
                  <a:cubicBezTo>
                    <a:pt x="299" y="164"/>
                    <a:pt x="340" y="165"/>
                    <a:pt x="344" y="166"/>
                  </a:cubicBezTo>
                  <a:cubicBezTo>
                    <a:pt x="348" y="166"/>
                    <a:pt x="367" y="183"/>
                    <a:pt x="375" y="190"/>
                  </a:cubicBezTo>
                  <a:cubicBezTo>
                    <a:pt x="374" y="189"/>
                    <a:pt x="374" y="189"/>
                    <a:pt x="374" y="189"/>
                  </a:cubicBezTo>
                  <a:cubicBezTo>
                    <a:pt x="387" y="186"/>
                    <a:pt x="387" y="186"/>
                    <a:pt x="387" y="186"/>
                  </a:cubicBezTo>
                  <a:cubicBezTo>
                    <a:pt x="378" y="144"/>
                    <a:pt x="378" y="144"/>
                    <a:pt x="378" y="144"/>
                  </a:cubicBezTo>
                  <a:cubicBezTo>
                    <a:pt x="378" y="144"/>
                    <a:pt x="393" y="160"/>
                    <a:pt x="402" y="162"/>
                  </a:cubicBezTo>
                  <a:cubicBezTo>
                    <a:pt x="412" y="163"/>
                    <a:pt x="427" y="160"/>
                    <a:pt x="427" y="160"/>
                  </a:cubicBezTo>
                  <a:cubicBezTo>
                    <a:pt x="427" y="160"/>
                    <a:pt x="402" y="136"/>
                    <a:pt x="408" y="126"/>
                  </a:cubicBezTo>
                  <a:cubicBezTo>
                    <a:pt x="413" y="115"/>
                    <a:pt x="444" y="131"/>
                    <a:pt x="444" y="131"/>
                  </a:cubicBezTo>
                  <a:cubicBezTo>
                    <a:pt x="461" y="111"/>
                    <a:pt x="461" y="111"/>
                    <a:pt x="461" y="111"/>
                  </a:cubicBezTo>
                  <a:cubicBezTo>
                    <a:pt x="444" y="105"/>
                    <a:pt x="444" y="105"/>
                    <a:pt x="444" y="105"/>
                  </a:cubicBezTo>
                  <a:cubicBezTo>
                    <a:pt x="444" y="105"/>
                    <a:pt x="441" y="93"/>
                    <a:pt x="433" y="88"/>
                  </a:cubicBezTo>
                  <a:cubicBezTo>
                    <a:pt x="425" y="82"/>
                    <a:pt x="393" y="77"/>
                    <a:pt x="393" y="77"/>
                  </a:cubicBezTo>
                  <a:cubicBezTo>
                    <a:pt x="393" y="77"/>
                    <a:pt x="392" y="58"/>
                    <a:pt x="380" y="46"/>
                  </a:cubicBezTo>
                  <a:cubicBezTo>
                    <a:pt x="367" y="33"/>
                    <a:pt x="354" y="42"/>
                    <a:pt x="354" y="42"/>
                  </a:cubicBezTo>
                  <a:cubicBezTo>
                    <a:pt x="343" y="1"/>
                    <a:pt x="343" y="1"/>
                    <a:pt x="343" y="1"/>
                  </a:cubicBezTo>
                  <a:cubicBezTo>
                    <a:pt x="339" y="14"/>
                    <a:pt x="339" y="14"/>
                    <a:pt x="339" y="14"/>
                  </a:cubicBezTo>
                  <a:cubicBezTo>
                    <a:pt x="329" y="0"/>
                    <a:pt x="329" y="0"/>
                    <a:pt x="329" y="0"/>
                  </a:cubicBezTo>
                  <a:cubicBezTo>
                    <a:pt x="323" y="41"/>
                    <a:pt x="323" y="41"/>
                    <a:pt x="323" y="41"/>
                  </a:cubicBezTo>
                  <a:cubicBezTo>
                    <a:pt x="323" y="41"/>
                    <a:pt x="308" y="45"/>
                    <a:pt x="301" y="50"/>
                  </a:cubicBezTo>
                  <a:cubicBezTo>
                    <a:pt x="294" y="55"/>
                    <a:pt x="293" y="77"/>
                    <a:pt x="293" y="77"/>
                  </a:cubicBezTo>
                  <a:cubicBezTo>
                    <a:pt x="276" y="83"/>
                    <a:pt x="276" y="83"/>
                    <a:pt x="276" y="83"/>
                  </a:cubicBezTo>
                  <a:cubicBezTo>
                    <a:pt x="283" y="107"/>
                    <a:pt x="283" y="107"/>
                    <a:pt x="283" y="107"/>
                  </a:cubicBezTo>
                  <a:cubicBezTo>
                    <a:pt x="283" y="107"/>
                    <a:pt x="259" y="104"/>
                    <a:pt x="243" y="101"/>
                  </a:cubicBezTo>
                  <a:cubicBezTo>
                    <a:pt x="228" y="97"/>
                    <a:pt x="227" y="136"/>
                    <a:pt x="227" y="136"/>
                  </a:cubicBezTo>
                  <a:cubicBezTo>
                    <a:pt x="200" y="166"/>
                    <a:pt x="200" y="166"/>
                    <a:pt x="200" y="166"/>
                  </a:cubicBezTo>
                  <a:cubicBezTo>
                    <a:pt x="200" y="166"/>
                    <a:pt x="192" y="201"/>
                    <a:pt x="176" y="213"/>
                  </a:cubicBezTo>
                  <a:cubicBezTo>
                    <a:pt x="160" y="224"/>
                    <a:pt x="119" y="232"/>
                    <a:pt x="110" y="235"/>
                  </a:cubicBezTo>
                  <a:cubicBezTo>
                    <a:pt x="101" y="237"/>
                    <a:pt x="69" y="262"/>
                    <a:pt x="69" y="262"/>
                  </a:cubicBezTo>
                  <a:cubicBezTo>
                    <a:pt x="60" y="285"/>
                    <a:pt x="60" y="285"/>
                    <a:pt x="60" y="285"/>
                  </a:cubicBezTo>
                  <a:cubicBezTo>
                    <a:pt x="60" y="285"/>
                    <a:pt x="84" y="303"/>
                    <a:pt x="65" y="317"/>
                  </a:cubicBezTo>
                  <a:cubicBezTo>
                    <a:pt x="47" y="331"/>
                    <a:pt x="34" y="308"/>
                    <a:pt x="23" y="305"/>
                  </a:cubicBezTo>
                  <a:cubicBezTo>
                    <a:pt x="13" y="303"/>
                    <a:pt x="0" y="322"/>
                    <a:pt x="0" y="322"/>
                  </a:cubicBezTo>
                  <a:cubicBezTo>
                    <a:pt x="0" y="322"/>
                    <a:pt x="0" y="322"/>
                    <a:pt x="0" y="322"/>
                  </a:cubicBezTo>
                  <a:cubicBezTo>
                    <a:pt x="3" y="328"/>
                    <a:pt x="5" y="334"/>
                    <a:pt x="9" y="338"/>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91" name="Freeform 152"/>
            <p:cNvSpPr>
              <a:spLocks noEditPoints="1"/>
            </p:cNvSpPr>
            <p:nvPr/>
          </p:nvSpPr>
          <p:spPr bwMode="gray">
            <a:xfrm>
              <a:off x="7523163" y="4224338"/>
              <a:ext cx="95250" cy="42863"/>
            </a:xfrm>
            <a:custGeom>
              <a:avLst/>
              <a:gdLst>
                <a:gd name="T0" fmla="*/ 53 w 168"/>
                <a:gd name="T1" fmla="*/ 33 h 77"/>
                <a:gd name="T2" fmla="*/ 53 w 168"/>
                <a:gd name="T3" fmla="*/ 33 h 77"/>
                <a:gd name="T4" fmla="*/ 53 w 168"/>
                <a:gd name="T5" fmla="*/ 33 h 77"/>
                <a:gd name="T6" fmla="*/ 53 w 168"/>
                <a:gd name="T7" fmla="*/ 33 h 77"/>
                <a:gd name="T8" fmla="*/ 152 w 168"/>
                <a:gd name="T9" fmla="*/ 0 h 77"/>
                <a:gd name="T10" fmla="*/ 139 w 168"/>
                <a:gd name="T11" fmla="*/ 14 h 77"/>
                <a:gd name="T12" fmla="*/ 84 w 168"/>
                <a:gd name="T13" fmla="*/ 15 h 77"/>
                <a:gd name="T14" fmla="*/ 67 w 168"/>
                <a:gd name="T15" fmla="*/ 33 h 77"/>
                <a:gd name="T16" fmla="*/ 53 w 168"/>
                <a:gd name="T17" fmla="*/ 33 h 77"/>
                <a:gd name="T18" fmla="*/ 60 w 168"/>
                <a:gd name="T19" fmla="*/ 47 h 77"/>
                <a:gd name="T20" fmla="*/ 50 w 168"/>
                <a:gd name="T21" fmla="*/ 66 h 77"/>
                <a:gd name="T22" fmla="*/ 52 w 168"/>
                <a:gd name="T23" fmla="*/ 77 h 77"/>
                <a:gd name="T24" fmla="*/ 57 w 168"/>
                <a:gd name="T25" fmla="*/ 72 h 77"/>
                <a:gd name="T26" fmla="*/ 67 w 168"/>
                <a:gd name="T27" fmla="*/ 69 h 77"/>
                <a:gd name="T28" fmla="*/ 89 w 168"/>
                <a:gd name="T29" fmla="*/ 53 h 77"/>
                <a:gd name="T30" fmla="*/ 111 w 168"/>
                <a:gd name="T31" fmla="*/ 59 h 77"/>
                <a:gd name="T32" fmla="*/ 168 w 168"/>
                <a:gd name="T33" fmla="*/ 9 h 77"/>
                <a:gd name="T34" fmla="*/ 152 w 168"/>
                <a:gd name="T35" fmla="*/ 0 h 77"/>
                <a:gd name="T36" fmla="*/ 0 w 168"/>
                <a:gd name="T37" fmla="*/ 58 h 77"/>
                <a:gd name="T38" fmla="*/ 4 w 168"/>
                <a:gd name="T39" fmla="*/ 67 h 77"/>
                <a:gd name="T40" fmla="*/ 24 w 168"/>
                <a:gd name="T41" fmla="*/ 61 h 77"/>
                <a:gd name="T42" fmla="*/ 28 w 168"/>
                <a:gd name="T43" fmla="*/ 48 h 77"/>
                <a:gd name="T44" fmla="*/ 11 w 168"/>
                <a:gd name="T45" fmla="*/ 47 h 77"/>
                <a:gd name="T46" fmla="*/ 0 w 168"/>
                <a:gd name="T47" fmla="*/ 58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8" h="77">
                  <a:moveTo>
                    <a:pt x="53" y="33"/>
                  </a:moveTo>
                  <a:cubicBezTo>
                    <a:pt x="53" y="33"/>
                    <a:pt x="53" y="33"/>
                    <a:pt x="53" y="33"/>
                  </a:cubicBezTo>
                  <a:cubicBezTo>
                    <a:pt x="53" y="33"/>
                    <a:pt x="53" y="33"/>
                    <a:pt x="53" y="33"/>
                  </a:cubicBezTo>
                  <a:cubicBezTo>
                    <a:pt x="53" y="33"/>
                    <a:pt x="53" y="33"/>
                    <a:pt x="53" y="33"/>
                  </a:cubicBezTo>
                  <a:close/>
                  <a:moveTo>
                    <a:pt x="152" y="0"/>
                  </a:moveTo>
                  <a:cubicBezTo>
                    <a:pt x="139" y="14"/>
                    <a:pt x="139" y="14"/>
                    <a:pt x="139" y="14"/>
                  </a:cubicBezTo>
                  <a:cubicBezTo>
                    <a:pt x="139" y="14"/>
                    <a:pt x="96" y="15"/>
                    <a:pt x="84" y="15"/>
                  </a:cubicBezTo>
                  <a:cubicBezTo>
                    <a:pt x="73" y="15"/>
                    <a:pt x="67" y="33"/>
                    <a:pt x="67" y="33"/>
                  </a:cubicBezTo>
                  <a:cubicBezTo>
                    <a:pt x="67" y="33"/>
                    <a:pt x="61" y="32"/>
                    <a:pt x="53" y="33"/>
                  </a:cubicBezTo>
                  <a:cubicBezTo>
                    <a:pt x="60" y="47"/>
                    <a:pt x="60" y="47"/>
                    <a:pt x="60" y="47"/>
                  </a:cubicBezTo>
                  <a:cubicBezTo>
                    <a:pt x="60" y="47"/>
                    <a:pt x="56" y="54"/>
                    <a:pt x="50" y="66"/>
                  </a:cubicBezTo>
                  <a:cubicBezTo>
                    <a:pt x="46" y="72"/>
                    <a:pt x="49" y="76"/>
                    <a:pt x="52" y="77"/>
                  </a:cubicBezTo>
                  <a:cubicBezTo>
                    <a:pt x="55" y="74"/>
                    <a:pt x="57" y="72"/>
                    <a:pt x="57" y="72"/>
                  </a:cubicBezTo>
                  <a:cubicBezTo>
                    <a:pt x="67" y="69"/>
                    <a:pt x="67" y="69"/>
                    <a:pt x="67" y="69"/>
                  </a:cubicBezTo>
                  <a:cubicBezTo>
                    <a:pt x="89" y="53"/>
                    <a:pt x="89" y="53"/>
                    <a:pt x="89" y="53"/>
                  </a:cubicBezTo>
                  <a:cubicBezTo>
                    <a:pt x="89" y="53"/>
                    <a:pt x="98" y="62"/>
                    <a:pt x="111" y="59"/>
                  </a:cubicBezTo>
                  <a:cubicBezTo>
                    <a:pt x="124" y="56"/>
                    <a:pt x="168" y="9"/>
                    <a:pt x="168" y="9"/>
                  </a:cubicBezTo>
                  <a:lnTo>
                    <a:pt x="152" y="0"/>
                  </a:lnTo>
                  <a:close/>
                  <a:moveTo>
                    <a:pt x="0" y="58"/>
                  </a:moveTo>
                  <a:cubicBezTo>
                    <a:pt x="4" y="67"/>
                    <a:pt x="4" y="67"/>
                    <a:pt x="4" y="67"/>
                  </a:cubicBezTo>
                  <a:cubicBezTo>
                    <a:pt x="15" y="58"/>
                    <a:pt x="24" y="61"/>
                    <a:pt x="24" y="61"/>
                  </a:cubicBezTo>
                  <a:cubicBezTo>
                    <a:pt x="24" y="61"/>
                    <a:pt x="24" y="54"/>
                    <a:pt x="28" y="48"/>
                  </a:cubicBezTo>
                  <a:cubicBezTo>
                    <a:pt x="11" y="47"/>
                    <a:pt x="11" y="47"/>
                    <a:pt x="11" y="47"/>
                  </a:cubicBezTo>
                  <a:lnTo>
                    <a:pt x="0" y="58"/>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92" name="Freeform 153"/>
            <p:cNvSpPr>
              <a:spLocks noEditPoints="1"/>
            </p:cNvSpPr>
            <p:nvPr/>
          </p:nvSpPr>
          <p:spPr bwMode="gray">
            <a:xfrm>
              <a:off x="7966075" y="4027488"/>
              <a:ext cx="409575" cy="274638"/>
            </a:xfrm>
            <a:custGeom>
              <a:avLst/>
              <a:gdLst>
                <a:gd name="T0" fmla="*/ 296 w 730"/>
                <a:gd name="T1" fmla="*/ 19 h 491"/>
                <a:gd name="T2" fmla="*/ 331 w 730"/>
                <a:gd name="T3" fmla="*/ 7 h 491"/>
                <a:gd name="T4" fmla="*/ 521 w 730"/>
                <a:gd name="T5" fmla="*/ 171 h 491"/>
                <a:gd name="T6" fmla="*/ 476 w 730"/>
                <a:gd name="T7" fmla="*/ 209 h 491"/>
                <a:gd name="T8" fmla="*/ 404 w 730"/>
                <a:gd name="T9" fmla="*/ 228 h 491"/>
                <a:gd name="T10" fmla="*/ 398 w 730"/>
                <a:gd name="T11" fmla="*/ 257 h 491"/>
                <a:gd name="T12" fmla="*/ 474 w 730"/>
                <a:gd name="T13" fmla="*/ 251 h 491"/>
                <a:gd name="T14" fmla="*/ 523 w 730"/>
                <a:gd name="T15" fmla="*/ 228 h 491"/>
                <a:gd name="T16" fmla="*/ 536 w 730"/>
                <a:gd name="T17" fmla="*/ 206 h 491"/>
                <a:gd name="T18" fmla="*/ 555 w 730"/>
                <a:gd name="T19" fmla="*/ 140 h 491"/>
                <a:gd name="T20" fmla="*/ 564 w 730"/>
                <a:gd name="T21" fmla="*/ 94 h 491"/>
                <a:gd name="T22" fmla="*/ 520 w 730"/>
                <a:gd name="T23" fmla="*/ 58 h 491"/>
                <a:gd name="T24" fmla="*/ 494 w 730"/>
                <a:gd name="T25" fmla="*/ 31 h 491"/>
                <a:gd name="T26" fmla="*/ 516 w 730"/>
                <a:gd name="T27" fmla="*/ 69 h 491"/>
                <a:gd name="T28" fmla="*/ 576 w 730"/>
                <a:gd name="T29" fmla="*/ 122 h 491"/>
                <a:gd name="T30" fmla="*/ 599 w 730"/>
                <a:gd name="T31" fmla="*/ 131 h 491"/>
                <a:gd name="T32" fmla="*/ 728 w 730"/>
                <a:gd name="T33" fmla="*/ 249 h 491"/>
                <a:gd name="T34" fmla="*/ 664 w 730"/>
                <a:gd name="T35" fmla="*/ 185 h 491"/>
                <a:gd name="T36" fmla="*/ 670 w 730"/>
                <a:gd name="T37" fmla="*/ 225 h 491"/>
                <a:gd name="T38" fmla="*/ 730 w 730"/>
                <a:gd name="T39" fmla="*/ 300 h 491"/>
                <a:gd name="T40" fmla="*/ 17 w 730"/>
                <a:gd name="T41" fmla="*/ 401 h 491"/>
                <a:gd name="T42" fmla="*/ 17 w 730"/>
                <a:gd name="T43" fmla="*/ 401 h 491"/>
                <a:gd name="T44" fmla="*/ 452 w 730"/>
                <a:gd name="T45" fmla="*/ 453 h 491"/>
                <a:gd name="T46" fmla="*/ 437 w 730"/>
                <a:gd name="T47" fmla="*/ 426 h 491"/>
                <a:gd name="T48" fmla="*/ 408 w 730"/>
                <a:gd name="T49" fmla="*/ 388 h 491"/>
                <a:gd name="T50" fmla="*/ 374 w 730"/>
                <a:gd name="T51" fmla="*/ 375 h 491"/>
                <a:gd name="T52" fmla="*/ 357 w 730"/>
                <a:gd name="T53" fmla="*/ 337 h 491"/>
                <a:gd name="T54" fmla="*/ 304 w 730"/>
                <a:gd name="T55" fmla="*/ 274 h 491"/>
                <a:gd name="T56" fmla="*/ 308 w 730"/>
                <a:gd name="T57" fmla="*/ 220 h 491"/>
                <a:gd name="T58" fmla="*/ 256 w 730"/>
                <a:gd name="T59" fmla="*/ 169 h 491"/>
                <a:gd name="T60" fmla="*/ 200 w 730"/>
                <a:gd name="T61" fmla="*/ 113 h 491"/>
                <a:gd name="T62" fmla="*/ 151 w 730"/>
                <a:gd name="T63" fmla="*/ 91 h 491"/>
                <a:gd name="T64" fmla="*/ 49 w 730"/>
                <a:gd name="T65" fmla="*/ 49 h 491"/>
                <a:gd name="T66" fmla="*/ 6 w 730"/>
                <a:gd name="T67" fmla="*/ 36 h 491"/>
                <a:gd name="T68" fmla="*/ 30 w 730"/>
                <a:gd name="T69" fmla="*/ 155 h 491"/>
                <a:gd name="T70" fmla="*/ 27 w 730"/>
                <a:gd name="T71" fmla="*/ 253 h 491"/>
                <a:gd name="T72" fmla="*/ 26 w 730"/>
                <a:gd name="T73" fmla="*/ 282 h 491"/>
                <a:gd name="T74" fmla="*/ 15 w 730"/>
                <a:gd name="T75" fmla="*/ 353 h 491"/>
                <a:gd name="T76" fmla="*/ 17 w 730"/>
                <a:gd name="T77" fmla="*/ 401 h 491"/>
                <a:gd name="T78" fmla="*/ 88 w 730"/>
                <a:gd name="T79" fmla="*/ 408 h 491"/>
                <a:gd name="T80" fmla="*/ 71 w 730"/>
                <a:gd name="T81" fmla="*/ 347 h 491"/>
                <a:gd name="T82" fmla="*/ 130 w 730"/>
                <a:gd name="T83" fmla="*/ 329 h 491"/>
                <a:gd name="T84" fmla="*/ 146 w 730"/>
                <a:gd name="T85" fmla="*/ 313 h 491"/>
                <a:gd name="T86" fmla="*/ 185 w 730"/>
                <a:gd name="T87" fmla="*/ 311 h 491"/>
                <a:gd name="T88" fmla="*/ 258 w 730"/>
                <a:gd name="T89" fmla="*/ 342 h 491"/>
                <a:gd name="T90" fmla="*/ 302 w 730"/>
                <a:gd name="T91" fmla="*/ 398 h 491"/>
                <a:gd name="T92" fmla="*/ 418 w 730"/>
                <a:gd name="T93" fmla="*/ 464 h 491"/>
                <a:gd name="T94" fmla="*/ 450 w 730"/>
                <a:gd name="T95" fmla="*/ 464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30" h="491">
                  <a:moveTo>
                    <a:pt x="331" y="7"/>
                  </a:moveTo>
                  <a:cubicBezTo>
                    <a:pt x="318" y="0"/>
                    <a:pt x="296" y="19"/>
                    <a:pt x="296" y="19"/>
                  </a:cubicBezTo>
                  <a:cubicBezTo>
                    <a:pt x="315" y="31"/>
                    <a:pt x="315" y="31"/>
                    <a:pt x="315" y="31"/>
                  </a:cubicBezTo>
                  <a:cubicBezTo>
                    <a:pt x="333" y="35"/>
                    <a:pt x="344" y="14"/>
                    <a:pt x="331" y="7"/>
                  </a:cubicBezTo>
                  <a:close/>
                  <a:moveTo>
                    <a:pt x="508" y="150"/>
                  </a:moveTo>
                  <a:cubicBezTo>
                    <a:pt x="499" y="159"/>
                    <a:pt x="521" y="171"/>
                    <a:pt x="521" y="171"/>
                  </a:cubicBezTo>
                  <a:cubicBezTo>
                    <a:pt x="523" y="184"/>
                    <a:pt x="523" y="184"/>
                    <a:pt x="523" y="184"/>
                  </a:cubicBezTo>
                  <a:cubicBezTo>
                    <a:pt x="476" y="209"/>
                    <a:pt x="476" y="209"/>
                    <a:pt x="476" y="209"/>
                  </a:cubicBezTo>
                  <a:cubicBezTo>
                    <a:pt x="476" y="209"/>
                    <a:pt x="452" y="207"/>
                    <a:pt x="436" y="210"/>
                  </a:cubicBezTo>
                  <a:cubicBezTo>
                    <a:pt x="420" y="213"/>
                    <a:pt x="414" y="222"/>
                    <a:pt x="404" y="228"/>
                  </a:cubicBezTo>
                  <a:cubicBezTo>
                    <a:pt x="394" y="234"/>
                    <a:pt x="388" y="222"/>
                    <a:pt x="382" y="234"/>
                  </a:cubicBezTo>
                  <a:cubicBezTo>
                    <a:pt x="398" y="257"/>
                    <a:pt x="398" y="257"/>
                    <a:pt x="398" y="257"/>
                  </a:cubicBezTo>
                  <a:cubicBezTo>
                    <a:pt x="463" y="260"/>
                    <a:pt x="463" y="260"/>
                    <a:pt x="463" y="260"/>
                  </a:cubicBezTo>
                  <a:cubicBezTo>
                    <a:pt x="474" y="251"/>
                    <a:pt x="474" y="251"/>
                    <a:pt x="474" y="251"/>
                  </a:cubicBezTo>
                  <a:cubicBezTo>
                    <a:pt x="474" y="251"/>
                    <a:pt x="486" y="251"/>
                    <a:pt x="499" y="250"/>
                  </a:cubicBezTo>
                  <a:cubicBezTo>
                    <a:pt x="513" y="248"/>
                    <a:pt x="523" y="228"/>
                    <a:pt x="523" y="228"/>
                  </a:cubicBezTo>
                  <a:cubicBezTo>
                    <a:pt x="542" y="223"/>
                    <a:pt x="542" y="223"/>
                    <a:pt x="542" y="223"/>
                  </a:cubicBezTo>
                  <a:cubicBezTo>
                    <a:pt x="536" y="206"/>
                    <a:pt x="536" y="206"/>
                    <a:pt x="536" y="206"/>
                  </a:cubicBezTo>
                  <a:cubicBezTo>
                    <a:pt x="554" y="209"/>
                    <a:pt x="554" y="209"/>
                    <a:pt x="554" y="209"/>
                  </a:cubicBezTo>
                  <a:cubicBezTo>
                    <a:pt x="554" y="209"/>
                    <a:pt x="562" y="157"/>
                    <a:pt x="555" y="140"/>
                  </a:cubicBezTo>
                  <a:cubicBezTo>
                    <a:pt x="548" y="122"/>
                    <a:pt x="517" y="141"/>
                    <a:pt x="508" y="150"/>
                  </a:cubicBezTo>
                  <a:close/>
                  <a:moveTo>
                    <a:pt x="564" y="94"/>
                  </a:moveTo>
                  <a:cubicBezTo>
                    <a:pt x="555" y="94"/>
                    <a:pt x="555" y="94"/>
                    <a:pt x="555" y="94"/>
                  </a:cubicBezTo>
                  <a:cubicBezTo>
                    <a:pt x="555" y="94"/>
                    <a:pt x="524" y="60"/>
                    <a:pt x="520" y="58"/>
                  </a:cubicBezTo>
                  <a:cubicBezTo>
                    <a:pt x="516" y="55"/>
                    <a:pt x="508" y="55"/>
                    <a:pt x="508" y="55"/>
                  </a:cubicBezTo>
                  <a:cubicBezTo>
                    <a:pt x="494" y="31"/>
                    <a:pt x="494" y="31"/>
                    <a:pt x="494" y="31"/>
                  </a:cubicBezTo>
                  <a:cubicBezTo>
                    <a:pt x="486" y="63"/>
                    <a:pt x="486" y="63"/>
                    <a:pt x="486" y="63"/>
                  </a:cubicBezTo>
                  <a:cubicBezTo>
                    <a:pt x="516" y="69"/>
                    <a:pt x="516" y="69"/>
                    <a:pt x="516" y="69"/>
                  </a:cubicBezTo>
                  <a:cubicBezTo>
                    <a:pt x="516" y="69"/>
                    <a:pt x="539" y="96"/>
                    <a:pt x="545" y="102"/>
                  </a:cubicBezTo>
                  <a:cubicBezTo>
                    <a:pt x="551" y="107"/>
                    <a:pt x="571" y="109"/>
                    <a:pt x="576" y="122"/>
                  </a:cubicBezTo>
                  <a:cubicBezTo>
                    <a:pt x="580" y="135"/>
                    <a:pt x="562" y="179"/>
                    <a:pt x="589" y="181"/>
                  </a:cubicBezTo>
                  <a:cubicBezTo>
                    <a:pt x="604" y="182"/>
                    <a:pt x="612" y="150"/>
                    <a:pt x="599" y="131"/>
                  </a:cubicBezTo>
                  <a:cubicBezTo>
                    <a:pt x="586" y="112"/>
                    <a:pt x="564" y="94"/>
                    <a:pt x="564" y="94"/>
                  </a:cubicBezTo>
                  <a:close/>
                  <a:moveTo>
                    <a:pt x="728" y="249"/>
                  </a:moveTo>
                  <a:cubicBezTo>
                    <a:pt x="687" y="202"/>
                    <a:pt x="687" y="202"/>
                    <a:pt x="687" y="202"/>
                  </a:cubicBezTo>
                  <a:cubicBezTo>
                    <a:pt x="687" y="202"/>
                    <a:pt x="683" y="177"/>
                    <a:pt x="664" y="185"/>
                  </a:cubicBezTo>
                  <a:cubicBezTo>
                    <a:pt x="653" y="190"/>
                    <a:pt x="659" y="206"/>
                    <a:pt x="659" y="206"/>
                  </a:cubicBezTo>
                  <a:cubicBezTo>
                    <a:pt x="670" y="225"/>
                    <a:pt x="670" y="225"/>
                    <a:pt x="670" y="225"/>
                  </a:cubicBezTo>
                  <a:cubicBezTo>
                    <a:pt x="687" y="257"/>
                    <a:pt x="687" y="257"/>
                    <a:pt x="687" y="257"/>
                  </a:cubicBezTo>
                  <a:cubicBezTo>
                    <a:pt x="730" y="300"/>
                    <a:pt x="730" y="300"/>
                    <a:pt x="730" y="300"/>
                  </a:cubicBezTo>
                  <a:lnTo>
                    <a:pt x="728" y="249"/>
                  </a:lnTo>
                  <a:close/>
                  <a:moveTo>
                    <a:pt x="17" y="401"/>
                  </a:moveTo>
                  <a:cubicBezTo>
                    <a:pt x="17" y="401"/>
                    <a:pt x="17" y="401"/>
                    <a:pt x="17" y="401"/>
                  </a:cubicBezTo>
                  <a:cubicBezTo>
                    <a:pt x="17" y="401"/>
                    <a:pt x="17" y="401"/>
                    <a:pt x="17" y="401"/>
                  </a:cubicBezTo>
                  <a:cubicBezTo>
                    <a:pt x="17" y="401"/>
                    <a:pt x="17" y="401"/>
                    <a:pt x="17" y="401"/>
                  </a:cubicBezTo>
                  <a:close/>
                  <a:moveTo>
                    <a:pt x="452" y="453"/>
                  </a:moveTo>
                  <a:cubicBezTo>
                    <a:pt x="425" y="436"/>
                    <a:pt x="425" y="436"/>
                    <a:pt x="425" y="436"/>
                  </a:cubicBezTo>
                  <a:cubicBezTo>
                    <a:pt x="437" y="426"/>
                    <a:pt x="437" y="426"/>
                    <a:pt x="437" y="426"/>
                  </a:cubicBezTo>
                  <a:cubicBezTo>
                    <a:pt x="437" y="426"/>
                    <a:pt x="413" y="425"/>
                    <a:pt x="406" y="418"/>
                  </a:cubicBezTo>
                  <a:cubicBezTo>
                    <a:pt x="400" y="411"/>
                    <a:pt x="408" y="397"/>
                    <a:pt x="408" y="388"/>
                  </a:cubicBezTo>
                  <a:cubicBezTo>
                    <a:pt x="408" y="379"/>
                    <a:pt x="375" y="396"/>
                    <a:pt x="375" y="396"/>
                  </a:cubicBezTo>
                  <a:cubicBezTo>
                    <a:pt x="374" y="375"/>
                    <a:pt x="374" y="375"/>
                    <a:pt x="374" y="375"/>
                  </a:cubicBezTo>
                  <a:cubicBezTo>
                    <a:pt x="357" y="367"/>
                    <a:pt x="357" y="367"/>
                    <a:pt x="357" y="367"/>
                  </a:cubicBezTo>
                  <a:cubicBezTo>
                    <a:pt x="357" y="337"/>
                    <a:pt x="357" y="337"/>
                    <a:pt x="357" y="337"/>
                  </a:cubicBezTo>
                  <a:cubicBezTo>
                    <a:pt x="321" y="311"/>
                    <a:pt x="321" y="311"/>
                    <a:pt x="321" y="311"/>
                  </a:cubicBezTo>
                  <a:cubicBezTo>
                    <a:pt x="304" y="274"/>
                    <a:pt x="304" y="274"/>
                    <a:pt x="304" y="274"/>
                  </a:cubicBezTo>
                  <a:cubicBezTo>
                    <a:pt x="304" y="274"/>
                    <a:pt x="342" y="261"/>
                    <a:pt x="342" y="245"/>
                  </a:cubicBezTo>
                  <a:cubicBezTo>
                    <a:pt x="342" y="229"/>
                    <a:pt x="308" y="220"/>
                    <a:pt x="308" y="220"/>
                  </a:cubicBezTo>
                  <a:cubicBezTo>
                    <a:pt x="306" y="216"/>
                    <a:pt x="256" y="202"/>
                    <a:pt x="256" y="202"/>
                  </a:cubicBezTo>
                  <a:cubicBezTo>
                    <a:pt x="256" y="202"/>
                    <a:pt x="252" y="189"/>
                    <a:pt x="256" y="169"/>
                  </a:cubicBezTo>
                  <a:cubicBezTo>
                    <a:pt x="260" y="150"/>
                    <a:pt x="232" y="147"/>
                    <a:pt x="232" y="147"/>
                  </a:cubicBezTo>
                  <a:cubicBezTo>
                    <a:pt x="200" y="113"/>
                    <a:pt x="200" y="113"/>
                    <a:pt x="200" y="113"/>
                  </a:cubicBezTo>
                  <a:cubicBezTo>
                    <a:pt x="175" y="114"/>
                    <a:pt x="175" y="114"/>
                    <a:pt x="175" y="114"/>
                  </a:cubicBezTo>
                  <a:cubicBezTo>
                    <a:pt x="151" y="91"/>
                    <a:pt x="151" y="91"/>
                    <a:pt x="151" y="91"/>
                  </a:cubicBezTo>
                  <a:cubicBezTo>
                    <a:pt x="131" y="87"/>
                    <a:pt x="131" y="87"/>
                    <a:pt x="131" y="87"/>
                  </a:cubicBezTo>
                  <a:cubicBezTo>
                    <a:pt x="49" y="49"/>
                    <a:pt x="49" y="49"/>
                    <a:pt x="49" y="49"/>
                  </a:cubicBezTo>
                  <a:cubicBezTo>
                    <a:pt x="33" y="55"/>
                    <a:pt x="33" y="55"/>
                    <a:pt x="33" y="55"/>
                  </a:cubicBezTo>
                  <a:cubicBezTo>
                    <a:pt x="6" y="36"/>
                    <a:pt x="6" y="36"/>
                    <a:pt x="6" y="36"/>
                  </a:cubicBezTo>
                  <a:cubicBezTo>
                    <a:pt x="32" y="55"/>
                    <a:pt x="32" y="55"/>
                    <a:pt x="32" y="55"/>
                  </a:cubicBezTo>
                  <a:cubicBezTo>
                    <a:pt x="32" y="75"/>
                    <a:pt x="30" y="139"/>
                    <a:pt x="30" y="155"/>
                  </a:cubicBezTo>
                  <a:cubicBezTo>
                    <a:pt x="30" y="175"/>
                    <a:pt x="22" y="197"/>
                    <a:pt x="24" y="212"/>
                  </a:cubicBezTo>
                  <a:cubicBezTo>
                    <a:pt x="26" y="227"/>
                    <a:pt x="27" y="253"/>
                    <a:pt x="27" y="253"/>
                  </a:cubicBezTo>
                  <a:cubicBezTo>
                    <a:pt x="27" y="253"/>
                    <a:pt x="0" y="271"/>
                    <a:pt x="11" y="277"/>
                  </a:cubicBezTo>
                  <a:cubicBezTo>
                    <a:pt x="22" y="284"/>
                    <a:pt x="26" y="282"/>
                    <a:pt x="26" y="282"/>
                  </a:cubicBezTo>
                  <a:cubicBezTo>
                    <a:pt x="26" y="282"/>
                    <a:pt x="23" y="319"/>
                    <a:pt x="21" y="327"/>
                  </a:cubicBezTo>
                  <a:cubicBezTo>
                    <a:pt x="19" y="334"/>
                    <a:pt x="15" y="353"/>
                    <a:pt x="15" y="353"/>
                  </a:cubicBezTo>
                  <a:cubicBezTo>
                    <a:pt x="19" y="369"/>
                    <a:pt x="19" y="369"/>
                    <a:pt x="19" y="369"/>
                  </a:cubicBezTo>
                  <a:cubicBezTo>
                    <a:pt x="17" y="401"/>
                    <a:pt x="17" y="401"/>
                    <a:pt x="17" y="401"/>
                  </a:cubicBezTo>
                  <a:cubicBezTo>
                    <a:pt x="34" y="405"/>
                    <a:pt x="75" y="396"/>
                    <a:pt x="75" y="396"/>
                  </a:cubicBezTo>
                  <a:cubicBezTo>
                    <a:pt x="88" y="408"/>
                    <a:pt x="88" y="408"/>
                    <a:pt x="88" y="408"/>
                  </a:cubicBezTo>
                  <a:cubicBezTo>
                    <a:pt x="88" y="408"/>
                    <a:pt x="114" y="398"/>
                    <a:pt x="126" y="388"/>
                  </a:cubicBezTo>
                  <a:cubicBezTo>
                    <a:pt x="138" y="377"/>
                    <a:pt x="71" y="347"/>
                    <a:pt x="71" y="347"/>
                  </a:cubicBezTo>
                  <a:cubicBezTo>
                    <a:pt x="71" y="347"/>
                    <a:pt x="126" y="355"/>
                    <a:pt x="138" y="353"/>
                  </a:cubicBezTo>
                  <a:cubicBezTo>
                    <a:pt x="150" y="350"/>
                    <a:pt x="130" y="329"/>
                    <a:pt x="130" y="329"/>
                  </a:cubicBezTo>
                  <a:cubicBezTo>
                    <a:pt x="130" y="329"/>
                    <a:pt x="146" y="341"/>
                    <a:pt x="151" y="338"/>
                  </a:cubicBezTo>
                  <a:cubicBezTo>
                    <a:pt x="156" y="336"/>
                    <a:pt x="146" y="313"/>
                    <a:pt x="146" y="313"/>
                  </a:cubicBezTo>
                  <a:cubicBezTo>
                    <a:pt x="146" y="313"/>
                    <a:pt x="156" y="322"/>
                    <a:pt x="163" y="324"/>
                  </a:cubicBezTo>
                  <a:cubicBezTo>
                    <a:pt x="169" y="325"/>
                    <a:pt x="179" y="312"/>
                    <a:pt x="185" y="311"/>
                  </a:cubicBezTo>
                  <a:cubicBezTo>
                    <a:pt x="192" y="309"/>
                    <a:pt x="202" y="329"/>
                    <a:pt x="209" y="333"/>
                  </a:cubicBezTo>
                  <a:cubicBezTo>
                    <a:pt x="215" y="337"/>
                    <a:pt x="240" y="332"/>
                    <a:pt x="258" y="342"/>
                  </a:cubicBezTo>
                  <a:cubicBezTo>
                    <a:pt x="277" y="353"/>
                    <a:pt x="270" y="376"/>
                    <a:pt x="277" y="388"/>
                  </a:cubicBezTo>
                  <a:cubicBezTo>
                    <a:pt x="283" y="400"/>
                    <a:pt x="296" y="392"/>
                    <a:pt x="302" y="398"/>
                  </a:cubicBezTo>
                  <a:cubicBezTo>
                    <a:pt x="307" y="405"/>
                    <a:pt x="316" y="446"/>
                    <a:pt x="330" y="456"/>
                  </a:cubicBezTo>
                  <a:cubicBezTo>
                    <a:pt x="345" y="466"/>
                    <a:pt x="409" y="460"/>
                    <a:pt x="418" y="464"/>
                  </a:cubicBezTo>
                  <a:cubicBezTo>
                    <a:pt x="427" y="468"/>
                    <a:pt x="447" y="491"/>
                    <a:pt x="459" y="491"/>
                  </a:cubicBezTo>
                  <a:cubicBezTo>
                    <a:pt x="471" y="491"/>
                    <a:pt x="450" y="464"/>
                    <a:pt x="450" y="464"/>
                  </a:cubicBezTo>
                  <a:lnTo>
                    <a:pt x="452" y="453"/>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93" name="Freeform 154"/>
            <p:cNvSpPr>
              <a:spLocks noEditPoints="1"/>
            </p:cNvSpPr>
            <p:nvPr/>
          </p:nvSpPr>
          <p:spPr bwMode="gray">
            <a:xfrm>
              <a:off x="6764338" y="3803650"/>
              <a:ext cx="1220787" cy="492125"/>
            </a:xfrm>
            <a:custGeom>
              <a:avLst/>
              <a:gdLst>
                <a:gd name="T0" fmla="*/ 455 w 2179"/>
                <a:gd name="T1" fmla="*/ 287 h 879"/>
                <a:gd name="T2" fmla="*/ 603 w 2179"/>
                <a:gd name="T3" fmla="*/ 446 h 879"/>
                <a:gd name="T4" fmla="*/ 558 w 2179"/>
                <a:gd name="T5" fmla="*/ 443 h 879"/>
                <a:gd name="T6" fmla="*/ 162 w 2179"/>
                <a:gd name="T7" fmla="*/ 330 h 879"/>
                <a:gd name="T8" fmla="*/ 40 w 2179"/>
                <a:gd name="T9" fmla="*/ 174 h 879"/>
                <a:gd name="T10" fmla="*/ 1708 w 2179"/>
                <a:gd name="T11" fmla="*/ 314 h 879"/>
                <a:gd name="T12" fmla="*/ 1627 w 2179"/>
                <a:gd name="T13" fmla="*/ 412 h 879"/>
                <a:gd name="T14" fmla="*/ 1950 w 2179"/>
                <a:gd name="T15" fmla="*/ 413 h 879"/>
                <a:gd name="T16" fmla="*/ 1124 w 2179"/>
                <a:gd name="T17" fmla="*/ 485 h 879"/>
                <a:gd name="T18" fmla="*/ 1210 w 2179"/>
                <a:gd name="T19" fmla="*/ 476 h 879"/>
                <a:gd name="T20" fmla="*/ 1285 w 2179"/>
                <a:gd name="T21" fmla="*/ 614 h 879"/>
                <a:gd name="T22" fmla="*/ 1291 w 2179"/>
                <a:gd name="T23" fmla="*/ 446 h 879"/>
                <a:gd name="T24" fmla="*/ 1240 w 2179"/>
                <a:gd name="T25" fmla="*/ 370 h 879"/>
                <a:gd name="T26" fmla="*/ 1415 w 2179"/>
                <a:gd name="T27" fmla="*/ 258 h 879"/>
                <a:gd name="T28" fmla="*/ 1253 w 2179"/>
                <a:gd name="T29" fmla="*/ 232 h 879"/>
                <a:gd name="T30" fmla="*/ 1328 w 2179"/>
                <a:gd name="T31" fmla="*/ 387 h 879"/>
                <a:gd name="T32" fmla="*/ 1127 w 2179"/>
                <a:gd name="T33" fmla="*/ 743 h 879"/>
                <a:gd name="T34" fmla="*/ 1542 w 2179"/>
                <a:gd name="T35" fmla="*/ 370 h 879"/>
                <a:gd name="T36" fmla="*/ 1603 w 2179"/>
                <a:gd name="T37" fmla="*/ 288 h 879"/>
                <a:gd name="T38" fmla="*/ 1548 w 2179"/>
                <a:gd name="T39" fmla="*/ 230 h 879"/>
                <a:gd name="T40" fmla="*/ 1517 w 2179"/>
                <a:gd name="T41" fmla="*/ 471 h 879"/>
                <a:gd name="T42" fmla="*/ 1634 w 2179"/>
                <a:gd name="T43" fmla="*/ 448 h 879"/>
                <a:gd name="T44" fmla="*/ 1654 w 2179"/>
                <a:gd name="T45" fmla="*/ 509 h 879"/>
                <a:gd name="T46" fmla="*/ 2007 w 2179"/>
                <a:gd name="T47" fmla="*/ 423 h 879"/>
                <a:gd name="T48" fmla="*/ 1820 w 2179"/>
                <a:gd name="T49" fmla="*/ 350 h 879"/>
                <a:gd name="T50" fmla="*/ 1749 w 2179"/>
                <a:gd name="T51" fmla="*/ 393 h 879"/>
                <a:gd name="T52" fmla="*/ 1790 w 2179"/>
                <a:gd name="T53" fmla="*/ 530 h 879"/>
                <a:gd name="T54" fmla="*/ 1964 w 2179"/>
                <a:gd name="T55" fmla="*/ 567 h 879"/>
                <a:gd name="T56" fmla="*/ 2077 w 2179"/>
                <a:gd name="T57" fmla="*/ 729 h 879"/>
                <a:gd name="T58" fmla="*/ 2168 w 2179"/>
                <a:gd name="T59" fmla="*/ 726 h 879"/>
                <a:gd name="T60" fmla="*/ 258 w 2179"/>
                <a:gd name="T61" fmla="*/ 478 h 879"/>
                <a:gd name="T62" fmla="*/ 2037 w 2179"/>
                <a:gd name="T63" fmla="*/ 711 h 879"/>
                <a:gd name="T64" fmla="*/ 1860 w 2179"/>
                <a:gd name="T65" fmla="*/ 679 h 879"/>
                <a:gd name="T66" fmla="*/ 1427 w 2179"/>
                <a:gd name="T67" fmla="*/ 403 h 879"/>
                <a:gd name="T68" fmla="*/ 863 w 2179"/>
                <a:gd name="T69" fmla="*/ 677 h 879"/>
                <a:gd name="T70" fmla="*/ 499 w 2179"/>
                <a:gd name="T71" fmla="*/ 620 h 879"/>
                <a:gd name="T72" fmla="*/ 450 w 2179"/>
                <a:gd name="T73" fmla="*/ 413 h 879"/>
                <a:gd name="T74" fmla="*/ 340 w 2179"/>
                <a:gd name="T75" fmla="*/ 238 h 879"/>
                <a:gd name="T76" fmla="*/ 151 w 2179"/>
                <a:gd name="T77" fmla="*/ 72 h 879"/>
                <a:gd name="T78" fmla="*/ 119 w 2179"/>
                <a:gd name="T79" fmla="*/ 154 h 879"/>
                <a:gd name="T80" fmla="*/ 275 w 2179"/>
                <a:gd name="T81" fmla="*/ 408 h 879"/>
                <a:gd name="T82" fmla="*/ 444 w 2179"/>
                <a:gd name="T83" fmla="*/ 630 h 879"/>
                <a:gd name="T84" fmla="*/ 1408 w 2179"/>
                <a:gd name="T85" fmla="*/ 828 h 879"/>
                <a:gd name="T86" fmla="*/ 778 w 2179"/>
                <a:gd name="T87" fmla="*/ 674 h 879"/>
                <a:gd name="T88" fmla="*/ 535 w 2179"/>
                <a:gd name="T89" fmla="*/ 624 h 879"/>
                <a:gd name="T90" fmla="*/ 705 w 2179"/>
                <a:gd name="T91" fmla="*/ 728 h 879"/>
                <a:gd name="T92" fmla="*/ 1004 w 2179"/>
                <a:gd name="T93" fmla="*/ 484 h 879"/>
                <a:gd name="T94" fmla="*/ 1139 w 2179"/>
                <a:gd name="T95" fmla="*/ 271 h 879"/>
                <a:gd name="T96" fmla="*/ 1086 w 2179"/>
                <a:gd name="T97" fmla="*/ 110 h 879"/>
                <a:gd name="T98" fmla="*/ 939 w 2179"/>
                <a:gd name="T99" fmla="*/ 208 h 879"/>
                <a:gd name="T100" fmla="*/ 712 w 2179"/>
                <a:gd name="T101" fmla="*/ 247 h 879"/>
                <a:gd name="T102" fmla="*/ 716 w 2179"/>
                <a:gd name="T103" fmla="*/ 388 h 879"/>
                <a:gd name="T104" fmla="*/ 822 w 2179"/>
                <a:gd name="T105" fmla="*/ 472 h 879"/>
                <a:gd name="T106" fmla="*/ 974 w 2179"/>
                <a:gd name="T107" fmla="*/ 755 h 879"/>
                <a:gd name="T108" fmla="*/ 1187 w 2179"/>
                <a:gd name="T109" fmla="*/ 827 h 879"/>
                <a:gd name="T110" fmla="*/ 1151 w 2179"/>
                <a:gd name="T111" fmla="*/ 787 h 879"/>
                <a:gd name="T112" fmla="*/ 1056 w 2179"/>
                <a:gd name="T113" fmla="*/ 774 h 879"/>
                <a:gd name="T114" fmla="*/ 1067 w 2179"/>
                <a:gd name="T115" fmla="*/ 771 h 8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79" h="879">
                  <a:moveTo>
                    <a:pt x="1196" y="656"/>
                  </a:moveTo>
                  <a:cubicBezTo>
                    <a:pt x="1210" y="655"/>
                    <a:pt x="1210" y="655"/>
                    <a:pt x="1210" y="655"/>
                  </a:cubicBezTo>
                  <a:cubicBezTo>
                    <a:pt x="1218" y="637"/>
                    <a:pt x="1218" y="637"/>
                    <a:pt x="1218" y="637"/>
                  </a:cubicBezTo>
                  <a:cubicBezTo>
                    <a:pt x="1215" y="622"/>
                    <a:pt x="1215" y="622"/>
                    <a:pt x="1215" y="622"/>
                  </a:cubicBezTo>
                  <a:lnTo>
                    <a:pt x="1196" y="656"/>
                  </a:lnTo>
                  <a:close/>
                  <a:moveTo>
                    <a:pt x="453" y="310"/>
                  </a:moveTo>
                  <a:cubicBezTo>
                    <a:pt x="472" y="321"/>
                    <a:pt x="472" y="321"/>
                    <a:pt x="472" y="321"/>
                  </a:cubicBezTo>
                  <a:cubicBezTo>
                    <a:pt x="472" y="300"/>
                    <a:pt x="472" y="300"/>
                    <a:pt x="472" y="300"/>
                  </a:cubicBezTo>
                  <a:cubicBezTo>
                    <a:pt x="455" y="287"/>
                    <a:pt x="455" y="287"/>
                    <a:pt x="455" y="287"/>
                  </a:cubicBezTo>
                  <a:lnTo>
                    <a:pt x="453" y="310"/>
                  </a:lnTo>
                  <a:close/>
                  <a:moveTo>
                    <a:pt x="455" y="331"/>
                  </a:moveTo>
                  <a:cubicBezTo>
                    <a:pt x="441" y="344"/>
                    <a:pt x="441" y="344"/>
                    <a:pt x="441" y="344"/>
                  </a:cubicBezTo>
                  <a:cubicBezTo>
                    <a:pt x="458" y="365"/>
                    <a:pt x="458" y="365"/>
                    <a:pt x="458" y="365"/>
                  </a:cubicBezTo>
                  <a:lnTo>
                    <a:pt x="455" y="331"/>
                  </a:lnTo>
                  <a:close/>
                  <a:moveTo>
                    <a:pt x="611" y="478"/>
                  </a:moveTo>
                  <a:cubicBezTo>
                    <a:pt x="624" y="491"/>
                    <a:pt x="624" y="491"/>
                    <a:pt x="624" y="491"/>
                  </a:cubicBezTo>
                  <a:cubicBezTo>
                    <a:pt x="630" y="474"/>
                    <a:pt x="630" y="474"/>
                    <a:pt x="630" y="474"/>
                  </a:cubicBezTo>
                  <a:cubicBezTo>
                    <a:pt x="630" y="474"/>
                    <a:pt x="622" y="444"/>
                    <a:pt x="603" y="446"/>
                  </a:cubicBezTo>
                  <a:cubicBezTo>
                    <a:pt x="584" y="447"/>
                    <a:pt x="590" y="466"/>
                    <a:pt x="596" y="484"/>
                  </a:cubicBezTo>
                  <a:lnTo>
                    <a:pt x="611" y="478"/>
                  </a:lnTo>
                  <a:close/>
                  <a:moveTo>
                    <a:pt x="459" y="249"/>
                  </a:moveTo>
                  <a:cubicBezTo>
                    <a:pt x="454" y="237"/>
                    <a:pt x="440" y="244"/>
                    <a:pt x="450" y="260"/>
                  </a:cubicBezTo>
                  <a:cubicBezTo>
                    <a:pt x="461" y="279"/>
                    <a:pt x="464" y="261"/>
                    <a:pt x="459" y="249"/>
                  </a:cubicBezTo>
                  <a:close/>
                  <a:moveTo>
                    <a:pt x="507" y="418"/>
                  </a:moveTo>
                  <a:cubicBezTo>
                    <a:pt x="507" y="418"/>
                    <a:pt x="512" y="447"/>
                    <a:pt x="523" y="459"/>
                  </a:cubicBezTo>
                  <a:cubicBezTo>
                    <a:pt x="533" y="471"/>
                    <a:pt x="559" y="471"/>
                    <a:pt x="559" y="471"/>
                  </a:cubicBezTo>
                  <a:cubicBezTo>
                    <a:pt x="558" y="443"/>
                    <a:pt x="558" y="443"/>
                    <a:pt x="558" y="443"/>
                  </a:cubicBezTo>
                  <a:cubicBezTo>
                    <a:pt x="546" y="435"/>
                    <a:pt x="546" y="435"/>
                    <a:pt x="546" y="435"/>
                  </a:cubicBezTo>
                  <a:cubicBezTo>
                    <a:pt x="545" y="415"/>
                    <a:pt x="545" y="415"/>
                    <a:pt x="545" y="415"/>
                  </a:cubicBezTo>
                  <a:cubicBezTo>
                    <a:pt x="545" y="415"/>
                    <a:pt x="530" y="390"/>
                    <a:pt x="508" y="384"/>
                  </a:cubicBezTo>
                  <a:cubicBezTo>
                    <a:pt x="486" y="378"/>
                    <a:pt x="487" y="403"/>
                    <a:pt x="487" y="403"/>
                  </a:cubicBezTo>
                  <a:cubicBezTo>
                    <a:pt x="487" y="403"/>
                    <a:pt x="473" y="399"/>
                    <a:pt x="480" y="419"/>
                  </a:cubicBezTo>
                  <a:lnTo>
                    <a:pt x="507" y="418"/>
                  </a:lnTo>
                  <a:close/>
                  <a:moveTo>
                    <a:pt x="169" y="296"/>
                  </a:moveTo>
                  <a:cubicBezTo>
                    <a:pt x="154" y="310"/>
                    <a:pt x="154" y="310"/>
                    <a:pt x="154" y="310"/>
                  </a:cubicBezTo>
                  <a:cubicBezTo>
                    <a:pt x="162" y="330"/>
                    <a:pt x="162" y="330"/>
                    <a:pt x="162" y="330"/>
                  </a:cubicBezTo>
                  <a:cubicBezTo>
                    <a:pt x="162" y="330"/>
                    <a:pt x="152" y="348"/>
                    <a:pt x="164" y="344"/>
                  </a:cubicBezTo>
                  <a:cubicBezTo>
                    <a:pt x="171" y="341"/>
                    <a:pt x="168" y="316"/>
                    <a:pt x="168" y="316"/>
                  </a:cubicBezTo>
                  <a:cubicBezTo>
                    <a:pt x="175" y="307"/>
                    <a:pt x="175" y="307"/>
                    <a:pt x="175" y="307"/>
                  </a:cubicBezTo>
                  <a:lnTo>
                    <a:pt x="169" y="296"/>
                  </a:lnTo>
                  <a:close/>
                  <a:moveTo>
                    <a:pt x="180" y="360"/>
                  </a:moveTo>
                  <a:cubicBezTo>
                    <a:pt x="170" y="372"/>
                    <a:pt x="176" y="414"/>
                    <a:pt x="198" y="410"/>
                  </a:cubicBezTo>
                  <a:cubicBezTo>
                    <a:pt x="207" y="408"/>
                    <a:pt x="191" y="348"/>
                    <a:pt x="180" y="360"/>
                  </a:cubicBezTo>
                  <a:close/>
                  <a:moveTo>
                    <a:pt x="35" y="152"/>
                  </a:moveTo>
                  <a:cubicBezTo>
                    <a:pt x="30" y="157"/>
                    <a:pt x="28" y="173"/>
                    <a:pt x="40" y="174"/>
                  </a:cubicBezTo>
                  <a:cubicBezTo>
                    <a:pt x="52" y="176"/>
                    <a:pt x="55" y="189"/>
                    <a:pt x="66" y="181"/>
                  </a:cubicBezTo>
                  <a:cubicBezTo>
                    <a:pt x="73" y="175"/>
                    <a:pt x="40" y="146"/>
                    <a:pt x="35" y="152"/>
                  </a:cubicBezTo>
                  <a:close/>
                  <a:moveTo>
                    <a:pt x="112" y="221"/>
                  </a:moveTo>
                  <a:cubicBezTo>
                    <a:pt x="104" y="221"/>
                    <a:pt x="94" y="234"/>
                    <a:pt x="106" y="242"/>
                  </a:cubicBezTo>
                  <a:cubicBezTo>
                    <a:pt x="118" y="250"/>
                    <a:pt x="122" y="280"/>
                    <a:pt x="134" y="280"/>
                  </a:cubicBezTo>
                  <a:cubicBezTo>
                    <a:pt x="141" y="280"/>
                    <a:pt x="142" y="249"/>
                    <a:pt x="138" y="245"/>
                  </a:cubicBezTo>
                  <a:cubicBezTo>
                    <a:pt x="134" y="241"/>
                    <a:pt x="120" y="221"/>
                    <a:pt x="112" y="221"/>
                  </a:cubicBezTo>
                  <a:close/>
                  <a:moveTo>
                    <a:pt x="1721" y="328"/>
                  </a:moveTo>
                  <a:cubicBezTo>
                    <a:pt x="1721" y="328"/>
                    <a:pt x="1725" y="316"/>
                    <a:pt x="1708" y="314"/>
                  </a:cubicBezTo>
                  <a:cubicBezTo>
                    <a:pt x="1691" y="311"/>
                    <a:pt x="1680" y="316"/>
                    <a:pt x="1680" y="316"/>
                  </a:cubicBezTo>
                  <a:cubicBezTo>
                    <a:pt x="1684" y="334"/>
                    <a:pt x="1684" y="334"/>
                    <a:pt x="1684" y="334"/>
                  </a:cubicBezTo>
                  <a:cubicBezTo>
                    <a:pt x="1693" y="333"/>
                    <a:pt x="1721" y="328"/>
                    <a:pt x="1721" y="328"/>
                  </a:cubicBezTo>
                  <a:close/>
                  <a:moveTo>
                    <a:pt x="230" y="434"/>
                  </a:moveTo>
                  <a:cubicBezTo>
                    <a:pt x="239" y="433"/>
                    <a:pt x="226" y="413"/>
                    <a:pt x="218" y="418"/>
                  </a:cubicBezTo>
                  <a:cubicBezTo>
                    <a:pt x="211" y="422"/>
                    <a:pt x="220" y="436"/>
                    <a:pt x="230" y="434"/>
                  </a:cubicBezTo>
                  <a:close/>
                  <a:moveTo>
                    <a:pt x="1652" y="438"/>
                  </a:moveTo>
                  <a:cubicBezTo>
                    <a:pt x="1674" y="429"/>
                    <a:pt x="1672" y="413"/>
                    <a:pt x="1672" y="413"/>
                  </a:cubicBezTo>
                  <a:cubicBezTo>
                    <a:pt x="1627" y="412"/>
                    <a:pt x="1627" y="412"/>
                    <a:pt x="1627" y="412"/>
                  </a:cubicBezTo>
                  <a:cubicBezTo>
                    <a:pt x="1627" y="412"/>
                    <a:pt x="1630" y="447"/>
                    <a:pt x="1652" y="438"/>
                  </a:cubicBezTo>
                  <a:close/>
                  <a:moveTo>
                    <a:pt x="1609" y="194"/>
                  </a:moveTo>
                  <a:cubicBezTo>
                    <a:pt x="1624" y="182"/>
                    <a:pt x="1618" y="175"/>
                    <a:pt x="1605" y="171"/>
                  </a:cubicBezTo>
                  <a:cubicBezTo>
                    <a:pt x="1592" y="167"/>
                    <a:pt x="1586" y="172"/>
                    <a:pt x="1586" y="172"/>
                  </a:cubicBezTo>
                  <a:cubicBezTo>
                    <a:pt x="1586" y="172"/>
                    <a:pt x="1601" y="202"/>
                    <a:pt x="1609" y="194"/>
                  </a:cubicBezTo>
                  <a:close/>
                  <a:moveTo>
                    <a:pt x="1918" y="353"/>
                  </a:moveTo>
                  <a:cubicBezTo>
                    <a:pt x="1937" y="362"/>
                    <a:pt x="1945" y="353"/>
                    <a:pt x="1930" y="346"/>
                  </a:cubicBezTo>
                  <a:cubicBezTo>
                    <a:pt x="1916" y="340"/>
                    <a:pt x="1910" y="349"/>
                    <a:pt x="1918" y="353"/>
                  </a:cubicBezTo>
                  <a:close/>
                  <a:moveTo>
                    <a:pt x="1950" y="413"/>
                  </a:moveTo>
                  <a:cubicBezTo>
                    <a:pt x="1959" y="413"/>
                    <a:pt x="1986" y="406"/>
                    <a:pt x="1986" y="406"/>
                  </a:cubicBezTo>
                  <a:cubicBezTo>
                    <a:pt x="1986" y="406"/>
                    <a:pt x="1962" y="396"/>
                    <a:pt x="1957" y="395"/>
                  </a:cubicBezTo>
                  <a:cubicBezTo>
                    <a:pt x="1953" y="394"/>
                    <a:pt x="1924" y="400"/>
                    <a:pt x="1924" y="400"/>
                  </a:cubicBezTo>
                  <a:cubicBezTo>
                    <a:pt x="1924" y="400"/>
                    <a:pt x="1940" y="413"/>
                    <a:pt x="1950" y="413"/>
                  </a:cubicBezTo>
                  <a:close/>
                  <a:moveTo>
                    <a:pt x="1145" y="370"/>
                  </a:moveTo>
                  <a:cubicBezTo>
                    <a:pt x="1142" y="380"/>
                    <a:pt x="1161" y="400"/>
                    <a:pt x="1153" y="409"/>
                  </a:cubicBezTo>
                  <a:cubicBezTo>
                    <a:pt x="1145" y="418"/>
                    <a:pt x="1122" y="424"/>
                    <a:pt x="1120" y="437"/>
                  </a:cubicBezTo>
                  <a:cubicBezTo>
                    <a:pt x="1119" y="451"/>
                    <a:pt x="1130" y="464"/>
                    <a:pt x="1130" y="464"/>
                  </a:cubicBezTo>
                  <a:cubicBezTo>
                    <a:pt x="1130" y="464"/>
                    <a:pt x="1114" y="478"/>
                    <a:pt x="1124" y="485"/>
                  </a:cubicBezTo>
                  <a:cubicBezTo>
                    <a:pt x="1135" y="492"/>
                    <a:pt x="1153" y="477"/>
                    <a:pt x="1157" y="489"/>
                  </a:cubicBezTo>
                  <a:cubicBezTo>
                    <a:pt x="1161" y="501"/>
                    <a:pt x="1153" y="510"/>
                    <a:pt x="1153" y="510"/>
                  </a:cubicBezTo>
                  <a:cubicBezTo>
                    <a:pt x="1164" y="524"/>
                    <a:pt x="1164" y="524"/>
                    <a:pt x="1164" y="524"/>
                  </a:cubicBezTo>
                  <a:cubicBezTo>
                    <a:pt x="1158" y="568"/>
                    <a:pt x="1158" y="568"/>
                    <a:pt x="1158" y="568"/>
                  </a:cubicBezTo>
                  <a:cubicBezTo>
                    <a:pt x="1158" y="568"/>
                    <a:pt x="1134" y="582"/>
                    <a:pt x="1146" y="606"/>
                  </a:cubicBezTo>
                  <a:cubicBezTo>
                    <a:pt x="1157" y="630"/>
                    <a:pt x="1173" y="630"/>
                    <a:pt x="1191" y="612"/>
                  </a:cubicBezTo>
                  <a:cubicBezTo>
                    <a:pt x="1208" y="595"/>
                    <a:pt x="1188" y="566"/>
                    <a:pt x="1188" y="566"/>
                  </a:cubicBezTo>
                  <a:cubicBezTo>
                    <a:pt x="1188" y="566"/>
                    <a:pt x="1209" y="551"/>
                    <a:pt x="1209" y="530"/>
                  </a:cubicBezTo>
                  <a:cubicBezTo>
                    <a:pt x="1208" y="508"/>
                    <a:pt x="1217" y="489"/>
                    <a:pt x="1210" y="476"/>
                  </a:cubicBezTo>
                  <a:cubicBezTo>
                    <a:pt x="1202" y="464"/>
                    <a:pt x="1198" y="439"/>
                    <a:pt x="1200" y="434"/>
                  </a:cubicBezTo>
                  <a:cubicBezTo>
                    <a:pt x="1201" y="429"/>
                    <a:pt x="1207" y="401"/>
                    <a:pt x="1217" y="419"/>
                  </a:cubicBezTo>
                  <a:cubicBezTo>
                    <a:pt x="1228" y="437"/>
                    <a:pt x="1228" y="468"/>
                    <a:pt x="1228" y="468"/>
                  </a:cubicBezTo>
                  <a:cubicBezTo>
                    <a:pt x="1251" y="494"/>
                    <a:pt x="1251" y="494"/>
                    <a:pt x="1251" y="494"/>
                  </a:cubicBezTo>
                  <a:cubicBezTo>
                    <a:pt x="1248" y="529"/>
                    <a:pt x="1248" y="529"/>
                    <a:pt x="1248" y="529"/>
                  </a:cubicBezTo>
                  <a:cubicBezTo>
                    <a:pt x="1265" y="551"/>
                    <a:pt x="1265" y="551"/>
                    <a:pt x="1265" y="551"/>
                  </a:cubicBezTo>
                  <a:cubicBezTo>
                    <a:pt x="1266" y="575"/>
                    <a:pt x="1266" y="575"/>
                    <a:pt x="1266" y="575"/>
                  </a:cubicBezTo>
                  <a:cubicBezTo>
                    <a:pt x="1275" y="624"/>
                    <a:pt x="1275" y="624"/>
                    <a:pt x="1275" y="624"/>
                  </a:cubicBezTo>
                  <a:cubicBezTo>
                    <a:pt x="1285" y="614"/>
                    <a:pt x="1285" y="614"/>
                    <a:pt x="1285" y="614"/>
                  </a:cubicBezTo>
                  <a:cubicBezTo>
                    <a:pt x="1312" y="622"/>
                    <a:pt x="1312" y="622"/>
                    <a:pt x="1312" y="622"/>
                  </a:cubicBezTo>
                  <a:cubicBezTo>
                    <a:pt x="1312" y="622"/>
                    <a:pt x="1314" y="605"/>
                    <a:pt x="1313" y="592"/>
                  </a:cubicBezTo>
                  <a:cubicBezTo>
                    <a:pt x="1312" y="579"/>
                    <a:pt x="1319" y="572"/>
                    <a:pt x="1319" y="572"/>
                  </a:cubicBezTo>
                  <a:cubicBezTo>
                    <a:pt x="1325" y="588"/>
                    <a:pt x="1325" y="588"/>
                    <a:pt x="1325" y="588"/>
                  </a:cubicBezTo>
                  <a:cubicBezTo>
                    <a:pt x="1325" y="588"/>
                    <a:pt x="1342" y="590"/>
                    <a:pt x="1344" y="574"/>
                  </a:cubicBezTo>
                  <a:cubicBezTo>
                    <a:pt x="1345" y="558"/>
                    <a:pt x="1341" y="546"/>
                    <a:pt x="1341" y="546"/>
                  </a:cubicBezTo>
                  <a:cubicBezTo>
                    <a:pt x="1341" y="546"/>
                    <a:pt x="1301" y="514"/>
                    <a:pt x="1303" y="502"/>
                  </a:cubicBezTo>
                  <a:cubicBezTo>
                    <a:pt x="1305" y="490"/>
                    <a:pt x="1324" y="477"/>
                    <a:pt x="1313" y="467"/>
                  </a:cubicBezTo>
                  <a:cubicBezTo>
                    <a:pt x="1301" y="457"/>
                    <a:pt x="1292" y="454"/>
                    <a:pt x="1291" y="446"/>
                  </a:cubicBezTo>
                  <a:cubicBezTo>
                    <a:pt x="1291" y="437"/>
                    <a:pt x="1304" y="418"/>
                    <a:pt x="1290" y="412"/>
                  </a:cubicBezTo>
                  <a:cubicBezTo>
                    <a:pt x="1277" y="407"/>
                    <a:pt x="1257" y="390"/>
                    <a:pt x="1257" y="390"/>
                  </a:cubicBezTo>
                  <a:cubicBezTo>
                    <a:pt x="1257" y="390"/>
                    <a:pt x="1279" y="395"/>
                    <a:pt x="1289" y="385"/>
                  </a:cubicBezTo>
                  <a:cubicBezTo>
                    <a:pt x="1298" y="376"/>
                    <a:pt x="1308" y="354"/>
                    <a:pt x="1308" y="354"/>
                  </a:cubicBezTo>
                  <a:cubicBezTo>
                    <a:pt x="1308" y="354"/>
                    <a:pt x="1347" y="356"/>
                    <a:pt x="1348" y="348"/>
                  </a:cubicBezTo>
                  <a:cubicBezTo>
                    <a:pt x="1349" y="339"/>
                    <a:pt x="1338" y="324"/>
                    <a:pt x="1328" y="323"/>
                  </a:cubicBezTo>
                  <a:cubicBezTo>
                    <a:pt x="1317" y="323"/>
                    <a:pt x="1310" y="341"/>
                    <a:pt x="1310" y="341"/>
                  </a:cubicBezTo>
                  <a:cubicBezTo>
                    <a:pt x="1310" y="341"/>
                    <a:pt x="1281" y="333"/>
                    <a:pt x="1269" y="337"/>
                  </a:cubicBezTo>
                  <a:cubicBezTo>
                    <a:pt x="1258" y="340"/>
                    <a:pt x="1252" y="369"/>
                    <a:pt x="1240" y="370"/>
                  </a:cubicBezTo>
                  <a:cubicBezTo>
                    <a:pt x="1229" y="370"/>
                    <a:pt x="1230" y="350"/>
                    <a:pt x="1213" y="340"/>
                  </a:cubicBezTo>
                  <a:cubicBezTo>
                    <a:pt x="1196" y="330"/>
                    <a:pt x="1188" y="333"/>
                    <a:pt x="1188" y="333"/>
                  </a:cubicBezTo>
                  <a:cubicBezTo>
                    <a:pt x="1188" y="333"/>
                    <a:pt x="1193" y="274"/>
                    <a:pt x="1209" y="273"/>
                  </a:cubicBezTo>
                  <a:cubicBezTo>
                    <a:pt x="1225" y="272"/>
                    <a:pt x="1255" y="283"/>
                    <a:pt x="1269" y="279"/>
                  </a:cubicBezTo>
                  <a:cubicBezTo>
                    <a:pt x="1282" y="276"/>
                    <a:pt x="1273" y="264"/>
                    <a:pt x="1284" y="266"/>
                  </a:cubicBezTo>
                  <a:cubicBezTo>
                    <a:pt x="1296" y="267"/>
                    <a:pt x="1349" y="293"/>
                    <a:pt x="1359" y="294"/>
                  </a:cubicBezTo>
                  <a:cubicBezTo>
                    <a:pt x="1370" y="294"/>
                    <a:pt x="1372" y="285"/>
                    <a:pt x="1379" y="281"/>
                  </a:cubicBezTo>
                  <a:cubicBezTo>
                    <a:pt x="1386" y="277"/>
                    <a:pt x="1399" y="283"/>
                    <a:pt x="1408" y="278"/>
                  </a:cubicBezTo>
                  <a:cubicBezTo>
                    <a:pt x="1417" y="272"/>
                    <a:pt x="1406" y="267"/>
                    <a:pt x="1415" y="258"/>
                  </a:cubicBezTo>
                  <a:cubicBezTo>
                    <a:pt x="1423" y="249"/>
                    <a:pt x="1443" y="240"/>
                    <a:pt x="1443" y="240"/>
                  </a:cubicBezTo>
                  <a:cubicBezTo>
                    <a:pt x="1436" y="220"/>
                    <a:pt x="1436" y="220"/>
                    <a:pt x="1436" y="220"/>
                  </a:cubicBezTo>
                  <a:cubicBezTo>
                    <a:pt x="1384" y="242"/>
                    <a:pt x="1384" y="242"/>
                    <a:pt x="1384" y="242"/>
                  </a:cubicBezTo>
                  <a:cubicBezTo>
                    <a:pt x="1384" y="242"/>
                    <a:pt x="1396" y="255"/>
                    <a:pt x="1381" y="256"/>
                  </a:cubicBezTo>
                  <a:cubicBezTo>
                    <a:pt x="1366" y="257"/>
                    <a:pt x="1353" y="248"/>
                    <a:pt x="1344" y="248"/>
                  </a:cubicBezTo>
                  <a:cubicBezTo>
                    <a:pt x="1336" y="248"/>
                    <a:pt x="1321" y="261"/>
                    <a:pt x="1311" y="259"/>
                  </a:cubicBezTo>
                  <a:cubicBezTo>
                    <a:pt x="1300" y="256"/>
                    <a:pt x="1275" y="244"/>
                    <a:pt x="1268" y="244"/>
                  </a:cubicBezTo>
                  <a:cubicBezTo>
                    <a:pt x="1261" y="244"/>
                    <a:pt x="1245" y="244"/>
                    <a:pt x="1245" y="244"/>
                  </a:cubicBezTo>
                  <a:cubicBezTo>
                    <a:pt x="1253" y="232"/>
                    <a:pt x="1253" y="232"/>
                    <a:pt x="1253" y="232"/>
                  </a:cubicBezTo>
                  <a:cubicBezTo>
                    <a:pt x="1253" y="232"/>
                    <a:pt x="1226" y="225"/>
                    <a:pt x="1223" y="228"/>
                  </a:cubicBezTo>
                  <a:cubicBezTo>
                    <a:pt x="1219" y="232"/>
                    <a:pt x="1224" y="249"/>
                    <a:pt x="1212" y="256"/>
                  </a:cubicBezTo>
                  <a:cubicBezTo>
                    <a:pt x="1201" y="263"/>
                    <a:pt x="1179" y="261"/>
                    <a:pt x="1179" y="267"/>
                  </a:cubicBezTo>
                  <a:cubicBezTo>
                    <a:pt x="1179" y="273"/>
                    <a:pt x="1178" y="287"/>
                    <a:pt x="1178" y="287"/>
                  </a:cubicBezTo>
                  <a:cubicBezTo>
                    <a:pt x="1164" y="289"/>
                    <a:pt x="1164" y="289"/>
                    <a:pt x="1164" y="289"/>
                  </a:cubicBezTo>
                  <a:cubicBezTo>
                    <a:pt x="1174" y="336"/>
                    <a:pt x="1174" y="336"/>
                    <a:pt x="1174" y="336"/>
                  </a:cubicBezTo>
                  <a:cubicBezTo>
                    <a:pt x="1164" y="335"/>
                    <a:pt x="1164" y="335"/>
                    <a:pt x="1164" y="335"/>
                  </a:cubicBezTo>
                  <a:cubicBezTo>
                    <a:pt x="1164" y="335"/>
                    <a:pt x="1147" y="360"/>
                    <a:pt x="1145" y="370"/>
                  </a:cubicBezTo>
                  <a:close/>
                  <a:moveTo>
                    <a:pt x="1328" y="387"/>
                  </a:moveTo>
                  <a:cubicBezTo>
                    <a:pt x="1328" y="400"/>
                    <a:pt x="1328" y="400"/>
                    <a:pt x="1328" y="400"/>
                  </a:cubicBezTo>
                  <a:cubicBezTo>
                    <a:pt x="1328" y="400"/>
                    <a:pt x="1343" y="412"/>
                    <a:pt x="1350" y="395"/>
                  </a:cubicBezTo>
                  <a:cubicBezTo>
                    <a:pt x="1358" y="379"/>
                    <a:pt x="1328" y="387"/>
                    <a:pt x="1328" y="387"/>
                  </a:cubicBezTo>
                  <a:close/>
                  <a:moveTo>
                    <a:pt x="1127" y="743"/>
                  </a:moveTo>
                  <a:cubicBezTo>
                    <a:pt x="1118" y="740"/>
                    <a:pt x="1111" y="746"/>
                    <a:pt x="1111" y="746"/>
                  </a:cubicBezTo>
                  <a:cubicBezTo>
                    <a:pt x="1080" y="739"/>
                    <a:pt x="1080" y="739"/>
                    <a:pt x="1080" y="739"/>
                  </a:cubicBezTo>
                  <a:cubicBezTo>
                    <a:pt x="1099" y="766"/>
                    <a:pt x="1099" y="766"/>
                    <a:pt x="1099" y="766"/>
                  </a:cubicBezTo>
                  <a:cubicBezTo>
                    <a:pt x="1099" y="766"/>
                    <a:pt x="1126" y="793"/>
                    <a:pt x="1132" y="775"/>
                  </a:cubicBezTo>
                  <a:cubicBezTo>
                    <a:pt x="1137" y="758"/>
                    <a:pt x="1136" y="746"/>
                    <a:pt x="1127" y="743"/>
                  </a:cubicBezTo>
                  <a:close/>
                  <a:moveTo>
                    <a:pt x="1400" y="740"/>
                  </a:moveTo>
                  <a:cubicBezTo>
                    <a:pt x="1379" y="754"/>
                    <a:pt x="1379" y="754"/>
                    <a:pt x="1379" y="754"/>
                  </a:cubicBezTo>
                  <a:cubicBezTo>
                    <a:pt x="1400" y="759"/>
                    <a:pt x="1400" y="759"/>
                    <a:pt x="1400" y="759"/>
                  </a:cubicBezTo>
                  <a:lnTo>
                    <a:pt x="1400" y="740"/>
                  </a:lnTo>
                  <a:close/>
                  <a:moveTo>
                    <a:pt x="327" y="200"/>
                  </a:moveTo>
                  <a:cubicBezTo>
                    <a:pt x="315" y="190"/>
                    <a:pt x="304" y="196"/>
                    <a:pt x="310" y="212"/>
                  </a:cubicBezTo>
                  <a:cubicBezTo>
                    <a:pt x="314" y="226"/>
                    <a:pt x="339" y="209"/>
                    <a:pt x="327" y="200"/>
                  </a:cubicBezTo>
                  <a:close/>
                  <a:moveTo>
                    <a:pt x="1569" y="393"/>
                  </a:moveTo>
                  <a:cubicBezTo>
                    <a:pt x="1561" y="383"/>
                    <a:pt x="1542" y="370"/>
                    <a:pt x="1542" y="370"/>
                  </a:cubicBezTo>
                  <a:cubicBezTo>
                    <a:pt x="1540" y="400"/>
                    <a:pt x="1540" y="400"/>
                    <a:pt x="1540" y="400"/>
                  </a:cubicBezTo>
                  <a:cubicBezTo>
                    <a:pt x="1552" y="408"/>
                    <a:pt x="1578" y="404"/>
                    <a:pt x="1569" y="393"/>
                  </a:cubicBezTo>
                  <a:close/>
                  <a:moveTo>
                    <a:pt x="1543" y="318"/>
                  </a:moveTo>
                  <a:cubicBezTo>
                    <a:pt x="1552" y="325"/>
                    <a:pt x="1590" y="359"/>
                    <a:pt x="1599" y="356"/>
                  </a:cubicBezTo>
                  <a:cubicBezTo>
                    <a:pt x="1608" y="353"/>
                    <a:pt x="1598" y="340"/>
                    <a:pt x="1587" y="334"/>
                  </a:cubicBezTo>
                  <a:cubicBezTo>
                    <a:pt x="1577" y="328"/>
                    <a:pt x="1571" y="316"/>
                    <a:pt x="1581" y="306"/>
                  </a:cubicBezTo>
                  <a:cubicBezTo>
                    <a:pt x="1592" y="296"/>
                    <a:pt x="1611" y="306"/>
                    <a:pt x="1611" y="306"/>
                  </a:cubicBezTo>
                  <a:cubicBezTo>
                    <a:pt x="1620" y="299"/>
                    <a:pt x="1620" y="299"/>
                    <a:pt x="1620" y="299"/>
                  </a:cubicBezTo>
                  <a:cubicBezTo>
                    <a:pt x="1603" y="288"/>
                    <a:pt x="1603" y="288"/>
                    <a:pt x="1603" y="288"/>
                  </a:cubicBezTo>
                  <a:cubicBezTo>
                    <a:pt x="1603" y="288"/>
                    <a:pt x="1617" y="281"/>
                    <a:pt x="1620" y="269"/>
                  </a:cubicBezTo>
                  <a:cubicBezTo>
                    <a:pt x="1623" y="258"/>
                    <a:pt x="1608" y="250"/>
                    <a:pt x="1598" y="249"/>
                  </a:cubicBezTo>
                  <a:cubicBezTo>
                    <a:pt x="1587" y="247"/>
                    <a:pt x="1577" y="274"/>
                    <a:pt x="1565" y="275"/>
                  </a:cubicBezTo>
                  <a:cubicBezTo>
                    <a:pt x="1554" y="277"/>
                    <a:pt x="1557" y="250"/>
                    <a:pt x="1557" y="250"/>
                  </a:cubicBezTo>
                  <a:cubicBezTo>
                    <a:pt x="1557" y="250"/>
                    <a:pt x="1567" y="237"/>
                    <a:pt x="1570" y="227"/>
                  </a:cubicBezTo>
                  <a:cubicBezTo>
                    <a:pt x="1573" y="216"/>
                    <a:pt x="1567" y="211"/>
                    <a:pt x="1567" y="211"/>
                  </a:cubicBezTo>
                  <a:cubicBezTo>
                    <a:pt x="1576" y="184"/>
                    <a:pt x="1576" y="184"/>
                    <a:pt x="1576" y="184"/>
                  </a:cubicBezTo>
                  <a:cubicBezTo>
                    <a:pt x="1548" y="211"/>
                    <a:pt x="1548" y="211"/>
                    <a:pt x="1548" y="211"/>
                  </a:cubicBezTo>
                  <a:cubicBezTo>
                    <a:pt x="1548" y="230"/>
                    <a:pt x="1548" y="230"/>
                    <a:pt x="1548" y="230"/>
                  </a:cubicBezTo>
                  <a:cubicBezTo>
                    <a:pt x="1548" y="230"/>
                    <a:pt x="1525" y="240"/>
                    <a:pt x="1527" y="265"/>
                  </a:cubicBezTo>
                  <a:cubicBezTo>
                    <a:pt x="1529" y="281"/>
                    <a:pt x="1540" y="284"/>
                    <a:pt x="1543" y="293"/>
                  </a:cubicBezTo>
                  <a:cubicBezTo>
                    <a:pt x="1546" y="302"/>
                    <a:pt x="1535" y="310"/>
                    <a:pt x="1543" y="318"/>
                  </a:cubicBezTo>
                  <a:close/>
                  <a:moveTo>
                    <a:pt x="1505" y="474"/>
                  </a:moveTo>
                  <a:cubicBezTo>
                    <a:pt x="1496" y="464"/>
                    <a:pt x="1496" y="464"/>
                    <a:pt x="1496" y="464"/>
                  </a:cubicBezTo>
                  <a:cubicBezTo>
                    <a:pt x="1482" y="475"/>
                    <a:pt x="1482" y="475"/>
                    <a:pt x="1482" y="475"/>
                  </a:cubicBezTo>
                  <a:cubicBezTo>
                    <a:pt x="1482" y="475"/>
                    <a:pt x="1475" y="494"/>
                    <a:pt x="1489" y="503"/>
                  </a:cubicBezTo>
                  <a:cubicBezTo>
                    <a:pt x="1502" y="513"/>
                    <a:pt x="1521" y="509"/>
                    <a:pt x="1521" y="509"/>
                  </a:cubicBezTo>
                  <a:cubicBezTo>
                    <a:pt x="1529" y="498"/>
                    <a:pt x="1517" y="471"/>
                    <a:pt x="1517" y="471"/>
                  </a:cubicBezTo>
                  <a:lnTo>
                    <a:pt x="1505" y="474"/>
                  </a:lnTo>
                  <a:close/>
                  <a:moveTo>
                    <a:pt x="1437" y="740"/>
                  </a:moveTo>
                  <a:cubicBezTo>
                    <a:pt x="1487" y="728"/>
                    <a:pt x="1487" y="728"/>
                    <a:pt x="1487" y="728"/>
                  </a:cubicBezTo>
                  <a:cubicBezTo>
                    <a:pt x="1449" y="718"/>
                    <a:pt x="1449" y="718"/>
                    <a:pt x="1449" y="718"/>
                  </a:cubicBezTo>
                  <a:lnTo>
                    <a:pt x="1437" y="740"/>
                  </a:lnTo>
                  <a:close/>
                  <a:moveTo>
                    <a:pt x="1700" y="502"/>
                  </a:moveTo>
                  <a:cubicBezTo>
                    <a:pt x="1686" y="490"/>
                    <a:pt x="1686" y="490"/>
                    <a:pt x="1686" y="490"/>
                  </a:cubicBezTo>
                  <a:cubicBezTo>
                    <a:pt x="1687" y="479"/>
                    <a:pt x="1687" y="479"/>
                    <a:pt x="1687" y="479"/>
                  </a:cubicBezTo>
                  <a:cubicBezTo>
                    <a:pt x="1687" y="479"/>
                    <a:pt x="1681" y="458"/>
                    <a:pt x="1634" y="448"/>
                  </a:cubicBezTo>
                  <a:cubicBezTo>
                    <a:pt x="1618" y="444"/>
                    <a:pt x="1608" y="454"/>
                    <a:pt x="1597" y="459"/>
                  </a:cubicBezTo>
                  <a:cubicBezTo>
                    <a:pt x="1591" y="461"/>
                    <a:pt x="1583" y="457"/>
                    <a:pt x="1579" y="460"/>
                  </a:cubicBezTo>
                  <a:cubicBezTo>
                    <a:pt x="1566" y="468"/>
                    <a:pt x="1562" y="484"/>
                    <a:pt x="1566" y="487"/>
                  </a:cubicBezTo>
                  <a:cubicBezTo>
                    <a:pt x="1573" y="493"/>
                    <a:pt x="1580" y="479"/>
                    <a:pt x="1580" y="479"/>
                  </a:cubicBezTo>
                  <a:cubicBezTo>
                    <a:pt x="1580" y="479"/>
                    <a:pt x="1580" y="495"/>
                    <a:pt x="1591" y="497"/>
                  </a:cubicBezTo>
                  <a:cubicBezTo>
                    <a:pt x="1602" y="498"/>
                    <a:pt x="1604" y="478"/>
                    <a:pt x="1604" y="478"/>
                  </a:cubicBezTo>
                  <a:cubicBezTo>
                    <a:pt x="1604" y="478"/>
                    <a:pt x="1612" y="489"/>
                    <a:pt x="1619" y="489"/>
                  </a:cubicBezTo>
                  <a:cubicBezTo>
                    <a:pt x="1626" y="489"/>
                    <a:pt x="1644" y="474"/>
                    <a:pt x="1644" y="474"/>
                  </a:cubicBezTo>
                  <a:cubicBezTo>
                    <a:pt x="1654" y="509"/>
                    <a:pt x="1654" y="509"/>
                    <a:pt x="1654" y="509"/>
                  </a:cubicBezTo>
                  <a:cubicBezTo>
                    <a:pt x="1673" y="495"/>
                    <a:pt x="1673" y="495"/>
                    <a:pt x="1673" y="495"/>
                  </a:cubicBezTo>
                  <a:cubicBezTo>
                    <a:pt x="1695" y="519"/>
                    <a:pt x="1695" y="519"/>
                    <a:pt x="1695" y="519"/>
                  </a:cubicBezTo>
                  <a:lnTo>
                    <a:pt x="1700" y="502"/>
                  </a:lnTo>
                  <a:close/>
                  <a:moveTo>
                    <a:pt x="2179" y="454"/>
                  </a:moveTo>
                  <a:cubicBezTo>
                    <a:pt x="2153" y="435"/>
                    <a:pt x="2153" y="435"/>
                    <a:pt x="2153" y="435"/>
                  </a:cubicBezTo>
                  <a:cubicBezTo>
                    <a:pt x="2153" y="435"/>
                    <a:pt x="2134" y="437"/>
                    <a:pt x="2124" y="437"/>
                  </a:cubicBezTo>
                  <a:cubicBezTo>
                    <a:pt x="2113" y="437"/>
                    <a:pt x="2045" y="394"/>
                    <a:pt x="2032" y="390"/>
                  </a:cubicBezTo>
                  <a:cubicBezTo>
                    <a:pt x="2019" y="386"/>
                    <a:pt x="1998" y="405"/>
                    <a:pt x="1998" y="405"/>
                  </a:cubicBezTo>
                  <a:cubicBezTo>
                    <a:pt x="2007" y="423"/>
                    <a:pt x="2007" y="423"/>
                    <a:pt x="2007" y="423"/>
                  </a:cubicBezTo>
                  <a:cubicBezTo>
                    <a:pt x="1956" y="428"/>
                    <a:pt x="1956" y="428"/>
                    <a:pt x="1956" y="428"/>
                  </a:cubicBezTo>
                  <a:cubicBezTo>
                    <a:pt x="1960" y="446"/>
                    <a:pt x="1960" y="446"/>
                    <a:pt x="1960" y="446"/>
                  </a:cubicBezTo>
                  <a:cubicBezTo>
                    <a:pt x="1960" y="446"/>
                    <a:pt x="1950" y="477"/>
                    <a:pt x="1913" y="484"/>
                  </a:cubicBezTo>
                  <a:cubicBezTo>
                    <a:pt x="1876" y="492"/>
                    <a:pt x="1886" y="443"/>
                    <a:pt x="1880" y="443"/>
                  </a:cubicBezTo>
                  <a:cubicBezTo>
                    <a:pt x="1875" y="443"/>
                    <a:pt x="1869" y="465"/>
                    <a:pt x="1869" y="465"/>
                  </a:cubicBezTo>
                  <a:cubicBezTo>
                    <a:pt x="1869" y="465"/>
                    <a:pt x="1861" y="448"/>
                    <a:pt x="1861" y="439"/>
                  </a:cubicBezTo>
                  <a:cubicBezTo>
                    <a:pt x="1861" y="429"/>
                    <a:pt x="1862" y="402"/>
                    <a:pt x="1859" y="385"/>
                  </a:cubicBezTo>
                  <a:cubicBezTo>
                    <a:pt x="1857" y="368"/>
                    <a:pt x="1846" y="350"/>
                    <a:pt x="1846" y="350"/>
                  </a:cubicBezTo>
                  <a:cubicBezTo>
                    <a:pt x="1820" y="350"/>
                    <a:pt x="1820" y="350"/>
                    <a:pt x="1820" y="350"/>
                  </a:cubicBezTo>
                  <a:cubicBezTo>
                    <a:pt x="1820" y="350"/>
                    <a:pt x="1799" y="326"/>
                    <a:pt x="1781" y="326"/>
                  </a:cubicBezTo>
                  <a:cubicBezTo>
                    <a:pt x="1763" y="326"/>
                    <a:pt x="1744" y="351"/>
                    <a:pt x="1744" y="351"/>
                  </a:cubicBezTo>
                  <a:cubicBezTo>
                    <a:pt x="1728" y="355"/>
                    <a:pt x="1728" y="355"/>
                    <a:pt x="1728" y="355"/>
                  </a:cubicBezTo>
                  <a:cubicBezTo>
                    <a:pt x="1723" y="367"/>
                    <a:pt x="1723" y="367"/>
                    <a:pt x="1723" y="367"/>
                  </a:cubicBezTo>
                  <a:cubicBezTo>
                    <a:pt x="1711" y="373"/>
                    <a:pt x="1711" y="373"/>
                    <a:pt x="1711" y="373"/>
                  </a:cubicBezTo>
                  <a:cubicBezTo>
                    <a:pt x="1711" y="364"/>
                    <a:pt x="1711" y="364"/>
                    <a:pt x="1711" y="364"/>
                  </a:cubicBezTo>
                  <a:cubicBezTo>
                    <a:pt x="1711" y="364"/>
                    <a:pt x="1704" y="352"/>
                    <a:pt x="1693" y="356"/>
                  </a:cubicBezTo>
                  <a:cubicBezTo>
                    <a:pt x="1693" y="356"/>
                    <a:pt x="1693" y="369"/>
                    <a:pt x="1702" y="382"/>
                  </a:cubicBezTo>
                  <a:cubicBezTo>
                    <a:pt x="1711" y="395"/>
                    <a:pt x="1732" y="388"/>
                    <a:pt x="1749" y="393"/>
                  </a:cubicBezTo>
                  <a:cubicBezTo>
                    <a:pt x="1766" y="398"/>
                    <a:pt x="1751" y="406"/>
                    <a:pt x="1760" y="422"/>
                  </a:cubicBezTo>
                  <a:cubicBezTo>
                    <a:pt x="1769" y="437"/>
                    <a:pt x="1799" y="424"/>
                    <a:pt x="1821" y="424"/>
                  </a:cubicBezTo>
                  <a:cubicBezTo>
                    <a:pt x="1844" y="424"/>
                    <a:pt x="1845" y="429"/>
                    <a:pt x="1845" y="440"/>
                  </a:cubicBezTo>
                  <a:cubicBezTo>
                    <a:pt x="1845" y="450"/>
                    <a:pt x="1819" y="440"/>
                    <a:pt x="1811" y="441"/>
                  </a:cubicBezTo>
                  <a:cubicBezTo>
                    <a:pt x="1803" y="443"/>
                    <a:pt x="1785" y="454"/>
                    <a:pt x="1785" y="454"/>
                  </a:cubicBezTo>
                  <a:cubicBezTo>
                    <a:pt x="1785" y="454"/>
                    <a:pt x="1757" y="454"/>
                    <a:pt x="1751" y="461"/>
                  </a:cubicBezTo>
                  <a:cubicBezTo>
                    <a:pt x="1744" y="467"/>
                    <a:pt x="1774" y="474"/>
                    <a:pt x="1781" y="478"/>
                  </a:cubicBezTo>
                  <a:cubicBezTo>
                    <a:pt x="1787" y="482"/>
                    <a:pt x="1797" y="498"/>
                    <a:pt x="1797" y="498"/>
                  </a:cubicBezTo>
                  <a:cubicBezTo>
                    <a:pt x="1797" y="498"/>
                    <a:pt x="1781" y="517"/>
                    <a:pt x="1790" y="530"/>
                  </a:cubicBezTo>
                  <a:cubicBezTo>
                    <a:pt x="1799" y="543"/>
                    <a:pt x="1819" y="508"/>
                    <a:pt x="1819" y="504"/>
                  </a:cubicBezTo>
                  <a:cubicBezTo>
                    <a:pt x="1819" y="500"/>
                    <a:pt x="1838" y="471"/>
                    <a:pt x="1838" y="471"/>
                  </a:cubicBezTo>
                  <a:cubicBezTo>
                    <a:pt x="1836" y="496"/>
                    <a:pt x="1836" y="496"/>
                    <a:pt x="1836" y="496"/>
                  </a:cubicBezTo>
                  <a:cubicBezTo>
                    <a:pt x="1836" y="496"/>
                    <a:pt x="1849" y="509"/>
                    <a:pt x="1859" y="518"/>
                  </a:cubicBezTo>
                  <a:cubicBezTo>
                    <a:pt x="1870" y="528"/>
                    <a:pt x="1891" y="520"/>
                    <a:pt x="1891" y="520"/>
                  </a:cubicBezTo>
                  <a:cubicBezTo>
                    <a:pt x="1882" y="529"/>
                    <a:pt x="1882" y="529"/>
                    <a:pt x="1882" y="529"/>
                  </a:cubicBezTo>
                  <a:cubicBezTo>
                    <a:pt x="1903" y="549"/>
                    <a:pt x="1903" y="549"/>
                    <a:pt x="1903" y="549"/>
                  </a:cubicBezTo>
                  <a:cubicBezTo>
                    <a:pt x="1941" y="550"/>
                    <a:pt x="1941" y="550"/>
                    <a:pt x="1941" y="550"/>
                  </a:cubicBezTo>
                  <a:cubicBezTo>
                    <a:pt x="1964" y="567"/>
                    <a:pt x="1964" y="567"/>
                    <a:pt x="1964" y="567"/>
                  </a:cubicBezTo>
                  <a:cubicBezTo>
                    <a:pt x="1964" y="567"/>
                    <a:pt x="2006" y="581"/>
                    <a:pt x="2030" y="598"/>
                  </a:cubicBezTo>
                  <a:cubicBezTo>
                    <a:pt x="2053" y="615"/>
                    <a:pt x="2048" y="621"/>
                    <a:pt x="2049" y="640"/>
                  </a:cubicBezTo>
                  <a:cubicBezTo>
                    <a:pt x="2051" y="660"/>
                    <a:pt x="2073" y="669"/>
                    <a:pt x="2073" y="669"/>
                  </a:cubicBezTo>
                  <a:cubicBezTo>
                    <a:pt x="2073" y="669"/>
                    <a:pt x="2056" y="672"/>
                    <a:pt x="2056" y="681"/>
                  </a:cubicBezTo>
                  <a:cubicBezTo>
                    <a:pt x="2056" y="690"/>
                    <a:pt x="2082" y="691"/>
                    <a:pt x="2082" y="691"/>
                  </a:cubicBezTo>
                  <a:cubicBezTo>
                    <a:pt x="2066" y="697"/>
                    <a:pt x="2066" y="697"/>
                    <a:pt x="2066" y="697"/>
                  </a:cubicBezTo>
                  <a:cubicBezTo>
                    <a:pt x="2067" y="705"/>
                    <a:pt x="2067" y="705"/>
                    <a:pt x="2067" y="705"/>
                  </a:cubicBezTo>
                  <a:cubicBezTo>
                    <a:pt x="2072" y="708"/>
                    <a:pt x="2072" y="708"/>
                    <a:pt x="2072" y="708"/>
                  </a:cubicBezTo>
                  <a:cubicBezTo>
                    <a:pt x="2077" y="729"/>
                    <a:pt x="2077" y="729"/>
                    <a:pt x="2077" y="729"/>
                  </a:cubicBezTo>
                  <a:cubicBezTo>
                    <a:pt x="2067" y="750"/>
                    <a:pt x="2067" y="750"/>
                    <a:pt x="2067" y="750"/>
                  </a:cubicBezTo>
                  <a:cubicBezTo>
                    <a:pt x="2073" y="749"/>
                    <a:pt x="2078" y="748"/>
                    <a:pt x="2081" y="749"/>
                  </a:cubicBezTo>
                  <a:cubicBezTo>
                    <a:pt x="2086" y="752"/>
                    <a:pt x="2120" y="737"/>
                    <a:pt x="2120" y="737"/>
                  </a:cubicBezTo>
                  <a:cubicBezTo>
                    <a:pt x="2120" y="755"/>
                    <a:pt x="2120" y="755"/>
                    <a:pt x="2120" y="755"/>
                  </a:cubicBezTo>
                  <a:cubicBezTo>
                    <a:pt x="2120" y="755"/>
                    <a:pt x="2147" y="788"/>
                    <a:pt x="2159" y="797"/>
                  </a:cubicBezTo>
                  <a:cubicBezTo>
                    <a:pt x="2161" y="798"/>
                    <a:pt x="2162" y="799"/>
                    <a:pt x="2164" y="800"/>
                  </a:cubicBezTo>
                  <a:cubicBezTo>
                    <a:pt x="2166" y="768"/>
                    <a:pt x="2166" y="768"/>
                    <a:pt x="2166" y="768"/>
                  </a:cubicBezTo>
                  <a:cubicBezTo>
                    <a:pt x="2162" y="752"/>
                    <a:pt x="2162" y="752"/>
                    <a:pt x="2162" y="752"/>
                  </a:cubicBezTo>
                  <a:cubicBezTo>
                    <a:pt x="2162" y="752"/>
                    <a:pt x="2166" y="733"/>
                    <a:pt x="2168" y="726"/>
                  </a:cubicBezTo>
                  <a:cubicBezTo>
                    <a:pt x="2170" y="718"/>
                    <a:pt x="2173" y="681"/>
                    <a:pt x="2173" y="681"/>
                  </a:cubicBezTo>
                  <a:cubicBezTo>
                    <a:pt x="2173" y="681"/>
                    <a:pt x="2169" y="683"/>
                    <a:pt x="2158" y="676"/>
                  </a:cubicBezTo>
                  <a:cubicBezTo>
                    <a:pt x="2147" y="670"/>
                    <a:pt x="2174" y="652"/>
                    <a:pt x="2174" y="652"/>
                  </a:cubicBezTo>
                  <a:cubicBezTo>
                    <a:pt x="2174" y="652"/>
                    <a:pt x="2173" y="626"/>
                    <a:pt x="2171" y="611"/>
                  </a:cubicBezTo>
                  <a:cubicBezTo>
                    <a:pt x="2169" y="596"/>
                    <a:pt x="2177" y="574"/>
                    <a:pt x="2177" y="554"/>
                  </a:cubicBezTo>
                  <a:cubicBezTo>
                    <a:pt x="2177" y="538"/>
                    <a:pt x="2179" y="474"/>
                    <a:pt x="2179" y="454"/>
                  </a:cubicBezTo>
                  <a:close/>
                  <a:moveTo>
                    <a:pt x="228" y="446"/>
                  </a:moveTo>
                  <a:cubicBezTo>
                    <a:pt x="220" y="453"/>
                    <a:pt x="238" y="462"/>
                    <a:pt x="238" y="462"/>
                  </a:cubicBezTo>
                  <a:cubicBezTo>
                    <a:pt x="238" y="462"/>
                    <a:pt x="250" y="486"/>
                    <a:pt x="258" y="478"/>
                  </a:cubicBezTo>
                  <a:cubicBezTo>
                    <a:pt x="266" y="470"/>
                    <a:pt x="234" y="442"/>
                    <a:pt x="228" y="446"/>
                  </a:cubicBezTo>
                  <a:close/>
                  <a:moveTo>
                    <a:pt x="1691" y="739"/>
                  </a:moveTo>
                  <a:cubicBezTo>
                    <a:pt x="1701" y="745"/>
                    <a:pt x="1701" y="745"/>
                    <a:pt x="1701" y="745"/>
                  </a:cubicBezTo>
                  <a:cubicBezTo>
                    <a:pt x="1720" y="730"/>
                    <a:pt x="1720" y="730"/>
                    <a:pt x="1720" y="730"/>
                  </a:cubicBezTo>
                  <a:cubicBezTo>
                    <a:pt x="1720" y="730"/>
                    <a:pt x="1742" y="738"/>
                    <a:pt x="1742" y="716"/>
                  </a:cubicBezTo>
                  <a:cubicBezTo>
                    <a:pt x="1742" y="694"/>
                    <a:pt x="1691" y="720"/>
                    <a:pt x="1691" y="739"/>
                  </a:cubicBezTo>
                  <a:close/>
                  <a:moveTo>
                    <a:pt x="2068" y="714"/>
                  </a:moveTo>
                  <a:cubicBezTo>
                    <a:pt x="2067" y="713"/>
                    <a:pt x="2067" y="713"/>
                    <a:pt x="2067" y="713"/>
                  </a:cubicBezTo>
                  <a:cubicBezTo>
                    <a:pt x="2065" y="710"/>
                    <a:pt x="2056" y="702"/>
                    <a:pt x="2037" y="711"/>
                  </a:cubicBezTo>
                  <a:cubicBezTo>
                    <a:pt x="2015" y="721"/>
                    <a:pt x="2011" y="759"/>
                    <a:pt x="2011" y="759"/>
                  </a:cubicBezTo>
                  <a:cubicBezTo>
                    <a:pt x="2053" y="754"/>
                    <a:pt x="2053" y="754"/>
                    <a:pt x="2053" y="754"/>
                  </a:cubicBezTo>
                  <a:cubicBezTo>
                    <a:pt x="2053" y="754"/>
                    <a:pt x="2059" y="752"/>
                    <a:pt x="2066" y="750"/>
                  </a:cubicBezTo>
                  <a:cubicBezTo>
                    <a:pt x="2072" y="728"/>
                    <a:pt x="2072" y="728"/>
                    <a:pt x="2072" y="728"/>
                  </a:cubicBezTo>
                  <a:lnTo>
                    <a:pt x="2068" y="714"/>
                  </a:lnTo>
                  <a:close/>
                  <a:moveTo>
                    <a:pt x="1857" y="631"/>
                  </a:moveTo>
                  <a:cubicBezTo>
                    <a:pt x="1847" y="641"/>
                    <a:pt x="1847" y="641"/>
                    <a:pt x="1847" y="641"/>
                  </a:cubicBezTo>
                  <a:cubicBezTo>
                    <a:pt x="1849" y="676"/>
                    <a:pt x="1849" y="676"/>
                    <a:pt x="1849" y="676"/>
                  </a:cubicBezTo>
                  <a:cubicBezTo>
                    <a:pt x="1860" y="679"/>
                    <a:pt x="1860" y="679"/>
                    <a:pt x="1860" y="679"/>
                  </a:cubicBezTo>
                  <a:cubicBezTo>
                    <a:pt x="1859" y="666"/>
                    <a:pt x="1859" y="666"/>
                    <a:pt x="1859" y="666"/>
                  </a:cubicBezTo>
                  <a:cubicBezTo>
                    <a:pt x="1866" y="663"/>
                    <a:pt x="1866" y="663"/>
                    <a:pt x="1866" y="663"/>
                  </a:cubicBezTo>
                  <a:cubicBezTo>
                    <a:pt x="1865" y="648"/>
                    <a:pt x="1865" y="648"/>
                    <a:pt x="1865" y="648"/>
                  </a:cubicBezTo>
                  <a:cubicBezTo>
                    <a:pt x="1856" y="648"/>
                    <a:pt x="1856" y="648"/>
                    <a:pt x="1856" y="648"/>
                  </a:cubicBezTo>
                  <a:cubicBezTo>
                    <a:pt x="1868" y="628"/>
                    <a:pt x="1868" y="628"/>
                    <a:pt x="1868" y="628"/>
                  </a:cubicBezTo>
                  <a:cubicBezTo>
                    <a:pt x="1881" y="606"/>
                    <a:pt x="1881" y="606"/>
                    <a:pt x="1881" y="606"/>
                  </a:cubicBezTo>
                  <a:cubicBezTo>
                    <a:pt x="1862" y="610"/>
                    <a:pt x="1862" y="610"/>
                    <a:pt x="1862" y="610"/>
                  </a:cubicBezTo>
                  <a:lnTo>
                    <a:pt x="1857" y="631"/>
                  </a:lnTo>
                  <a:close/>
                  <a:moveTo>
                    <a:pt x="1427" y="403"/>
                  </a:moveTo>
                  <a:cubicBezTo>
                    <a:pt x="1427" y="403"/>
                    <a:pt x="1405" y="391"/>
                    <a:pt x="1398" y="394"/>
                  </a:cubicBezTo>
                  <a:cubicBezTo>
                    <a:pt x="1392" y="397"/>
                    <a:pt x="1389" y="406"/>
                    <a:pt x="1389" y="406"/>
                  </a:cubicBezTo>
                  <a:cubicBezTo>
                    <a:pt x="1396" y="420"/>
                    <a:pt x="1427" y="415"/>
                    <a:pt x="1427" y="415"/>
                  </a:cubicBezTo>
                  <a:cubicBezTo>
                    <a:pt x="1480" y="405"/>
                    <a:pt x="1480" y="405"/>
                    <a:pt x="1480" y="405"/>
                  </a:cubicBezTo>
                  <a:lnTo>
                    <a:pt x="1427" y="403"/>
                  </a:lnTo>
                  <a:close/>
                  <a:moveTo>
                    <a:pt x="879" y="696"/>
                  </a:moveTo>
                  <a:cubicBezTo>
                    <a:pt x="917" y="669"/>
                    <a:pt x="917" y="669"/>
                    <a:pt x="917" y="669"/>
                  </a:cubicBezTo>
                  <a:cubicBezTo>
                    <a:pt x="914" y="663"/>
                    <a:pt x="914" y="663"/>
                    <a:pt x="914" y="663"/>
                  </a:cubicBezTo>
                  <a:cubicBezTo>
                    <a:pt x="914" y="663"/>
                    <a:pt x="864" y="667"/>
                    <a:pt x="863" y="677"/>
                  </a:cubicBezTo>
                  <a:cubicBezTo>
                    <a:pt x="858" y="702"/>
                    <a:pt x="879" y="696"/>
                    <a:pt x="879" y="696"/>
                  </a:cubicBezTo>
                  <a:close/>
                  <a:moveTo>
                    <a:pt x="959" y="747"/>
                  </a:moveTo>
                  <a:cubicBezTo>
                    <a:pt x="949" y="747"/>
                    <a:pt x="933" y="747"/>
                    <a:pt x="933" y="747"/>
                  </a:cubicBezTo>
                  <a:cubicBezTo>
                    <a:pt x="930" y="766"/>
                    <a:pt x="930" y="766"/>
                    <a:pt x="930" y="766"/>
                  </a:cubicBezTo>
                  <a:cubicBezTo>
                    <a:pt x="930" y="766"/>
                    <a:pt x="940" y="794"/>
                    <a:pt x="953" y="783"/>
                  </a:cubicBezTo>
                  <a:cubicBezTo>
                    <a:pt x="966" y="773"/>
                    <a:pt x="969" y="747"/>
                    <a:pt x="959" y="747"/>
                  </a:cubicBezTo>
                  <a:close/>
                  <a:moveTo>
                    <a:pt x="475" y="622"/>
                  </a:moveTo>
                  <a:cubicBezTo>
                    <a:pt x="480" y="617"/>
                    <a:pt x="480" y="602"/>
                    <a:pt x="480" y="602"/>
                  </a:cubicBezTo>
                  <a:cubicBezTo>
                    <a:pt x="499" y="620"/>
                    <a:pt x="499" y="620"/>
                    <a:pt x="499" y="620"/>
                  </a:cubicBezTo>
                  <a:cubicBezTo>
                    <a:pt x="499" y="620"/>
                    <a:pt x="507" y="597"/>
                    <a:pt x="507" y="581"/>
                  </a:cubicBezTo>
                  <a:cubicBezTo>
                    <a:pt x="507" y="565"/>
                    <a:pt x="516" y="521"/>
                    <a:pt x="516" y="521"/>
                  </a:cubicBezTo>
                  <a:cubicBezTo>
                    <a:pt x="516" y="521"/>
                    <a:pt x="507" y="516"/>
                    <a:pt x="507" y="506"/>
                  </a:cubicBezTo>
                  <a:cubicBezTo>
                    <a:pt x="507" y="497"/>
                    <a:pt x="526" y="482"/>
                    <a:pt x="520" y="477"/>
                  </a:cubicBezTo>
                  <a:cubicBezTo>
                    <a:pt x="515" y="472"/>
                    <a:pt x="510" y="468"/>
                    <a:pt x="510" y="468"/>
                  </a:cubicBezTo>
                  <a:cubicBezTo>
                    <a:pt x="502" y="437"/>
                    <a:pt x="502" y="437"/>
                    <a:pt x="502" y="437"/>
                  </a:cubicBezTo>
                  <a:cubicBezTo>
                    <a:pt x="474" y="438"/>
                    <a:pt x="474" y="438"/>
                    <a:pt x="474" y="438"/>
                  </a:cubicBezTo>
                  <a:cubicBezTo>
                    <a:pt x="474" y="438"/>
                    <a:pt x="478" y="420"/>
                    <a:pt x="471" y="416"/>
                  </a:cubicBezTo>
                  <a:cubicBezTo>
                    <a:pt x="464" y="412"/>
                    <a:pt x="450" y="413"/>
                    <a:pt x="450" y="413"/>
                  </a:cubicBezTo>
                  <a:cubicBezTo>
                    <a:pt x="444" y="366"/>
                    <a:pt x="444" y="366"/>
                    <a:pt x="444" y="366"/>
                  </a:cubicBezTo>
                  <a:cubicBezTo>
                    <a:pt x="444" y="366"/>
                    <a:pt x="402" y="370"/>
                    <a:pt x="399" y="357"/>
                  </a:cubicBezTo>
                  <a:cubicBezTo>
                    <a:pt x="396" y="344"/>
                    <a:pt x="410" y="328"/>
                    <a:pt x="410" y="328"/>
                  </a:cubicBezTo>
                  <a:cubicBezTo>
                    <a:pt x="394" y="326"/>
                    <a:pt x="394" y="326"/>
                    <a:pt x="394" y="326"/>
                  </a:cubicBezTo>
                  <a:cubicBezTo>
                    <a:pt x="394" y="326"/>
                    <a:pt x="419" y="297"/>
                    <a:pt x="410" y="289"/>
                  </a:cubicBezTo>
                  <a:cubicBezTo>
                    <a:pt x="400" y="281"/>
                    <a:pt x="358" y="300"/>
                    <a:pt x="358" y="300"/>
                  </a:cubicBezTo>
                  <a:cubicBezTo>
                    <a:pt x="358" y="300"/>
                    <a:pt x="383" y="276"/>
                    <a:pt x="375" y="272"/>
                  </a:cubicBezTo>
                  <a:cubicBezTo>
                    <a:pt x="367" y="268"/>
                    <a:pt x="343" y="264"/>
                    <a:pt x="343" y="264"/>
                  </a:cubicBezTo>
                  <a:cubicBezTo>
                    <a:pt x="343" y="264"/>
                    <a:pt x="354" y="256"/>
                    <a:pt x="340" y="238"/>
                  </a:cubicBezTo>
                  <a:cubicBezTo>
                    <a:pt x="327" y="221"/>
                    <a:pt x="304" y="220"/>
                    <a:pt x="304" y="220"/>
                  </a:cubicBezTo>
                  <a:cubicBezTo>
                    <a:pt x="304" y="220"/>
                    <a:pt x="298" y="200"/>
                    <a:pt x="291" y="192"/>
                  </a:cubicBezTo>
                  <a:cubicBezTo>
                    <a:pt x="284" y="184"/>
                    <a:pt x="275" y="190"/>
                    <a:pt x="275" y="190"/>
                  </a:cubicBezTo>
                  <a:cubicBezTo>
                    <a:pt x="279" y="205"/>
                    <a:pt x="279" y="205"/>
                    <a:pt x="279" y="205"/>
                  </a:cubicBezTo>
                  <a:cubicBezTo>
                    <a:pt x="279" y="205"/>
                    <a:pt x="254" y="186"/>
                    <a:pt x="248" y="180"/>
                  </a:cubicBezTo>
                  <a:cubicBezTo>
                    <a:pt x="243" y="173"/>
                    <a:pt x="232" y="146"/>
                    <a:pt x="232" y="146"/>
                  </a:cubicBezTo>
                  <a:cubicBezTo>
                    <a:pt x="232" y="146"/>
                    <a:pt x="202" y="125"/>
                    <a:pt x="188" y="113"/>
                  </a:cubicBezTo>
                  <a:cubicBezTo>
                    <a:pt x="175" y="101"/>
                    <a:pt x="152" y="82"/>
                    <a:pt x="152" y="82"/>
                  </a:cubicBezTo>
                  <a:cubicBezTo>
                    <a:pt x="152" y="82"/>
                    <a:pt x="156" y="77"/>
                    <a:pt x="151" y="72"/>
                  </a:cubicBezTo>
                  <a:cubicBezTo>
                    <a:pt x="146" y="66"/>
                    <a:pt x="139" y="60"/>
                    <a:pt x="139" y="60"/>
                  </a:cubicBezTo>
                  <a:cubicBezTo>
                    <a:pt x="139" y="60"/>
                    <a:pt x="128" y="41"/>
                    <a:pt x="120" y="34"/>
                  </a:cubicBezTo>
                  <a:cubicBezTo>
                    <a:pt x="112" y="28"/>
                    <a:pt x="104" y="29"/>
                    <a:pt x="104" y="29"/>
                  </a:cubicBezTo>
                  <a:cubicBezTo>
                    <a:pt x="47" y="25"/>
                    <a:pt x="47" y="25"/>
                    <a:pt x="47" y="25"/>
                  </a:cubicBezTo>
                  <a:cubicBezTo>
                    <a:pt x="47" y="25"/>
                    <a:pt x="27" y="0"/>
                    <a:pt x="16" y="2"/>
                  </a:cubicBezTo>
                  <a:cubicBezTo>
                    <a:pt x="6" y="5"/>
                    <a:pt x="0" y="29"/>
                    <a:pt x="7" y="41"/>
                  </a:cubicBezTo>
                  <a:cubicBezTo>
                    <a:pt x="14" y="53"/>
                    <a:pt x="88" y="121"/>
                    <a:pt x="88" y="121"/>
                  </a:cubicBezTo>
                  <a:cubicBezTo>
                    <a:pt x="111" y="157"/>
                    <a:pt x="111" y="157"/>
                    <a:pt x="111" y="157"/>
                  </a:cubicBezTo>
                  <a:cubicBezTo>
                    <a:pt x="119" y="154"/>
                    <a:pt x="119" y="154"/>
                    <a:pt x="119" y="154"/>
                  </a:cubicBezTo>
                  <a:cubicBezTo>
                    <a:pt x="119" y="154"/>
                    <a:pt x="122" y="178"/>
                    <a:pt x="128" y="184"/>
                  </a:cubicBezTo>
                  <a:cubicBezTo>
                    <a:pt x="135" y="189"/>
                    <a:pt x="170" y="202"/>
                    <a:pt x="178" y="218"/>
                  </a:cubicBezTo>
                  <a:cubicBezTo>
                    <a:pt x="186" y="234"/>
                    <a:pt x="194" y="266"/>
                    <a:pt x="194" y="266"/>
                  </a:cubicBezTo>
                  <a:cubicBezTo>
                    <a:pt x="194" y="266"/>
                    <a:pt x="191" y="301"/>
                    <a:pt x="199" y="301"/>
                  </a:cubicBezTo>
                  <a:cubicBezTo>
                    <a:pt x="207" y="301"/>
                    <a:pt x="219" y="293"/>
                    <a:pt x="222" y="302"/>
                  </a:cubicBezTo>
                  <a:cubicBezTo>
                    <a:pt x="224" y="312"/>
                    <a:pt x="230" y="328"/>
                    <a:pt x="230" y="328"/>
                  </a:cubicBezTo>
                  <a:cubicBezTo>
                    <a:pt x="255" y="349"/>
                    <a:pt x="255" y="349"/>
                    <a:pt x="255" y="349"/>
                  </a:cubicBezTo>
                  <a:cubicBezTo>
                    <a:pt x="254" y="365"/>
                    <a:pt x="254" y="365"/>
                    <a:pt x="254" y="365"/>
                  </a:cubicBezTo>
                  <a:cubicBezTo>
                    <a:pt x="275" y="408"/>
                    <a:pt x="275" y="408"/>
                    <a:pt x="275" y="408"/>
                  </a:cubicBezTo>
                  <a:cubicBezTo>
                    <a:pt x="275" y="408"/>
                    <a:pt x="268" y="421"/>
                    <a:pt x="278" y="436"/>
                  </a:cubicBezTo>
                  <a:cubicBezTo>
                    <a:pt x="287" y="450"/>
                    <a:pt x="296" y="453"/>
                    <a:pt x="296" y="453"/>
                  </a:cubicBezTo>
                  <a:cubicBezTo>
                    <a:pt x="296" y="453"/>
                    <a:pt x="306" y="477"/>
                    <a:pt x="314" y="485"/>
                  </a:cubicBezTo>
                  <a:cubicBezTo>
                    <a:pt x="322" y="493"/>
                    <a:pt x="343" y="501"/>
                    <a:pt x="343" y="501"/>
                  </a:cubicBezTo>
                  <a:cubicBezTo>
                    <a:pt x="343" y="526"/>
                    <a:pt x="343" y="526"/>
                    <a:pt x="343" y="526"/>
                  </a:cubicBezTo>
                  <a:cubicBezTo>
                    <a:pt x="343" y="526"/>
                    <a:pt x="392" y="568"/>
                    <a:pt x="395" y="572"/>
                  </a:cubicBezTo>
                  <a:cubicBezTo>
                    <a:pt x="398" y="576"/>
                    <a:pt x="411" y="577"/>
                    <a:pt x="411" y="577"/>
                  </a:cubicBezTo>
                  <a:cubicBezTo>
                    <a:pt x="411" y="577"/>
                    <a:pt x="422" y="602"/>
                    <a:pt x="430" y="606"/>
                  </a:cubicBezTo>
                  <a:cubicBezTo>
                    <a:pt x="438" y="610"/>
                    <a:pt x="440" y="632"/>
                    <a:pt x="444" y="630"/>
                  </a:cubicBezTo>
                  <a:cubicBezTo>
                    <a:pt x="448" y="629"/>
                    <a:pt x="442" y="608"/>
                    <a:pt x="447" y="605"/>
                  </a:cubicBezTo>
                  <a:cubicBezTo>
                    <a:pt x="452" y="602"/>
                    <a:pt x="470" y="628"/>
                    <a:pt x="475" y="622"/>
                  </a:cubicBezTo>
                  <a:close/>
                  <a:moveTo>
                    <a:pt x="1416" y="798"/>
                  </a:moveTo>
                  <a:cubicBezTo>
                    <a:pt x="1409" y="784"/>
                    <a:pt x="1409" y="784"/>
                    <a:pt x="1409" y="784"/>
                  </a:cubicBezTo>
                  <a:cubicBezTo>
                    <a:pt x="1404" y="785"/>
                    <a:pt x="1397" y="786"/>
                    <a:pt x="1392" y="790"/>
                  </a:cubicBezTo>
                  <a:cubicBezTo>
                    <a:pt x="1380" y="797"/>
                    <a:pt x="1380" y="812"/>
                    <a:pt x="1380" y="812"/>
                  </a:cubicBezTo>
                  <a:cubicBezTo>
                    <a:pt x="1380" y="812"/>
                    <a:pt x="1369" y="809"/>
                    <a:pt x="1357" y="820"/>
                  </a:cubicBezTo>
                  <a:cubicBezTo>
                    <a:pt x="1345" y="832"/>
                    <a:pt x="1322" y="855"/>
                    <a:pt x="1342" y="870"/>
                  </a:cubicBezTo>
                  <a:cubicBezTo>
                    <a:pt x="1353" y="879"/>
                    <a:pt x="1393" y="842"/>
                    <a:pt x="1408" y="828"/>
                  </a:cubicBezTo>
                  <a:cubicBezTo>
                    <a:pt x="1405" y="827"/>
                    <a:pt x="1402" y="823"/>
                    <a:pt x="1406" y="817"/>
                  </a:cubicBezTo>
                  <a:cubicBezTo>
                    <a:pt x="1412" y="805"/>
                    <a:pt x="1416" y="798"/>
                    <a:pt x="1416" y="798"/>
                  </a:cubicBezTo>
                  <a:close/>
                  <a:moveTo>
                    <a:pt x="921" y="753"/>
                  </a:moveTo>
                  <a:cubicBezTo>
                    <a:pt x="921" y="734"/>
                    <a:pt x="894" y="734"/>
                    <a:pt x="879" y="731"/>
                  </a:cubicBezTo>
                  <a:cubicBezTo>
                    <a:pt x="865" y="728"/>
                    <a:pt x="866" y="759"/>
                    <a:pt x="866" y="759"/>
                  </a:cubicBezTo>
                  <a:cubicBezTo>
                    <a:pt x="841" y="740"/>
                    <a:pt x="841" y="740"/>
                    <a:pt x="841" y="740"/>
                  </a:cubicBezTo>
                  <a:cubicBezTo>
                    <a:pt x="841" y="740"/>
                    <a:pt x="847" y="724"/>
                    <a:pt x="847" y="700"/>
                  </a:cubicBezTo>
                  <a:cubicBezTo>
                    <a:pt x="847" y="677"/>
                    <a:pt x="799" y="686"/>
                    <a:pt x="799" y="686"/>
                  </a:cubicBezTo>
                  <a:cubicBezTo>
                    <a:pt x="778" y="674"/>
                    <a:pt x="778" y="674"/>
                    <a:pt x="778" y="674"/>
                  </a:cubicBezTo>
                  <a:cubicBezTo>
                    <a:pt x="775" y="659"/>
                    <a:pt x="775" y="659"/>
                    <a:pt x="775" y="659"/>
                  </a:cubicBezTo>
                  <a:cubicBezTo>
                    <a:pt x="749" y="659"/>
                    <a:pt x="749" y="659"/>
                    <a:pt x="749" y="659"/>
                  </a:cubicBezTo>
                  <a:cubicBezTo>
                    <a:pt x="749" y="659"/>
                    <a:pt x="744" y="680"/>
                    <a:pt x="744" y="684"/>
                  </a:cubicBezTo>
                  <a:cubicBezTo>
                    <a:pt x="744" y="688"/>
                    <a:pt x="709" y="677"/>
                    <a:pt x="693" y="674"/>
                  </a:cubicBezTo>
                  <a:cubicBezTo>
                    <a:pt x="677" y="671"/>
                    <a:pt x="648" y="672"/>
                    <a:pt x="648" y="672"/>
                  </a:cubicBezTo>
                  <a:cubicBezTo>
                    <a:pt x="648" y="672"/>
                    <a:pt x="630" y="650"/>
                    <a:pt x="621" y="640"/>
                  </a:cubicBezTo>
                  <a:cubicBezTo>
                    <a:pt x="612" y="630"/>
                    <a:pt x="598" y="641"/>
                    <a:pt x="598" y="641"/>
                  </a:cubicBezTo>
                  <a:cubicBezTo>
                    <a:pt x="598" y="641"/>
                    <a:pt x="573" y="628"/>
                    <a:pt x="567" y="627"/>
                  </a:cubicBezTo>
                  <a:cubicBezTo>
                    <a:pt x="561" y="625"/>
                    <a:pt x="535" y="624"/>
                    <a:pt x="535" y="624"/>
                  </a:cubicBezTo>
                  <a:cubicBezTo>
                    <a:pt x="535" y="624"/>
                    <a:pt x="524" y="615"/>
                    <a:pt x="511" y="619"/>
                  </a:cubicBezTo>
                  <a:cubicBezTo>
                    <a:pt x="498" y="624"/>
                    <a:pt x="498" y="652"/>
                    <a:pt x="491" y="656"/>
                  </a:cubicBezTo>
                  <a:cubicBezTo>
                    <a:pt x="483" y="661"/>
                    <a:pt x="469" y="666"/>
                    <a:pt x="472" y="677"/>
                  </a:cubicBezTo>
                  <a:cubicBezTo>
                    <a:pt x="496" y="672"/>
                    <a:pt x="496" y="672"/>
                    <a:pt x="496" y="672"/>
                  </a:cubicBezTo>
                  <a:cubicBezTo>
                    <a:pt x="527" y="675"/>
                    <a:pt x="527" y="675"/>
                    <a:pt x="527" y="675"/>
                  </a:cubicBezTo>
                  <a:cubicBezTo>
                    <a:pt x="527" y="675"/>
                    <a:pt x="504" y="688"/>
                    <a:pt x="514" y="699"/>
                  </a:cubicBezTo>
                  <a:cubicBezTo>
                    <a:pt x="524" y="709"/>
                    <a:pt x="558" y="691"/>
                    <a:pt x="558" y="691"/>
                  </a:cubicBezTo>
                  <a:cubicBezTo>
                    <a:pt x="558" y="691"/>
                    <a:pt x="608" y="718"/>
                    <a:pt x="623" y="722"/>
                  </a:cubicBezTo>
                  <a:cubicBezTo>
                    <a:pt x="637" y="727"/>
                    <a:pt x="687" y="728"/>
                    <a:pt x="705" y="728"/>
                  </a:cubicBezTo>
                  <a:cubicBezTo>
                    <a:pt x="722" y="728"/>
                    <a:pt x="727" y="747"/>
                    <a:pt x="737" y="756"/>
                  </a:cubicBezTo>
                  <a:cubicBezTo>
                    <a:pt x="747" y="765"/>
                    <a:pt x="780" y="771"/>
                    <a:pt x="794" y="772"/>
                  </a:cubicBezTo>
                  <a:cubicBezTo>
                    <a:pt x="809" y="774"/>
                    <a:pt x="815" y="771"/>
                    <a:pt x="837" y="772"/>
                  </a:cubicBezTo>
                  <a:cubicBezTo>
                    <a:pt x="859" y="774"/>
                    <a:pt x="877" y="801"/>
                    <a:pt x="885" y="806"/>
                  </a:cubicBezTo>
                  <a:cubicBezTo>
                    <a:pt x="894" y="810"/>
                    <a:pt x="904" y="801"/>
                    <a:pt x="904" y="801"/>
                  </a:cubicBezTo>
                  <a:cubicBezTo>
                    <a:pt x="904" y="801"/>
                    <a:pt x="921" y="810"/>
                    <a:pt x="921" y="804"/>
                  </a:cubicBezTo>
                  <a:cubicBezTo>
                    <a:pt x="921" y="793"/>
                    <a:pt x="910" y="778"/>
                    <a:pt x="910" y="778"/>
                  </a:cubicBezTo>
                  <a:cubicBezTo>
                    <a:pt x="910" y="778"/>
                    <a:pt x="921" y="772"/>
                    <a:pt x="921" y="753"/>
                  </a:cubicBezTo>
                  <a:close/>
                  <a:moveTo>
                    <a:pt x="1004" y="484"/>
                  </a:moveTo>
                  <a:cubicBezTo>
                    <a:pt x="1004" y="484"/>
                    <a:pt x="1025" y="467"/>
                    <a:pt x="1031" y="460"/>
                  </a:cubicBezTo>
                  <a:cubicBezTo>
                    <a:pt x="1036" y="453"/>
                    <a:pt x="1055" y="403"/>
                    <a:pt x="1055" y="403"/>
                  </a:cubicBezTo>
                  <a:cubicBezTo>
                    <a:pt x="1055" y="403"/>
                    <a:pt x="1037" y="401"/>
                    <a:pt x="1034" y="388"/>
                  </a:cubicBezTo>
                  <a:cubicBezTo>
                    <a:pt x="1031" y="376"/>
                    <a:pt x="1037" y="361"/>
                    <a:pt x="1042" y="348"/>
                  </a:cubicBezTo>
                  <a:cubicBezTo>
                    <a:pt x="1048" y="334"/>
                    <a:pt x="1070" y="336"/>
                    <a:pt x="1083" y="334"/>
                  </a:cubicBezTo>
                  <a:cubicBezTo>
                    <a:pt x="1095" y="333"/>
                    <a:pt x="1102" y="309"/>
                    <a:pt x="1101" y="301"/>
                  </a:cubicBezTo>
                  <a:cubicBezTo>
                    <a:pt x="1099" y="293"/>
                    <a:pt x="1079" y="301"/>
                    <a:pt x="1079" y="301"/>
                  </a:cubicBezTo>
                  <a:cubicBezTo>
                    <a:pt x="1079" y="301"/>
                    <a:pt x="1076" y="288"/>
                    <a:pt x="1088" y="275"/>
                  </a:cubicBezTo>
                  <a:cubicBezTo>
                    <a:pt x="1101" y="264"/>
                    <a:pt x="1128" y="269"/>
                    <a:pt x="1139" y="271"/>
                  </a:cubicBezTo>
                  <a:cubicBezTo>
                    <a:pt x="1150" y="274"/>
                    <a:pt x="1150" y="257"/>
                    <a:pt x="1150" y="257"/>
                  </a:cubicBezTo>
                  <a:cubicBezTo>
                    <a:pt x="1124" y="235"/>
                    <a:pt x="1124" y="235"/>
                    <a:pt x="1124" y="235"/>
                  </a:cubicBezTo>
                  <a:cubicBezTo>
                    <a:pt x="1124" y="208"/>
                    <a:pt x="1124" y="208"/>
                    <a:pt x="1124" y="208"/>
                  </a:cubicBezTo>
                  <a:cubicBezTo>
                    <a:pt x="1124" y="208"/>
                    <a:pt x="1105" y="207"/>
                    <a:pt x="1105" y="199"/>
                  </a:cubicBezTo>
                  <a:cubicBezTo>
                    <a:pt x="1105" y="191"/>
                    <a:pt x="1117" y="179"/>
                    <a:pt x="1116" y="168"/>
                  </a:cubicBezTo>
                  <a:cubicBezTo>
                    <a:pt x="1115" y="156"/>
                    <a:pt x="1082" y="153"/>
                    <a:pt x="1082" y="153"/>
                  </a:cubicBezTo>
                  <a:cubicBezTo>
                    <a:pt x="1093" y="135"/>
                    <a:pt x="1093" y="135"/>
                    <a:pt x="1093" y="135"/>
                  </a:cubicBezTo>
                  <a:cubicBezTo>
                    <a:pt x="1082" y="130"/>
                    <a:pt x="1082" y="130"/>
                    <a:pt x="1082" y="130"/>
                  </a:cubicBezTo>
                  <a:cubicBezTo>
                    <a:pt x="1086" y="110"/>
                    <a:pt x="1086" y="110"/>
                    <a:pt x="1086" y="110"/>
                  </a:cubicBezTo>
                  <a:cubicBezTo>
                    <a:pt x="1078" y="99"/>
                    <a:pt x="1078" y="99"/>
                    <a:pt x="1078" y="99"/>
                  </a:cubicBezTo>
                  <a:cubicBezTo>
                    <a:pt x="1070" y="92"/>
                    <a:pt x="1051" y="75"/>
                    <a:pt x="1047" y="75"/>
                  </a:cubicBezTo>
                  <a:cubicBezTo>
                    <a:pt x="1043" y="74"/>
                    <a:pt x="1002" y="73"/>
                    <a:pt x="987" y="74"/>
                  </a:cubicBezTo>
                  <a:cubicBezTo>
                    <a:pt x="973" y="75"/>
                    <a:pt x="980" y="97"/>
                    <a:pt x="978" y="113"/>
                  </a:cubicBezTo>
                  <a:cubicBezTo>
                    <a:pt x="977" y="129"/>
                    <a:pt x="968" y="144"/>
                    <a:pt x="968" y="144"/>
                  </a:cubicBezTo>
                  <a:cubicBezTo>
                    <a:pt x="968" y="144"/>
                    <a:pt x="961" y="143"/>
                    <a:pt x="955" y="152"/>
                  </a:cubicBezTo>
                  <a:cubicBezTo>
                    <a:pt x="948" y="161"/>
                    <a:pt x="960" y="177"/>
                    <a:pt x="960" y="177"/>
                  </a:cubicBezTo>
                  <a:cubicBezTo>
                    <a:pt x="938" y="196"/>
                    <a:pt x="938" y="196"/>
                    <a:pt x="938" y="196"/>
                  </a:cubicBezTo>
                  <a:cubicBezTo>
                    <a:pt x="939" y="208"/>
                    <a:pt x="939" y="208"/>
                    <a:pt x="939" y="208"/>
                  </a:cubicBezTo>
                  <a:cubicBezTo>
                    <a:pt x="922" y="231"/>
                    <a:pt x="922" y="231"/>
                    <a:pt x="922" y="231"/>
                  </a:cubicBezTo>
                  <a:cubicBezTo>
                    <a:pt x="906" y="231"/>
                    <a:pt x="906" y="231"/>
                    <a:pt x="906" y="231"/>
                  </a:cubicBezTo>
                  <a:cubicBezTo>
                    <a:pt x="906" y="231"/>
                    <a:pt x="888" y="244"/>
                    <a:pt x="885" y="244"/>
                  </a:cubicBezTo>
                  <a:cubicBezTo>
                    <a:pt x="882" y="245"/>
                    <a:pt x="857" y="229"/>
                    <a:pt x="853" y="227"/>
                  </a:cubicBezTo>
                  <a:cubicBezTo>
                    <a:pt x="849" y="224"/>
                    <a:pt x="824" y="227"/>
                    <a:pt x="824" y="227"/>
                  </a:cubicBezTo>
                  <a:cubicBezTo>
                    <a:pt x="824" y="227"/>
                    <a:pt x="811" y="248"/>
                    <a:pt x="801" y="254"/>
                  </a:cubicBezTo>
                  <a:cubicBezTo>
                    <a:pt x="791" y="260"/>
                    <a:pt x="778" y="251"/>
                    <a:pt x="764" y="251"/>
                  </a:cubicBezTo>
                  <a:cubicBezTo>
                    <a:pt x="749" y="251"/>
                    <a:pt x="750" y="259"/>
                    <a:pt x="746" y="261"/>
                  </a:cubicBezTo>
                  <a:cubicBezTo>
                    <a:pt x="742" y="264"/>
                    <a:pt x="720" y="256"/>
                    <a:pt x="712" y="247"/>
                  </a:cubicBezTo>
                  <a:cubicBezTo>
                    <a:pt x="708" y="243"/>
                    <a:pt x="706" y="237"/>
                    <a:pt x="703" y="231"/>
                  </a:cubicBezTo>
                  <a:cubicBezTo>
                    <a:pt x="703" y="231"/>
                    <a:pt x="703" y="231"/>
                    <a:pt x="703" y="231"/>
                  </a:cubicBezTo>
                  <a:cubicBezTo>
                    <a:pt x="703" y="231"/>
                    <a:pt x="684" y="213"/>
                    <a:pt x="671" y="227"/>
                  </a:cubicBezTo>
                  <a:cubicBezTo>
                    <a:pt x="657" y="242"/>
                    <a:pt x="650" y="278"/>
                    <a:pt x="650" y="278"/>
                  </a:cubicBezTo>
                  <a:cubicBezTo>
                    <a:pt x="666" y="300"/>
                    <a:pt x="666" y="300"/>
                    <a:pt x="666" y="300"/>
                  </a:cubicBezTo>
                  <a:cubicBezTo>
                    <a:pt x="673" y="335"/>
                    <a:pt x="673" y="335"/>
                    <a:pt x="673" y="335"/>
                  </a:cubicBezTo>
                  <a:cubicBezTo>
                    <a:pt x="704" y="353"/>
                    <a:pt x="704" y="353"/>
                    <a:pt x="704" y="353"/>
                  </a:cubicBezTo>
                  <a:cubicBezTo>
                    <a:pt x="699" y="377"/>
                    <a:pt x="699" y="377"/>
                    <a:pt x="699" y="377"/>
                  </a:cubicBezTo>
                  <a:cubicBezTo>
                    <a:pt x="716" y="388"/>
                    <a:pt x="716" y="388"/>
                    <a:pt x="716" y="388"/>
                  </a:cubicBezTo>
                  <a:cubicBezTo>
                    <a:pt x="705" y="407"/>
                    <a:pt x="705" y="407"/>
                    <a:pt x="705" y="407"/>
                  </a:cubicBezTo>
                  <a:cubicBezTo>
                    <a:pt x="718" y="425"/>
                    <a:pt x="718" y="425"/>
                    <a:pt x="718" y="425"/>
                  </a:cubicBezTo>
                  <a:cubicBezTo>
                    <a:pt x="707" y="432"/>
                    <a:pt x="707" y="432"/>
                    <a:pt x="707" y="432"/>
                  </a:cubicBezTo>
                  <a:cubicBezTo>
                    <a:pt x="717" y="470"/>
                    <a:pt x="717" y="470"/>
                    <a:pt x="717" y="470"/>
                  </a:cubicBezTo>
                  <a:cubicBezTo>
                    <a:pt x="745" y="466"/>
                    <a:pt x="745" y="466"/>
                    <a:pt x="745" y="466"/>
                  </a:cubicBezTo>
                  <a:cubicBezTo>
                    <a:pt x="765" y="473"/>
                    <a:pt x="765" y="473"/>
                    <a:pt x="765" y="473"/>
                  </a:cubicBezTo>
                  <a:cubicBezTo>
                    <a:pt x="765" y="473"/>
                    <a:pt x="777" y="451"/>
                    <a:pt x="789" y="451"/>
                  </a:cubicBezTo>
                  <a:cubicBezTo>
                    <a:pt x="801" y="451"/>
                    <a:pt x="789" y="483"/>
                    <a:pt x="801" y="493"/>
                  </a:cubicBezTo>
                  <a:cubicBezTo>
                    <a:pt x="812" y="502"/>
                    <a:pt x="822" y="472"/>
                    <a:pt x="822" y="472"/>
                  </a:cubicBezTo>
                  <a:cubicBezTo>
                    <a:pt x="840" y="484"/>
                    <a:pt x="840" y="484"/>
                    <a:pt x="840" y="484"/>
                  </a:cubicBezTo>
                  <a:cubicBezTo>
                    <a:pt x="840" y="484"/>
                    <a:pt x="856" y="470"/>
                    <a:pt x="865" y="470"/>
                  </a:cubicBezTo>
                  <a:cubicBezTo>
                    <a:pt x="874" y="469"/>
                    <a:pt x="868" y="495"/>
                    <a:pt x="878" y="498"/>
                  </a:cubicBezTo>
                  <a:cubicBezTo>
                    <a:pt x="888" y="502"/>
                    <a:pt x="919" y="486"/>
                    <a:pt x="935" y="489"/>
                  </a:cubicBezTo>
                  <a:cubicBezTo>
                    <a:pt x="951" y="493"/>
                    <a:pt x="936" y="542"/>
                    <a:pt x="936" y="542"/>
                  </a:cubicBezTo>
                  <a:cubicBezTo>
                    <a:pt x="936" y="542"/>
                    <a:pt x="950" y="538"/>
                    <a:pt x="966" y="531"/>
                  </a:cubicBezTo>
                  <a:cubicBezTo>
                    <a:pt x="982" y="523"/>
                    <a:pt x="1004" y="484"/>
                    <a:pt x="1004" y="484"/>
                  </a:cubicBezTo>
                  <a:close/>
                  <a:moveTo>
                    <a:pt x="990" y="745"/>
                  </a:moveTo>
                  <a:cubicBezTo>
                    <a:pt x="980" y="744"/>
                    <a:pt x="974" y="755"/>
                    <a:pt x="974" y="755"/>
                  </a:cubicBezTo>
                  <a:cubicBezTo>
                    <a:pt x="974" y="755"/>
                    <a:pt x="991" y="770"/>
                    <a:pt x="1002" y="763"/>
                  </a:cubicBezTo>
                  <a:cubicBezTo>
                    <a:pt x="1012" y="755"/>
                    <a:pt x="1000" y="747"/>
                    <a:pt x="990" y="745"/>
                  </a:cubicBezTo>
                  <a:close/>
                  <a:moveTo>
                    <a:pt x="1148" y="822"/>
                  </a:moveTo>
                  <a:cubicBezTo>
                    <a:pt x="1125" y="815"/>
                    <a:pt x="1125" y="815"/>
                    <a:pt x="1125" y="815"/>
                  </a:cubicBezTo>
                  <a:cubicBezTo>
                    <a:pt x="1118" y="821"/>
                    <a:pt x="1119" y="822"/>
                    <a:pt x="1129" y="838"/>
                  </a:cubicBezTo>
                  <a:cubicBezTo>
                    <a:pt x="1140" y="854"/>
                    <a:pt x="1147" y="843"/>
                    <a:pt x="1160" y="843"/>
                  </a:cubicBezTo>
                  <a:cubicBezTo>
                    <a:pt x="1173" y="843"/>
                    <a:pt x="1163" y="852"/>
                    <a:pt x="1173" y="862"/>
                  </a:cubicBezTo>
                  <a:cubicBezTo>
                    <a:pt x="1184" y="872"/>
                    <a:pt x="1204" y="863"/>
                    <a:pt x="1204" y="863"/>
                  </a:cubicBezTo>
                  <a:cubicBezTo>
                    <a:pt x="1204" y="863"/>
                    <a:pt x="1200" y="844"/>
                    <a:pt x="1187" y="827"/>
                  </a:cubicBezTo>
                  <a:cubicBezTo>
                    <a:pt x="1173" y="809"/>
                    <a:pt x="1148" y="822"/>
                    <a:pt x="1148" y="822"/>
                  </a:cubicBezTo>
                  <a:close/>
                  <a:moveTo>
                    <a:pt x="1312" y="751"/>
                  </a:moveTo>
                  <a:cubicBezTo>
                    <a:pt x="1293" y="767"/>
                    <a:pt x="1293" y="767"/>
                    <a:pt x="1293" y="767"/>
                  </a:cubicBezTo>
                  <a:cubicBezTo>
                    <a:pt x="1293" y="767"/>
                    <a:pt x="1282" y="755"/>
                    <a:pt x="1271" y="756"/>
                  </a:cubicBezTo>
                  <a:cubicBezTo>
                    <a:pt x="1261" y="758"/>
                    <a:pt x="1249" y="771"/>
                    <a:pt x="1249" y="771"/>
                  </a:cubicBezTo>
                  <a:cubicBezTo>
                    <a:pt x="1249" y="771"/>
                    <a:pt x="1239" y="745"/>
                    <a:pt x="1221" y="748"/>
                  </a:cubicBezTo>
                  <a:cubicBezTo>
                    <a:pt x="1204" y="751"/>
                    <a:pt x="1182" y="777"/>
                    <a:pt x="1182" y="777"/>
                  </a:cubicBezTo>
                  <a:cubicBezTo>
                    <a:pt x="1158" y="775"/>
                    <a:pt x="1158" y="775"/>
                    <a:pt x="1158" y="775"/>
                  </a:cubicBezTo>
                  <a:cubicBezTo>
                    <a:pt x="1151" y="787"/>
                    <a:pt x="1151" y="787"/>
                    <a:pt x="1151" y="787"/>
                  </a:cubicBezTo>
                  <a:cubicBezTo>
                    <a:pt x="1167" y="784"/>
                    <a:pt x="1167" y="784"/>
                    <a:pt x="1167" y="784"/>
                  </a:cubicBezTo>
                  <a:cubicBezTo>
                    <a:pt x="1167" y="784"/>
                    <a:pt x="1179" y="790"/>
                    <a:pt x="1191" y="795"/>
                  </a:cubicBezTo>
                  <a:cubicBezTo>
                    <a:pt x="1202" y="799"/>
                    <a:pt x="1214" y="781"/>
                    <a:pt x="1214" y="781"/>
                  </a:cubicBezTo>
                  <a:cubicBezTo>
                    <a:pt x="1276" y="780"/>
                    <a:pt x="1276" y="780"/>
                    <a:pt x="1276" y="780"/>
                  </a:cubicBezTo>
                  <a:cubicBezTo>
                    <a:pt x="1308" y="775"/>
                    <a:pt x="1308" y="775"/>
                    <a:pt x="1308" y="775"/>
                  </a:cubicBezTo>
                  <a:cubicBezTo>
                    <a:pt x="1334" y="752"/>
                    <a:pt x="1334" y="752"/>
                    <a:pt x="1334" y="752"/>
                  </a:cubicBezTo>
                  <a:cubicBezTo>
                    <a:pt x="1333" y="742"/>
                    <a:pt x="1333" y="742"/>
                    <a:pt x="1333" y="742"/>
                  </a:cubicBezTo>
                  <a:lnTo>
                    <a:pt x="1312" y="751"/>
                  </a:lnTo>
                  <a:close/>
                  <a:moveTo>
                    <a:pt x="1056" y="774"/>
                  </a:moveTo>
                  <a:cubicBezTo>
                    <a:pt x="1056" y="774"/>
                    <a:pt x="1042" y="759"/>
                    <a:pt x="1034" y="761"/>
                  </a:cubicBezTo>
                  <a:cubicBezTo>
                    <a:pt x="1025" y="762"/>
                    <a:pt x="1006" y="791"/>
                    <a:pt x="1006" y="791"/>
                  </a:cubicBezTo>
                  <a:cubicBezTo>
                    <a:pt x="1041" y="796"/>
                    <a:pt x="1041" y="796"/>
                    <a:pt x="1041" y="796"/>
                  </a:cubicBezTo>
                  <a:cubicBezTo>
                    <a:pt x="1042" y="810"/>
                    <a:pt x="1042" y="810"/>
                    <a:pt x="1042" y="810"/>
                  </a:cubicBezTo>
                  <a:cubicBezTo>
                    <a:pt x="1057" y="808"/>
                    <a:pt x="1057" y="808"/>
                    <a:pt x="1057" y="808"/>
                  </a:cubicBezTo>
                  <a:cubicBezTo>
                    <a:pt x="1063" y="794"/>
                    <a:pt x="1063" y="794"/>
                    <a:pt x="1063" y="794"/>
                  </a:cubicBezTo>
                  <a:cubicBezTo>
                    <a:pt x="1082" y="805"/>
                    <a:pt x="1082" y="805"/>
                    <a:pt x="1082" y="805"/>
                  </a:cubicBezTo>
                  <a:cubicBezTo>
                    <a:pt x="1101" y="783"/>
                    <a:pt x="1101" y="783"/>
                    <a:pt x="1101" y="783"/>
                  </a:cubicBezTo>
                  <a:cubicBezTo>
                    <a:pt x="1067" y="771"/>
                    <a:pt x="1067" y="771"/>
                    <a:pt x="1067" y="771"/>
                  </a:cubicBezTo>
                  <a:lnTo>
                    <a:pt x="1056" y="774"/>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94" name="Freeform 155"/>
            <p:cNvSpPr>
              <a:spLocks noEditPoints="1"/>
            </p:cNvSpPr>
            <p:nvPr/>
          </p:nvSpPr>
          <p:spPr bwMode="gray">
            <a:xfrm>
              <a:off x="8204200" y="5006975"/>
              <a:ext cx="476250" cy="368300"/>
            </a:xfrm>
            <a:custGeom>
              <a:avLst/>
              <a:gdLst>
                <a:gd name="T0" fmla="*/ 489 w 851"/>
                <a:gd name="T1" fmla="*/ 375 h 656"/>
                <a:gd name="T2" fmla="*/ 477 w 851"/>
                <a:gd name="T3" fmla="*/ 361 h 656"/>
                <a:gd name="T4" fmla="*/ 456 w 851"/>
                <a:gd name="T5" fmla="*/ 351 h 656"/>
                <a:gd name="T6" fmla="*/ 425 w 851"/>
                <a:gd name="T7" fmla="*/ 380 h 656"/>
                <a:gd name="T8" fmla="*/ 360 w 851"/>
                <a:gd name="T9" fmla="*/ 432 h 656"/>
                <a:gd name="T10" fmla="*/ 261 w 851"/>
                <a:gd name="T11" fmla="*/ 484 h 656"/>
                <a:gd name="T12" fmla="*/ 177 w 851"/>
                <a:gd name="T13" fmla="*/ 513 h 656"/>
                <a:gd name="T14" fmla="*/ 112 w 851"/>
                <a:gd name="T15" fmla="*/ 564 h 656"/>
                <a:gd name="T16" fmla="*/ 56 w 851"/>
                <a:gd name="T17" fmla="*/ 583 h 656"/>
                <a:gd name="T18" fmla="*/ 0 w 851"/>
                <a:gd name="T19" fmla="*/ 608 h 656"/>
                <a:gd name="T20" fmla="*/ 12 w 851"/>
                <a:gd name="T21" fmla="*/ 629 h 656"/>
                <a:gd name="T22" fmla="*/ 47 w 851"/>
                <a:gd name="T23" fmla="*/ 631 h 656"/>
                <a:gd name="T24" fmla="*/ 65 w 851"/>
                <a:gd name="T25" fmla="*/ 637 h 656"/>
                <a:gd name="T26" fmla="*/ 96 w 851"/>
                <a:gd name="T27" fmla="*/ 648 h 656"/>
                <a:gd name="T28" fmla="*/ 152 w 851"/>
                <a:gd name="T29" fmla="*/ 653 h 656"/>
                <a:gd name="T30" fmla="*/ 215 w 851"/>
                <a:gd name="T31" fmla="*/ 620 h 656"/>
                <a:gd name="T32" fmla="*/ 265 w 851"/>
                <a:gd name="T33" fmla="*/ 574 h 656"/>
                <a:gd name="T34" fmla="*/ 279 w 851"/>
                <a:gd name="T35" fmla="*/ 557 h 656"/>
                <a:gd name="T36" fmla="*/ 306 w 851"/>
                <a:gd name="T37" fmla="*/ 517 h 656"/>
                <a:gd name="T38" fmla="*/ 343 w 851"/>
                <a:gd name="T39" fmla="*/ 510 h 656"/>
                <a:gd name="T40" fmla="*/ 388 w 851"/>
                <a:gd name="T41" fmla="*/ 503 h 656"/>
                <a:gd name="T42" fmla="*/ 395 w 851"/>
                <a:gd name="T43" fmla="*/ 480 h 656"/>
                <a:gd name="T44" fmla="*/ 430 w 851"/>
                <a:gd name="T45" fmla="*/ 456 h 656"/>
                <a:gd name="T46" fmla="*/ 468 w 851"/>
                <a:gd name="T47" fmla="*/ 430 h 656"/>
                <a:gd name="T48" fmla="*/ 518 w 851"/>
                <a:gd name="T49" fmla="*/ 389 h 656"/>
                <a:gd name="T50" fmla="*/ 498 w 851"/>
                <a:gd name="T51" fmla="*/ 375 h 656"/>
                <a:gd name="T52" fmla="*/ 841 w 851"/>
                <a:gd name="T53" fmla="*/ 205 h 656"/>
                <a:gd name="T54" fmla="*/ 821 w 851"/>
                <a:gd name="T55" fmla="*/ 186 h 656"/>
                <a:gd name="T56" fmla="*/ 768 w 851"/>
                <a:gd name="T57" fmla="*/ 192 h 656"/>
                <a:gd name="T58" fmla="*/ 777 w 851"/>
                <a:gd name="T59" fmla="*/ 120 h 656"/>
                <a:gd name="T60" fmla="*/ 756 w 851"/>
                <a:gd name="T61" fmla="*/ 129 h 656"/>
                <a:gd name="T62" fmla="*/ 740 w 851"/>
                <a:gd name="T63" fmla="*/ 126 h 656"/>
                <a:gd name="T64" fmla="*/ 750 w 851"/>
                <a:gd name="T65" fmla="*/ 62 h 656"/>
                <a:gd name="T66" fmla="*/ 720 w 851"/>
                <a:gd name="T67" fmla="*/ 27 h 656"/>
                <a:gd name="T68" fmla="*/ 692 w 851"/>
                <a:gd name="T69" fmla="*/ 11 h 656"/>
                <a:gd name="T70" fmla="*/ 679 w 851"/>
                <a:gd name="T71" fmla="*/ 12 h 656"/>
                <a:gd name="T72" fmla="*/ 686 w 851"/>
                <a:gd name="T73" fmla="*/ 60 h 656"/>
                <a:gd name="T74" fmla="*/ 692 w 851"/>
                <a:gd name="T75" fmla="*/ 70 h 656"/>
                <a:gd name="T76" fmla="*/ 712 w 851"/>
                <a:gd name="T77" fmla="*/ 89 h 656"/>
                <a:gd name="T78" fmla="*/ 705 w 851"/>
                <a:gd name="T79" fmla="*/ 102 h 656"/>
                <a:gd name="T80" fmla="*/ 715 w 851"/>
                <a:gd name="T81" fmla="*/ 136 h 656"/>
                <a:gd name="T82" fmla="*/ 694 w 851"/>
                <a:gd name="T83" fmla="*/ 148 h 656"/>
                <a:gd name="T84" fmla="*/ 682 w 851"/>
                <a:gd name="T85" fmla="*/ 185 h 656"/>
                <a:gd name="T86" fmla="*/ 656 w 851"/>
                <a:gd name="T87" fmla="*/ 209 h 656"/>
                <a:gd name="T88" fmla="*/ 578 w 851"/>
                <a:gd name="T89" fmla="*/ 255 h 656"/>
                <a:gd name="T90" fmla="*/ 609 w 851"/>
                <a:gd name="T91" fmla="*/ 302 h 656"/>
                <a:gd name="T92" fmla="*/ 576 w 851"/>
                <a:gd name="T93" fmla="*/ 359 h 656"/>
                <a:gd name="T94" fmla="*/ 557 w 851"/>
                <a:gd name="T95" fmla="*/ 381 h 656"/>
                <a:gd name="T96" fmla="*/ 644 w 851"/>
                <a:gd name="T97" fmla="*/ 340 h 656"/>
                <a:gd name="T98" fmla="*/ 697 w 851"/>
                <a:gd name="T99" fmla="*/ 308 h 656"/>
                <a:gd name="T100" fmla="*/ 715 w 851"/>
                <a:gd name="T101" fmla="*/ 277 h 656"/>
                <a:gd name="T102" fmla="*/ 774 w 851"/>
                <a:gd name="T103" fmla="*/ 266 h 656"/>
                <a:gd name="T104" fmla="*/ 805 w 851"/>
                <a:gd name="T105" fmla="*/ 236 h 6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851" h="656">
                  <a:moveTo>
                    <a:pt x="498" y="375"/>
                  </a:moveTo>
                  <a:cubicBezTo>
                    <a:pt x="489" y="375"/>
                    <a:pt x="489" y="375"/>
                    <a:pt x="489" y="375"/>
                  </a:cubicBezTo>
                  <a:cubicBezTo>
                    <a:pt x="495" y="350"/>
                    <a:pt x="495" y="350"/>
                    <a:pt x="495" y="350"/>
                  </a:cubicBezTo>
                  <a:cubicBezTo>
                    <a:pt x="477" y="361"/>
                    <a:pt x="477" y="361"/>
                    <a:pt x="477" y="361"/>
                  </a:cubicBezTo>
                  <a:cubicBezTo>
                    <a:pt x="477" y="361"/>
                    <a:pt x="490" y="335"/>
                    <a:pt x="478" y="335"/>
                  </a:cubicBezTo>
                  <a:cubicBezTo>
                    <a:pt x="466" y="334"/>
                    <a:pt x="456" y="351"/>
                    <a:pt x="456" y="351"/>
                  </a:cubicBezTo>
                  <a:cubicBezTo>
                    <a:pt x="445" y="358"/>
                    <a:pt x="445" y="358"/>
                    <a:pt x="445" y="358"/>
                  </a:cubicBezTo>
                  <a:cubicBezTo>
                    <a:pt x="445" y="358"/>
                    <a:pt x="434" y="369"/>
                    <a:pt x="425" y="380"/>
                  </a:cubicBezTo>
                  <a:cubicBezTo>
                    <a:pt x="417" y="391"/>
                    <a:pt x="396" y="393"/>
                    <a:pt x="381" y="403"/>
                  </a:cubicBezTo>
                  <a:cubicBezTo>
                    <a:pt x="366" y="414"/>
                    <a:pt x="360" y="432"/>
                    <a:pt x="360" y="432"/>
                  </a:cubicBezTo>
                  <a:cubicBezTo>
                    <a:pt x="360" y="432"/>
                    <a:pt x="313" y="446"/>
                    <a:pt x="300" y="455"/>
                  </a:cubicBezTo>
                  <a:cubicBezTo>
                    <a:pt x="285" y="464"/>
                    <a:pt x="261" y="484"/>
                    <a:pt x="261" y="484"/>
                  </a:cubicBezTo>
                  <a:cubicBezTo>
                    <a:pt x="261" y="484"/>
                    <a:pt x="234" y="488"/>
                    <a:pt x="217" y="495"/>
                  </a:cubicBezTo>
                  <a:cubicBezTo>
                    <a:pt x="201" y="503"/>
                    <a:pt x="192" y="505"/>
                    <a:pt x="177" y="513"/>
                  </a:cubicBezTo>
                  <a:cubicBezTo>
                    <a:pt x="161" y="522"/>
                    <a:pt x="131" y="533"/>
                    <a:pt x="119" y="539"/>
                  </a:cubicBezTo>
                  <a:cubicBezTo>
                    <a:pt x="106" y="545"/>
                    <a:pt x="112" y="564"/>
                    <a:pt x="112" y="564"/>
                  </a:cubicBezTo>
                  <a:cubicBezTo>
                    <a:pt x="102" y="555"/>
                    <a:pt x="102" y="555"/>
                    <a:pt x="102" y="555"/>
                  </a:cubicBezTo>
                  <a:cubicBezTo>
                    <a:pt x="102" y="555"/>
                    <a:pt x="67" y="577"/>
                    <a:pt x="56" y="583"/>
                  </a:cubicBezTo>
                  <a:cubicBezTo>
                    <a:pt x="44" y="590"/>
                    <a:pt x="39" y="587"/>
                    <a:pt x="23" y="593"/>
                  </a:cubicBezTo>
                  <a:cubicBezTo>
                    <a:pt x="7" y="599"/>
                    <a:pt x="0" y="608"/>
                    <a:pt x="0" y="608"/>
                  </a:cubicBezTo>
                  <a:cubicBezTo>
                    <a:pt x="0" y="608"/>
                    <a:pt x="20" y="607"/>
                    <a:pt x="18" y="611"/>
                  </a:cubicBezTo>
                  <a:cubicBezTo>
                    <a:pt x="16" y="615"/>
                    <a:pt x="8" y="620"/>
                    <a:pt x="12" y="629"/>
                  </a:cubicBezTo>
                  <a:cubicBezTo>
                    <a:pt x="17" y="638"/>
                    <a:pt x="40" y="624"/>
                    <a:pt x="40" y="624"/>
                  </a:cubicBezTo>
                  <a:cubicBezTo>
                    <a:pt x="47" y="631"/>
                    <a:pt x="47" y="631"/>
                    <a:pt x="47" y="631"/>
                  </a:cubicBezTo>
                  <a:cubicBezTo>
                    <a:pt x="63" y="631"/>
                    <a:pt x="63" y="631"/>
                    <a:pt x="63" y="631"/>
                  </a:cubicBezTo>
                  <a:cubicBezTo>
                    <a:pt x="65" y="637"/>
                    <a:pt x="65" y="637"/>
                    <a:pt x="65" y="637"/>
                  </a:cubicBezTo>
                  <a:cubicBezTo>
                    <a:pt x="87" y="634"/>
                    <a:pt x="87" y="634"/>
                    <a:pt x="87" y="634"/>
                  </a:cubicBezTo>
                  <a:cubicBezTo>
                    <a:pt x="96" y="648"/>
                    <a:pt x="96" y="648"/>
                    <a:pt x="96" y="648"/>
                  </a:cubicBezTo>
                  <a:cubicBezTo>
                    <a:pt x="118" y="645"/>
                    <a:pt x="118" y="645"/>
                    <a:pt x="118" y="645"/>
                  </a:cubicBezTo>
                  <a:cubicBezTo>
                    <a:pt x="118" y="645"/>
                    <a:pt x="136" y="656"/>
                    <a:pt x="152" y="653"/>
                  </a:cubicBezTo>
                  <a:cubicBezTo>
                    <a:pt x="167" y="650"/>
                    <a:pt x="172" y="634"/>
                    <a:pt x="182" y="627"/>
                  </a:cubicBezTo>
                  <a:cubicBezTo>
                    <a:pt x="192" y="620"/>
                    <a:pt x="200" y="630"/>
                    <a:pt x="215" y="620"/>
                  </a:cubicBezTo>
                  <a:cubicBezTo>
                    <a:pt x="230" y="610"/>
                    <a:pt x="220" y="597"/>
                    <a:pt x="232" y="586"/>
                  </a:cubicBezTo>
                  <a:cubicBezTo>
                    <a:pt x="243" y="574"/>
                    <a:pt x="257" y="582"/>
                    <a:pt x="265" y="574"/>
                  </a:cubicBezTo>
                  <a:cubicBezTo>
                    <a:pt x="273" y="567"/>
                    <a:pt x="265" y="558"/>
                    <a:pt x="265" y="558"/>
                  </a:cubicBezTo>
                  <a:cubicBezTo>
                    <a:pt x="279" y="557"/>
                    <a:pt x="279" y="557"/>
                    <a:pt x="279" y="557"/>
                  </a:cubicBezTo>
                  <a:cubicBezTo>
                    <a:pt x="318" y="527"/>
                    <a:pt x="318" y="527"/>
                    <a:pt x="318" y="527"/>
                  </a:cubicBezTo>
                  <a:cubicBezTo>
                    <a:pt x="306" y="517"/>
                    <a:pt x="306" y="517"/>
                    <a:pt x="306" y="517"/>
                  </a:cubicBezTo>
                  <a:cubicBezTo>
                    <a:pt x="333" y="527"/>
                    <a:pt x="333" y="527"/>
                    <a:pt x="333" y="527"/>
                  </a:cubicBezTo>
                  <a:cubicBezTo>
                    <a:pt x="333" y="527"/>
                    <a:pt x="334" y="511"/>
                    <a:pt x="343" y="510"/>
                  </a:cubicBezTo>
                  <a:cubicBezTo>
                    <a:pt x="352" y="509"/>
                    <a:pt x="360" y="517"/>
                    <a:pt x="372" y="520"/>
                  </a:cubicBezTo>
                  <a:cubicBezTo>
                    <a:pt x="383" y="522"/>
                    <a:pt x="388" y="503"/>
                    <a:pt x="388" y="503"/>
                  </a:cubicBezTo>
                  <a:cubicBezTo>
                    <a:pt x="378" y="495"/>
                    <a:pt x="378" y="495"/>
                    <a:pt x="378" y="495"/>
                  </a:cubicBezTo>
                  <a:cubicBezTo>
                    <a:pt x="395" y="480"/>
                    <a:pt x="395" y="480"/>
                    <a:pt x="395" y="480"/>
                  </a:cubicBezTo>
                  <a:cubicBezTo>
                    <a:pt x="407" y="466"/>
                    <a:pt x="407" y="466"/>
                    <a:pt x="407" y="466"/>
                  </a:cubicBezTo>
                  <a:cubicBezTo>
                    <a:pt x="407" y="466"/>
                    <a:pt x="418" y="459"/>
                    <a:pt x="430" y="456"/>
                  </a:cubicBezTo>
                  <a:cubicBezTo>
                    <a:pt x="442" y="453"/>
                    <a:pt x="447" y="436"/>
                    <a:pt x="447" y="436"/>
                  </a:cubicBezTo>
                  <a:cubicBezTo>
                    <a:pt x="447" y="436"/>
                    <a:pt x="458" y="434"/>
                    <a:pt x="468" y="430"/>
                  </a:cubicBezTo>
                  <a:cubicBezTo>
                    <a:pt x="479" y="426"/>
                    <a:pt x="488" y="408"/>
                    <a:pt x="488" y="408"/>
                  </a:cubicBezTo>
                  <a:cubicBezTo>
                    <a:pt x="488" y="408"/>
                    <a:pt x="508" y="401"/>
                    <a:pt x="518" y="389"/>
                  </a:cubicBezTo>
                  <a:cubicBezTo>
                    <a:pt x="529" y="376"/>
                    <a:pt x="516" y="353"/>
                    <a:pt x="516" y="353"/>
                  </a:cubicBezTo>
                  <a:lnTo>
                    <a:pt x="498" y="375"/>
                  </a:lnTo>
                  <a:close/>
                  <a:moveTo>
                    <a:pt x="815" y="215"/>
                  </a:moveTo>
                  <a:cubicBezTo>
                    <a:pt x="823" y="210"/>
                    <a:pt x="831" y="213"/>
                    <a:pt x="841" y="205"/>
                  </a:cubicBezTo>
                  <a:cubicBezTo>
                    <a:pt x="851" y="197"/>
                    <a:pt x="847" y="183"/>
                    <a:pt x="839" y="176"/>
                  </a:cubicBezTo>
                  <a:cubicBezTo>
                    <a:pt x="831" y="168"/>
                    <a:pt x="821" y="186"/>
                    <a:pt x="821" y="186"/>
                  </a:cubicBezTo>
                  <a:cubicBezTo>
                    <a:pt x="821" y="186"/>
                    <a:pt x="815" y="186"/>
                    <a:pt x="806" y="184"/>
                  </a:cubicBezTo>
                  <a:cubicBezTo>
                    <a:pt x="798" y="181"/>
                    <a:pt x="780" y="195"/>
                    <a:pt x="768" y="192"/>
                  </a:cubicBezTo>
                  <a:cubicBezTo>
                    <a:pt x="756" y="189"/>
                    <a:pt x="761" y="145"/>
                    <a:pt x="761" y="145"/>
                  </a:cubicBezTo>
                  <a:cubicBezTo>
                    <a:pt x="777" y="120"/>
                    <a:pt x="777" y="120"/>
                    <a:pt x="777" y="120"/>
                  </a:cubicBezTo>
                  <a:cubicBezTo>
                    <a:pt x="777" y="120"/>
                    <a:pt x="777" y="102"/>
                    <a:pt x="767" y="103"/>
                  </a:cubicBezTo>
                  <a:cubicBezTo>
                    <a:pt x="756" y="103"/>
                    <a:pt x="756" y="119"/>
                    <a:pt x="756" y="129"/>
                  </a:cubicBezTo>
                  <a:cubicBezTo>
                    <a:pt x="755" y="138"/>
                    <a:pt x="743" y="146"/>
                    <a:pt x="743" y="146"/>
                  </a:cubicBezTo>
                  <a:cubicBezTo>
                    <a:pt x="740" y="126"/>
                    <a:pt x="740" y="126"/>
                    <a:pt x="740" y="126"/>
                  </a:cubicBezTo>
                  <a:cubicBezTo>
                    <a:pt x="726" y="113"/>
                    <a:pt x="726" y="113"/>
                    <a:pt x="726" y="113"/>
                  </a:cubicBezTo>
                  <a:cubicBezTo>
                    <a:pt x="726" y="113"/>
                    <a:pt x="750" y="82"/>
                    <a:pt x="750" y="62"/>
                  </a:cubicBezTo>
                  <a:cubicBezTo>
                    <a:pt x="751" y="42"/>
                    <a:pt x="717" y="41"/>
                    <a:pt x="717" y="41"/>
                  </a:cubicBezTo>
                  <a:cubicBezTo>
                    <a:pt x="720" y="27"/>
                    <a:pt x="720" y="27"/>
                    <a:pt x="720" y="27"/>
                  </a:cubicBezTo>
                  <a:cubicBezTo>
                    <a:pt x="707" y="25"/>
                    <a:pt x="707" y="25"/>
                    <a:pt x="707" y="25"/>
                  </a:cubicBezTo>
                  <a:cubicBezTo>
                    <a:pt x="692" y="11"/>
                    <a:pt x="692" y="11"/>
                    <a:pt x="692" y="11"/>
                  </a:cubicBezTo>
                  <a:cubicBezTo>
                    <a:pt x="699" y="0"/>
                    <a:pt x="699" y="0"/>
                    <a:pt x="699" y="0"/>
                  </a:cubicBezTo>
                  <a:cubicBezTo>
                    <a:pt x="679" y="12"/>
                    <a:pt x="679" y="12"/>
                    <a:pt x="679" y="12"/>
                  </a:cubicBezTo>
                  <a:cubicBezTo>
                    <a:pt x="692" y="35"/>
                    <a:pt x="692" y="35"/>
                    <a:pt x="692" y="35"/>
                  </a:cubicBezTo>
                  <a:cubicBezTo>
                    <a:pt x="686" y="60"/>
                    <a:pt x="686" y="60"/>
                    <a:pt x="686" y="60"/>
                  </a:cubicBezTo>
                  <a:cubicBezTo>
                    <a:pt x="701" y="66"/>
                    <a:pt x="701" y="66"/>
                    <a:pt x="701" y="66"/>
                  </a:cubicBezTo>
                  <a:cubicBezTo>
                    <a:pt x="692" y="70"/>
                    <a:pt x="692" y="70"/>
                    <a:pt x="692" y="70"/>
                  </a:cubicBezTo>
                  <a:cubicBezTo>
                    <a:pt x="696" y="84"/>
                    <a:pt x="696" y="84"/>
                    <a:pt x="696" y="84"/>
                  </a:cubicBezTo>
                  <a:cubicBezTo>
                    <a:pt x="712" y="89"/>
                    <a:pt x="712" y="89"/>
                    <a:pt x="712" y="89"/>
                  </a:cubicBezTo>
                  <a:cubicBezTo>
                    <a:pt x="696" y="97"/>
                    <a:pt x="696" y="97"/>
                    <a:pt x="696" y="97"/>
                  </a:cubicBezTo>
                  <a:cubicBezTo>
                    <a:pt x="705" y="102"/>
                    <a:pt x="705" y="102"/>
                    <a:pt x="705" y="102"/>
                  </a:cubicBezTo>
                  <a:cubicBezTo>
                    <a:pt x="705" y="102"/>
                    <a:pt x="702" y="116"/>
                    <a:pt x="702" y="122"/>
                  </a:cubicBezTo>
                  <a:cubicBezTo>
                    <a:pt x="702" y="129"/>
                    <a:pt x="715" y="136"/>
                    <a:pt x="715" y="136"/>
                  </a:cubicBezTo>
                  <a:cubicBezTo>
                    <a:pt x="702" y="138"/>
                    <a:pt x="702" y="138"/>
                    <a:pt x="702" y="138"/>
                  </a:cubicBezTo>
                  <a:cubicBezTo>
                    <a:pt x="694" y="148"/>
                    <a:pt x="694" y="148"/>
                    <a:pt x="694" y="148"/>
                  </a:cubicBezTo>
                  <a:cubicBezTo>
                    <a:pt x="705" y="154"/>
                    <a:pt x="705" y="154"/>
                    <a:pt x="705" y="154"/>
                  </a:cubicBezTo>
                  <a:cubicBezTo>
                    <a:pt x="705" y="154"/>
                    <a:pt x="684" y="174"/>
                    <a:pt x="682" y="185"/>
                  </a:cubicBezTo>
                  <a:cubicBezTo>
                    <a:pt x="681" y="196"/>
                    <a:pt x="691" y="199"/>
                    <a:pt x="691" y="199"/>
                  </a:cubicBezTo>
                  <a:cubicBezTo>
                    <a:pt x="691" y="199"/>
                    <a:pt x="669" y="203"/>
                    <a:pt x="656" y="209"/>
                  </a:cubicBezTo>
                  <a:cubicBezTo>
                    <a:pt x="643" y="214"/>
                    <a:pt x="646" y="217"/>
                    <a:pt x="630" y="229"/>
                  </a:cubicBezTo>
                  <a:cubicBezTo>
                    <a:pt x="613" y="242"/>
                    <a:pt x="599" y="243"/>
                    <a:pt x="578" y="255"/>
                  </a:cubicBezTo>
                  <a:cubicBezTo>
                    <a:pt x="557" y="268"/>
                    <a:pt x="576" y="302"/>
                    <a:pt x="576" y="302"/>
                  </a:cubicBezTo>
                  <a:cubicBezTo>
                    <a:pt x="576" y="302"/>
                    <a:pt x="599" y="300"/>
                    <a:pt x="609" y="302"/>
                  </a:cubicBezTo>
                  <a:cubicBezTo>
                    <a:pt x="619" y="304"/>
                    <a:pt x="609" y="323"/>
                    <a:pt x="609" y="338"/>
                  </a:cubicBezTo>
                  <a:cubicBezTo>
                    <a:pt x="610" y="354"/>
                    <a:pt x="593" y="353"/>
                    <a:pt x="576" y="359"/>
                  </a:cubicBezTo>
                  <a:cubicBezTo>
                    <a:pt x="559" y="365"/>
                    <a:pt x="567" y="370"/>
                    <a:pt x="567" y="370"/>
                  </a:cubicBezTo>
                  <a:cubicBezTo>
                    <a:pt x="557" y="381"/>
                    <a:pt x="557" y="381"/>
                    <a:pt x="557" y="381"/>
                  </a:cubicBezTo>
                  <a:cubicBezTo>
                    <a:pt x="557" y="381"/>
                    <a:pt x="575" y="394"/>
                    <a:pt x="589" y="390"/>
                  </a:cubicBezTo>
                  <a:cubicBezTo>
                    <a:pt x="602" y="385"/>
                    <a:pt x="633" y="351"/>
                    <a:pt x="644" y="340"/>
                  </a:cubicBezTo>
                  <a:cubicBezTo>
                    <a:pt x="655" y="329"/>
                    <a:pt x="682" y="321"/>
                    <a:pt x="687" y="321"/>
                  </a:cubicBezTo>
                  <a:cubicBezTo>
                    <a:pt x="692" y="320"/>
                    <a:pt x="697" y="308"/>
                    <a:pt x="697" y="308"/>
                  </a:cubicBezTo>
                  <a:cubicBezTo>
                    <a:pt x="697" y="308"/>
                    <a:pt x="704" y="305"/>
                    <a:pt x="715" y="301"/>
                  </a:cubicBezTo>
                  <a:cubicBezTo>
                    <a:pt x="726" y="296"/>
                    <a:pt x="715" y="277"/>
                    <a:pt x="715" y="277"/>
                  </a:cubicBezTo>
                  <a:cubicBezTo>
                    <a:pt x="715" y="277"/>
                    <a:pt x="725" y="269"/>
                    <a:pt x="738" y="263"/>
                  </a:cubicBezTo>
                  <a:cubicBezTo>
                    <a:pt x="752" y="257"/>
                    <a:pt x="762" y="269"/>
                    <a:pt x="774" y="266"/>
                  </a:cubicBezTo>
                  <a:cubicBezTo>
                    <a:pt x="786" y="264"/>
                    <a:pt x="782" y="240"/>
                    <a:pt x="782" y="240"/>
                  </a:cubicBezTo>
                  <a:cubicBezTo>
                    <a:pt x="782" y="240"/>
                    <a:pt x="793" y="237"/>
                    <a:pt x="805" y="236"/>
                  </a:cubicBezTo>
                  <a:cubicBezTo>
                    <a:pt x="816" y="235"/>
                    <a:pt x="808" y="221"/>
                    <a:pt x="815" y="215"/>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95" name="Freeform 156"/>
            <p:cNvSpPr>
              <a:spLocks noEditPoints="1"/>
            </p:cNvSpPr>
            <p:nvPr/>
          </p:nvSpPr>
          <p:spPr bwMode="gray">
            <a:xfrm>
              <a:off x="7129463" y="4295775"/>
              <a:ext cx="1062037" cy="993775"/>
            </a:xfrm>
            <a:custGeom>
              <a:avLst/>
              <a:gdLst>
                <a:gd name="T0" fmla="*/ 971 w 1898"/>
                <a:gd name="T1" fmla="*/ 1367 h 1774"/>
                <a:gd name="T2" fmla="*/ 1008 w 1898"/>
                <a:gd name="T3" fmla="*/ 1349 h 1774"/>
                <a:gd name="T4" fmla="*/ 1830 w 1898"/>
                <a:gd name="T5" fmla="*/ 698 h 1774"/>
                <a:gd name="T6" fmla="*/ 1797 w 1898"/>
                <a:gd name="T7" fmla="*/ 622 h 1774"/>
                <a:gd name="T8" fmla="*/ 1707 w 1898"/>
                <a:gd name="T9" fmla="*/ 471 h 1774"/>
                <a:gd name="T10" fmla="*/ 1649 w 1898"/>
                <a:gd name="T11" fmla="*/ 192 h 1774"/>
                <a:gd name="T12" fmla="*/ 1596 w 1898"/>
                <a:gd name="T13" fmla="*/ 64 h 1774"/>
                <a:gd name="T14" fmla="*/ 1541 w 1898"/>
                <a:gd name="T15" fmla="*/ 18 h 1774"/>
                <a:gd name="T16" fmla="*/ 1494 w 1898"/>
                <a:gd name="T17" fmla="*/ 189 h 1774"/>
                <a:gd name="T18" fmla="*/ 1283 w 1898"/>
                <a:gd name="T19" fmla="*/ 306 h 1774"/>
                <a:gd name="T20" fmla="*/ 1239 w 1898"/>
                <a:gd name="T21" fmla="*/ 181 h 1774"/>
                <a:gd name="T22" fmla="*/ 1269 w 1898"/>
                <a:gd name="T23" fmla="*/ 69 h 1774"/>
                <a:gd name="T24" fmla="*/ 1170 w 1898"/>
                <a:gd name="T25" fmla="*/ 75 h 1774"/>
                <a:gd name="T26" fmla="*/ 1050 w 1898"/>
                <a:gd name="T27" fmla="*/ 42 h 1774"/>
                <a:gd name="T28" fmla="*/ 1012 w 1898"/>
                <a:gd name="T29" fmla="*/ 86 h 1774"/>
                <a:gd name="T30" fmla="*/ 910 w 1898"/>
                <a:gd name="T31" fmla="*/ 212 h 1774"/>
                <a:gd name="T32" fmla="*/ 872 w 1898"/>
                <a:gd name="T33" fmla="*/ 235 h 1774"/>
                <a:gd name="T34" fmla="*/ 848 w 1898"/>
                <a:gd name="T35" fmla="*/ 215 h 1774"/>
                <a:gd name="T36" fmla="*/ 788 w 1898"/>
                <a:gd name="T37" fmla="*/ 185 h 1774"/>
                <a:gd name="T38" fmla="*/ 731 w 1898"/>
                <a:gd name="T39" fmla="*/ 238 h 1774"/>
                <a:gd name="T40" fmla="*/ 676 w 1898"/>
                <a:gd name="T41" fmla="*/ 279 h 1774"/>
                <a:gd name="T42" fmla="*/ 614 w 1898"/>
                <a:gd name="T43" fmla="*/ 310 h 1774"/>
                <a:gd name="T44" fmla="*/ 606 w 1898"/>
                <a:gd name="T45" fmla="*/ 348 h 1774"/>
                <a:gd name="T46" fmla="*/ 531 w 1898"/>
                <a:gd name="T47" fmla="*/ 409 h 1774"/>
                <a:gd name="T48" fmla="*/ 359 w 1898"/>
                <a:gd name="T49" fmla="*/ 505 h 1774"/>
                <a:gd name="T50" fmla="*/ 218 w 1898"/>
                <a:gd name="T51" fmla="*/ 554 h 1774"/>
                <a:gd name="T52" fmla="*/ 83 w 1898"/>
                <a:gd name="T53" fmla="*/ 649 h 1774"/>
                <a:gd name="T54" fmla="*/ 48 w 1898"/>
                <a:gd name="T55" fmla="*/ 813 h 1774"/>
                <a:gd name="T56" fmla="*/ 35 w 1898"/>
                <a:gd name="T57" fmla="*/ 937 h 1774"/>
                <a:gd name="T58" fmla="*/ 87 w 1898"/>
                <a:gd name="T59" fmla="*/ 1141 h 1774"/>
                <a:gd name="T60" fmla="*/ 56 w 1898"/>
                <a:gd name="T61" fmla="*/ 1305 h 1774"/>
                <a:gd name="T62" fmla="*/ 186 w 1898"/>
                <a:gd name="T63" fmla="*/ 1285 h 1774"/>
                <a:gd name="T64" fmla="*/ 384 w 1898"/>
                <a:gd name="T65" fmla="*/ 1244 h 1774"/>
                <a:gd name="T66" fmla="*/ 594 w 1898"/>
                <a:gd name="T67" fmla="*/ 1153 h 1774"/>
                <a:gd name="T68" fmla="*/ 896 w 1898"/>
                <a:gd name="T69" fmla="*/ 1136 h 1774"/>
                <a:gd name="T70" fmla="*/ 932 w 1898"/>
                <a:gd name="T71" fmla="*/ 1225 h 1774"/>
                <a:gd name="T72" fmla="*/ 962 w 1898"/>
                <a:gd name="T73" fmla="*/ 1304 h 1774"/>
                <a:gd name="T74" fmla="*/ 1060 w 1898"/>
                <a:gd name="T75" fmla="*/ 1224 h 1774"/>
                <a:gd name="T76" fmla="*/ 1083 w 1898"/>
                <a:gd name="T77" fmla="*/ 1210 h 1774"/>
                <a:gd name="T78" fmla="*/ 1011 w 1898"/>
                <a:gd name="T79" fmla="*/ 1319 h 1774"/>
                <a:gd name="T80" fmla="*/ 1072 w 1898"/>
                <a:gd name="T81" fmla="*/ 1339 h 1774"/>
                <a:gd name="T82" fmla="*/ 1118 w 1898"/>
                <a:gd name="T83" fmla="*/ 1477 h 1774"/>
                <a:gd name="T84" fmla="*/ 1319 w 1898"/>
                <a:gd name="T85" fmla="*/ 1502 h 1774"/>
                <a:gd name="T86" fmla="*/ 1360 w 1898"/>
                <a:gd name="T87" fmla="*/ 1532 h 1774"/>
                <a:gd name="T88" fmla="*/ 1533 w 1898"/>
                <a:gd name="T89" fmla="*/ 1461 h 1774"/>
                <a:gd name="T90" fmla="*/ 1641 w 1898"/>
                <a:gd name="T91" fmla="*/ 1275 h 1774"/>
                <a:gd name="T92" fmla="*/ 1874 w 1898"/>
                <a:gd name="T93" fmla="*/ 952 h 1774"/>
                <a:gd name="T94" fmla="*/ 1364 w 1898"/>
                <a:gd name="T95" fmla="*/ 1612 h 1774"/>
                <a:gd name="T96" fmla="*/ 1274 w 1898"/>
                <a:gd name="T97" fmla="*/ 1651 h 1774"/>
                <a:gd name="T98" fmla="*/ 1184 w 1898"/>
                <a:gd name="T99" fmla="*/ 1616 h 1774"/>
                <a:gd name="T100" fmla="*/ 1155 w 1898"/>
                <a:gd name="T101" fmla="*/ 1713 h 1774"/>
                <a:gd name="T102" fmla="*/ 1214 w 1898"/>
                <a:gd name="T103" fmla="*/ 1769 h 1774"/>
                <a:gd name="T104" fmla="*/ 1282 w 1898"/>
                <a:gd name="T105" fmla="*/ 1706 h 1774"/>
                <a:gd name="T106" fmla="*/ 1290 w 1898"/>
                <a:gd name="T107" fmla="*/ 195 h 1774"/>
                <a:gd name="T108" fmla="*/ 1209 w 1898"/>
                <a:gd name="T109" fmla="*/ 1549 h 1774"/>
                <a:gd name="T110" fmla="*/ 1357 w 1898"/>
                <a:gd name="T111" fmla="*/ 1597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98" h="1774">
                  <a:moveTo>
                    <a:pt x="1024" y="43"/>
                  </a:moveTo>
                  <a:cubicBezTo>
                    <a:pt x="1014" y="29"/>
                    <a:pt x="990" y="54"/>
                    <a:pt x="999" y="65"/>
                  </a:cubicBezTo>
                  <a:cubicBezTo>
                    <a:pt x="1008" y="75"/>
                    <a:pt x="1024" y="43"/>
                    <a:pt x="1024" y="43"/>
                  </a:cubicBezTo>
                  <a:close/>
                  <a:moveTo>
                    <a:pt x="986" y="1341"/>
                  </a:moveTo>
                  <a:cubicBezTo>
                    <a:pt x="972" y="1343"/>
                    <a:pt x="954" y="1348"/>
                    <a:pt x="961" y="1354"/>
                  </a:cubicBezTo>
                  <a:cubicBezTo>
                    <a:pt x="968" y="1360"/>
                    <a:pt x="971" y="1367"/>
                    <a:pt x="971" y="1367"/>
                  </a:cubicBezTo>
                  <a:cubicBezTo>
                    <a:pt x="985" y="1367"/>
                    <a:pt x="999" y="1359"/>
                    <a:pt x="999" y="1359"/>
                  </a:cubicBezTo>
                  <a:cubicBezTo>
                    <a:pt x="1007" y="1359"/>
                    <a:pt x="1007" y="1359"/>
                    <a:pt x="1007" y="1359"/>
                  </a:cubicBezTo>
                  <a:cubicBezTo>
                    <a:pt x="1011" y="1356"/>
                    <a:pt x="1011" y="1356"/>
                    <a:pt x="1011" y="1356"/>
                  </a:cubicBezTo>
                  <a:cubicBezTo>
                    <a:pt x="1022" y="1356"/>
                    <a:pt x="1022" y="1356"/>
                    <a:pt x="1022" y="1356"/>
                  </a:cubicBezTo>
                  <a:cubicBezTo>
                    <a:pt x="1026" y="1351"/>
                    <a:pt x="1026" y="1351"/>
                    <a:pt x="1026" y="1351"/>
                  </a:cubicBezTo>
                  <a:cubicBezTo>
                    <a:pt x="1008" y="1349"/>
                    <a:pt x="1008" y="1349"/>
                    <a:pt x="1008" y="1349"/>
                  </a:cubicBezTo>
                  <a:cubicBezTo>
                    <a:pt x="1008" y="1349"/>
                    <a:pt x="1000" y="1340"/>
                    <a:pt x="986" y="1341"/>
                  </a:cubicBezTo>
                  <a:close/>
                  <a:moveTo>
                    <a:pt x="1869" y="774"/>
                  </a:moveTo>
                  <a:cubicBezTo>
                    <a:pt x="1869" y="774"/>
                    <a:pt x="1866" y="733"/>
                    <a:pt x="1865" y="727"/>
                  </a:cubicBezTo>
                  <a:cubicBezTo>
                    <a:pt x="1863" y="721"/>
                    <a:pt x="1843" y="720"/>
                    <a:pt x="1843" y="720"/>
                  </a:cubicBezTo>
                  <a:cubicBezTo>
                    <a:pt x="1843" y="706"/>
                    <a:pt x="1843" y="706"/>
                    <a:pt x="1843" y="706"/>
                  </a:cubicBezTo>
                  <a:cubicBezTo>
                    <a:pt x="1830" y="698"/>
                    <a:pt x="1830" y="698"/>
                    <a:pt x="1830" y="698"/>
                  </a:cubicBezTo>
                  <a:cubicBezTo>
                    <a:pt x="1830" y="698"/>
                    <a:pt x="1835" y="681"/>
                    <a:pt x="1830" y="674"/>
                  </a:cubicBezTo>
                  <a:cubicBezTo>
                    <a:pt x="1825" y="667"/>
                    <a:pt x="1805" y="660"/>
                    <a:pt x="1805" y="660"/>
                  </a:cubicBezTo>
                  <a:cubicBezTo>
                    <a:pt x="1805" y="660"/>
                    <a:pt x="1840" y="654"/>
                    <a:pt x="1842" y="641"/>
                  </a:cubicBezTo>
                  <a:cubicBezTo>
                    <a:pt x="1844" y="627"/>
                    <a:pt x="1822" y="623"/>
                    <a:pt x="1822" y="623"/>
                  </a:cubicBezTo>
                  <a:cubicBezTo>
                    <a:pt x="1822" y="623"/>
                    <a:pt x="1815" y="602"/>
                    <a:pt x="1804" y="603"/>
                  </a:cubicBezTo>
                  <a:cubicBezTo>
                    <a:pt x="1792" y="604"/>
                    <a:pt x="1797" y="622"/>
                    <a:pt x="1797" y="622"/>
                  </a:cubicBezTo>
                  <a:cubicBezTo>
                    <a:pt x="1783" y="619"/>
                    <a:pt x="1783" y="619"/>
                    <a:pt x="1783" y="619"/>
                  </a:cubicBezTo>
                  <a:cubicBezTo>
                    <a:pt x="1783" y="619"/>
                    <a:pt x="1796" y="578"/>
                    <a:pt x="1796" y="568"/>
                  </a:cubicBezTo>
                  <a:cubicBezTo>
                    <a:pt x="1795" y="559"/>
                    <a:pt x="1775" y="557"/>
                    <a:pt x="1771" y="547"/>
                  </a:cubicBezTo>
                  <a:cubicBezTo>
                    <a:pt x="1768" y="538"/>
                    <a:pt x="1781" y="521"/>
                    <a:pt x="1777" y="507"/>
                  </a:cubicBezTo>
                  <a:cubicBezTo>
                    <a:pt x="1773" y="494"/>
                    <a:pt x="1713" y="465"/>
                    <a:pt x="1713" y="465"/>
                  </a:cubicBezTo>
                  <a:cubicBezTo>
                    <a:pt x="1707" y="471"/>
                    <a:pt x="1707" y="471"/>
                    <a:pt x="1707" y="471"/>
                  </a:cubicBezTo>
                  <a:cubicBezTo>
                    <a:pt x="1707" y="471"/>
                    <a:pt x="1679" y="439"/>
                    <a:pt x="1677" y="417"/>
                  </a:cubicBezTo>
                  <a:cubicBezTo>
                    <a:pt x="1676" y="394"/>
                    <a:pt x="1685" y="381"/>
                    <a:pt x="1685" y="361"/>
                  </a:cubicBezTo>
                  <a:cubicBezTo>
                    <a:pt x="1685" y="341"/>
                    <a:pt x="1666" y="298"/>
                    <a:pt x="1662" y="282"/>
                  </a:cubicBezTo>
                  <a:cubicBezTo>
                    <a:pt x="1658" y="266"/>
                    <a:pt x="1669" y="256"/>
                    <a:pt x="1671" y="247"/>
                  </a:cubicBezTo>
                  <a:cubicBezTo>
                    <a:pt x="1673" y="238"/>
                    <a:pt x="1666" y="200"/>
                    <a:pt x="1666" y="200"/>
                  </a:cubicBezTo>
                  <a:cubicBezTo>
                    <a:pt x="1649" y="192"/>
                    <a:pt x="1649" y="192"/>
                    <a:pt x="1649" y="192"/>
                  </a:cubicBezTo>
                  <a:cubicBezTo>
                    <a:pt x="1649" y="192"/>
                    <a:pt x="1635" y="177"/>
                    <a:pt x="1625" y="177"/>
                  </a:cubicBezTo>
                  <a:cubicBezTo>
                    <a:pt x="1615" y="176"/>
                    <a:pt x="1609" y="191"/>
                    <a:pt x="1609" y="191"/>
                  </a:cubicBezTo>
                  <a:cubicBezTo>
                    <a:pt x="1609" y="191"/>
                    <a:pt x="1602" y="176"/>
                    <a:pt x="1601" y="167"/>
                  </a:cubicBezTo>
                  <a:cubicBezTo>
                    <a:pt x="1600" y="159"/>
                    <a:pt x="1607" y="135"/>
                    <a:pt x="1607" y="135"/>
                  </a:cubicBezTo>
                  <a:cubicBezTo>
                    <a:pt x="1596" y="120"/>
                    <a:pt x="1596" y="120"/>
                    <a:pt x="1596" y="120"/>
                  </a:cubicBezTo>
                  <a:cubicBezTo>
                    <a:pt x="1596" y="64"/>
                    <a:pt x="1596" y="64"/>
                    <a:pt x="1596" y="64"/>
                  </a:cubicBezTo>
                  <a:cubicBezTo>
                    <a:pt x="1596" y="64"/>
                    <a:pt x="1575" y="50"/>
                    <a:pt x="1578" y="41"/>
                  </a:cubicBezTo>
                  <a:cubicBezTo>
                    <a:pt x="1582" y="32"/>
                    <a:pt x="1586" y="20"/>
                    <a:pt x="1581" y="15"/>
                  </a:cubicBezTo>
                  <a:cubicBezTo>
                    <a:pt x="1576" y="11"/>
                    <a:pt x="1564" y="9"/>
                    <a:pt x="1564" y="9"/>
                  </a:cubicBezTo>
                  <a:cubicBezTo>
                    <a:pt x="1565" y="0"/>
                    <a:pt x="1565" y="0"/>
                    <a:pt x="1565" y="0"/>
                  </a:cubicBezTo>
                  <a:cubicBezTo>
                    <a:pt x="1545" y="5"/>
                    <a:pt x="1545" y="5"/>
                    <a:pt x="1545" y="5"/>
                  </a:cubicBezTo>
                  <a:cubicBezTo>
                    <a:pt x="1541" y="18"/>
                    <a:pt x="1541" y="18"/>
                    <a:pt x="1541" y="18"/>
                  </a:cubicBezTo>
                  <a:cubicBezTo>
                    <a:pt x="1541" y="18"/>
                    <a:pt x="1529" y="26"/>
                    <a:pt x="1523" y="30"/>
                  </a:cubicBezTo>
                  <a:cubicBezTo>
                    <a:pt x="1518" y="34"/>
                    <a:pt x="1531" y="60"/>
                    <a:pt x="1531" y="70"/>
                  </a:cubicBezTo>
                  <a:cubicBezTo>
                    <a:pt x="1530" y="81"/>
                    <a:pt x="1496" y="118"/>
                    <a:pt x="1496" y="118"/>
                  </a:cubicBezTo>
                  <a:cubicBezTo>
                    <a:pt x="1507" y="127"/>
                    <a:pt x="1507" y="127"/>
                    <a:pt x="1507" y="127"/>
                  </a:cubicBezTo>
                  <a:cubicBezTo>
                    <a:pt x="1507" y="127"/>
                    <a:pt x="1492" y="147"/>
                    <a:pt x="1490" y="155"/>
                  </a:cubicBezTo>
                  <a:cubicBezTo>
                    <a:pt x="1488" y="163"/>
                    <a:pt x="1494" y="189"/>
                    <a:pt x="1494" y="189"/>
                  </a:cubicBezTo>
                  <a:cubicBezTo>
                    <a:pt x="1494" y="189"/>
                    <a:pt x="1473" y="273"/>
                    <a:pt x="1472" y="285"/>
                  </a:cubicBezTo>
                  <a:cubicBezTo>
                    <a:pt x="1471" y="296"/>
                    <a:pt x="1444" y="325"/>
                    <a:pt x="1444" y="325"/>
                  </a:cubicBezTo>
                  <a:cubicBezTo>
                    <a:pt x="1444" y="325"/>
                    <a:pt x="1445" y="358"/>
                    <a:pt x="1428" y="366"/>
                  </a:cubicBezTo>
                  <a:cubicBezTo>
                    <a:pt x="1411" y="373"/>
                    <a:pt x="1375" y="381"/>
                    <a:pt x="1375" y="381"/>
                  </a:cubicBezTo>
                  <a:cubicBezTo>
                    <a:pt x="1375" y="381"/>
                    <a:pt x="1354" y="347"/>
                    <a:pt x="1349" y="337"/>
                  </a:cubicBezTo>
                  <a:cubicBezTo>
                    <a:pt x="1344" y="328"/>
                    <a:pt x="1303" y="314"/>
                    <a:pt x="1283" y="306"/>
                  </a:cubicBezTo>
                  <a:cubicBezTo>
                    <a:pt x="1262" y="299"/>
                    <a:pt x="1249" y="266"/>
                    <a:pt x="1246" y="262"/>
                  </a:cubicBezTo>
                  <a:cubicBezTo>
                    <a:pt x="1243" y="259"/>
                    <a:pt x="1223" y="261"/>
                    <a:pt x="1223" y="261"/>
                  </a:cubicBezTo>
                  <a:cubicBezTo>
                    <a:pt x="1207" y="231"/>
                    <a:pt x="1207" y="231"/>
                    <a:pt x="1207" y="231"/>
                  </a:cubicBezTo>
                  <a:cubicBezTo>
                    <a:pt x="1220" y="217"/>
                    <a:pt x="1220" y="217"/>
                    <a:pt x="1220" y="217"/>
                  </a:cubicBezTo>
                  <a:cubicBezTo>
                    <a:pt x="1220" y="217"/>
                    <a:pt x="1213" y="206"/>
                    <a:pt x="1221" y="195"/>
                  </a:cubicBezTo>
                  <a:cubicBezTo>
                    <a:pt x="1229" y="184"/>
                    <a:pt x="1239" y="181"/>
                    <a:pt x="1239" y="181"/>
                  </a:cubicBezTo>
                  <a:cubicBezTo>
                    <a:pt x="1235" y="151"/>
                    <a:pt x="1235" y="151"/>
                    <a:pt x="1235" y="151"/>
                  </a:cubicBezTo>
                  <a:cubicBezTo>
                    <a:pt x="1248" y="139"/>
                    <a:pt x="1248" y="139"/>
                    <a:pt x="1248" y="139"/>
                  </a:cubicBezTo>
                  <a:cubicBezTo>
                    <a:pt x="1248" y="139"/>
                    <a:pt x="1262" y="146"/>
                    <a:pt x="1267" y="144"/>
                  </a:cubicBezTo>
                  <a:cubicBezTo>
                    <a:pt x="1273" y="142"/>
                    <a:pt x="1274" y="119"/>
                    <a:pt x="1274" y="119"/>
                  </a:cubicBezTo>
                  <a:cubicBezTo>
                    <a:pt x="1299" y="95"/>
                    <a:pt x="1299" y="95"/>
                    <a:pt x="1299" y="95"/>
                  </a:cubicBezTo>
                  <a:cubicBezTo>
                    <a:pt x="1299" y="95"/>
                    <a:pt x="1285" y="72"/>
                    <a:pt x="1269" y="69"/>
                  </a:cubicBezTo>
                  <a:cubicBezTo>
                    <a:pt x="1252" y="67"/>
                    <a:pt x="1231" y="92"/>
                    <a:pt x="1231" y="92"/>
                  </a:cubicBezTo>
                  <a:cubicBezTo>
                    <a:pt x="1229" y="78"/>
                    <a:pt x="1229" y="78"/>
                    <a:pt x="1229" y="78"/>
                  </a:cubicBezTo>
                  <a:cubicBezTo>
                    <a:pt x="1209" y="80"/>
                    <a:pt x="1209" y="80"/>
                    <a:pt x="1209" y="80"/>
                  </a:cubicBezTo>
                  <a:cubicBezTo>
                    <a:pt x="1200" y="89"/>
                    <a:pt x="1200" y="89"/>
                    <a:pt x="1200" y="89"/>
                  </a:cubicBezTo>
                  <a:cubicBezTo>
                    <a:pt x="1194" y="78"/>
                    <a:pt x="1194" y="78"/>
                    <a:pt x="1194" y="78"/>
                  </a:cubicBezTo>
                  <a:cubicBezTo>
                    <a:pt x="1170" y="75"/>
                    <a:pt x="1170" y="75"/>
                    <a:pt x="1170" y="75"/>
                  </a:cubicBezTo>
                  <a:cubicBezTo>
                    <a:pt x="1170" y="75"/>
                    <a:pt x="1144" y="56"/>
                    <a:pt x="1139" y="56"/>
                  </a:cubicBezTo>
                  <a:cubicBezTo>
                    <a:pt x="1135" y="57"/>
                    <a:pt x="1101" y="53"/>
                    <a:pt x="1101" y="53"/>
                  </a:cubicBezTo>
                  <a:cubicBezTo>
                    <a:pt x="1101" y="53"/>
                    <a:pt x="1093" y="31"/>
                    <a:pt x="1086" y="28"/>
                  </a:cubicBezTo>
                  <a:cubicBezTo>
                    <a:pt x="1080" y="24"/>
                    <a:pt x="1078" y="38"/>
                    <a:pt x="1078" y="38"/>
                  </a:cubicBezTo>
                  <a:cubicBezTo>
                    <a:pt x="1078" y="38"/>
                    <a:pt x="1053" y="25"/>
                    <a:pt x="1047" y="30"/>
                  </a:cubicBezTo>
                  <a:cubicBezTo>
                    <a:pt x="1041" y="34"/>
                    <a:pt x="1050" y="42"/>
                    <a:pt x="1050" y="42"/>
                  </a:cubicBezTo>
                  <a:cubicBezTo>
                    <a:pt x="1050" y="42"/>
                    <a:pt x="1037" y="41"/>
                    <a:pt x="1035" y="46"/>
                  </a:cubicBezTo>
                  <a:cubicBezTo>
                    <a:pt x="1032" y="52"/>
                    <a:pt x="1049" y="58"/>
                    <a:pt x="1060" y="61"/>
                  </a:cubicBezTo>
                  <a:cubicBezTo>
                    <a:pt x="1071" y="64"/>
                    <a:pt x="1077" y="56"/>
                    <a:pt x="1077" y="56"/>
                  </a:cubicBezTo>
                  <a:cubicBezTo>
                    <a:pt x="1099" y="65"/>
                    <a:pt x="1099" y="65"/>
                    <a:pt x="1099" y="65"/>
                  </a:cubicBezTo>
                  <a:cubicBezTo>
                    <a:pt x="1099" y="65"/>
                    <a:pt x="1077" y="78"/>
                    <a:pt x="1065" y="83"/>
                  </a:cubicBezTo>
                  <a:cubicBezTo>
                    <a:pt x="1054" y="88"/>
                    <a:pt x="1020" y="84"/>
                    <a:pt x="1012" y="86"/>
                  </a:cubicBezTo>
                  <a:cubicBezTo>
                    <a:pt x="1005" y="88"/>
                    <a:pt x="955" y="114"/>
                    <a:pt x="955" y="114"/>
                  </a:cubicBezTo>
                  <a:cubicBezTo>
                    <a:pt x="955" y="114"/>
                    <a:pt x="949" y="131"/>
                    <a:pt x="948" y="142"/>
                  </a:cubicBezTo>
                  <a:cubicBezTo>
                    <a:pt x="947" y="152"/>
                    <a:pt x="968" y="161"/>
                    <a:pt x="968" y="161"/>
                  </a:cubicBezTo>
                  <a:cubicBezTo>
                    <a:pt x="935" y="163"/>
                    <a:pt x="935" y="163"/>
                    <a:pt x="935" y="163"/>
                  </a:cubicBezTo>
                  <a:cubicBezTo>
                    <a:pt x="912" y="185"/>
                    <a:pt x="912" y="185"/>
                    <a:pt x="912" y="185"/>
                  </a:cubicBezTo>
                  <a:cubicBezTo>
                    <a:pt x="912" y="185"/>
                    <a:pt x="916" y="205"/>
                    <a:pt x="910" y="212"/>
                  </a:cubicBezTo>
                  <a:cubicBezTo>
                    <a:pt x="904" y="219"/>
                    <a:pt x="927" y="226"/>
                    <a:pt x="936" y="231"/>
                  </a:cubicBezTo>
                  <a:cubicBezTo>
                    <a:pt x="946" y="235"/>
                    <a:pt x="942" y="256"/>
                    <a:pt x="942" y="256"/>
                  </a:cubicBezTo>
                  <a:cubicBezTo>
                    <a:pt x="927" y="242"/>
                    <a:pt x="927" y="242"/>
                    <a:pt x="927" y="242"/>
                  </a:cubicBezTo>
                  <a:cubicBezTo>
                    <a:pt x="907" y="244"/>
                    <a:pt x="907" y="244"/>
                    <a:pt x="907" y="244"/>
                  </a:cubicBezTo>
                  <a:cubicBezTo>
                    <a:pt x="899" y="256"/>
                    <a:pt x="899" y="256"/>
                    <a:pt x="899" y="256"/>
                  </a:cubicBezTo>
                  <a:cubicBezTo>
                    <a:pt x="872" y="235"/>
                    <a:pt x="872" y="235"/>
                    <a:pt x="872" y="235"/>
                  </a:cubicBezTo>
                  <a:cubicBezTo>
                    <a:pt x="869" y="256"/>
                    <a:pt x="869" y="256"/>
                    <a:pt x="869" y="256"/>
                  </a:cubicBezTo>
                  <a:cubicBezTo>
                    <a:pt x="853" y="261"/>
                    <a:pt x="853" y="261"/>
                    <a:pt x="853" y="261"/>
                  </a:cubicBezTo>
                  <a:cubicBezTo>
                    <a:pt x="856" y="279"/>
                    <a:pt x="856" y="279"/>
                    <a:pt x="856" y="279"/>
                  </a:cubicBezTo>
                  <a:cubicBezTo>
                    <a:pt x="837" y="276"/>
                    <a:pt x="837" y="276"/>
                    <a:pt x="837" y="276"/>
                  </a:cubicBezTo>
                  <a:cubicBezTo>
                    <a:pt x="856" y="232"/>
                    <a:pt x="856" y="232"/>
                    <a:pt x="856" y="232"/>
                  </a:cubicBezTo>
                  <a:cubicBezTo>
                    <a:pt x="856" y="232"/>
                    <a:pt x="851" y="226"/>
                    <a:pt x="848" y="215"/>
                  </a:cubicBezTo>
                  <a:cubicBezTo>
                    <a:pt x="846" y="203"/>
                    <a:pt x="827" y="205"/>
                    <a:pt x="827" y="205"/>
                  </a:cubicBezTo>
                  <a:cubicBezTo>
                    <a:pt x="816" y="187"/>
                    <a:pt x="816" y="187"/>
                    <a:pt x="816" y="187"/>
                  </a:cubicBezTo>
                  <a:cubicBezTo>
                    <a:pt x="816" y="187"/>
                    <a:pt x="825" y="167"/>
                    <a:pt x="814" y="159"/>
                  </a:cubicBezTo>
                  <a:cubicBezTo>
                    <a:pt x="802" y="151"/>
                    <a:pt x="787" y="162"/>
                    <a:pt x="787" y="169"/>
                  </a:cubicBezTo>
                  <a:cubicBezTo>
                    <a:pt x="786" y="176"/>
                    <a:pt x="792" y="176"/>
                    <a:pt x="792" y="176"/>
                  </a:cubicBezTo>
                  <a:cubicBezTo>
                    <a:pt x="788" y="185"/>
                    <a:pt x="788" y="185"/>
                    <a:pt x="788" y="185"/>
                  </a:cubicBezTo>
                  <a:cubicBezTo>
                    <a:pt x="768" y="184"/>
                    <a:pt x="768" y="184"/>
                    <a:pt x="768" y="184"/>
                  </a:cubicBezTo>
                  <a:cubicBezTo>
                    <a:pt x="771" y="202"/>
                    <a:pt x="771" y="202"/>
                    <a:pt x="771" y="202"/>
                  </a:cubicBezTo>
                  <a:cubicBezTo>
                    <a:pt x="758" y="196"/>
                    <a:pt x="758" y="196"/>
                    <a:pt x="758" y="196"/>
                  </a:cubicBezTo>
                  <a:cubicBezTo>
                    <a:pt x="746" y="201"/>
                    <a:pt x="746" y="201"/>
                    <a:pt x="746" y="201"/>
                  </a:cubicBezTo>
                  <a:cubicBezTo>
                    <a:pt x="746" y="201"/>
                    <a:pt x="751" y="209"/>
                    <a:pt x="749" y="219"/>
                  </a:cubicBezTo>
                  <a:cubicBezTo>
                    <a:pt x="747" y="230"/>
                    <a:pt x="731" y="238"/>
                    <a:pt x="731" y="238"/>
                  </a:cubicBezTo>
                  <a:cubicBezTo>
                    <a:pt x="736" y="214"/>
                    <a:pt x="736" y="214"/>
                    <a:pt x="736" y="214"/>
                  </a:cubicBezTo>
                  <a:cubicBezTo>
                    <a:pt x="724" y="229"/>
                    <a:pt x="724" y="229"/>
                    <a:pt x="724" y="229"/>
                  </a:cubicBezTo>
                  <a:cubicBezTo>
                    <a:pt x="724" y="229"/>
                    <a:pt x="713" y="227"/>
                    <a:pt x="706" y="237"/>
                  </a:cubicBezTo>
                  <a:cubicBezTo>
                    <a:pt x="699" y="247"/>
                    <a:pt x="710" y="268"/>
                    <a:pt x="710" y="268"/>
                  </a:cubicBezTo>
                  <a:cubicBezTo>
                    <a:pt x="679" y="255"/>
                    <a:pt x="679" y="255"/>
                    <a:pt x="679" y="255"/>
                  </a:cubicBezTo>
                  <a:cubicBezTo>
                    <a:pt x="676" y="279"/>
                    <a:pt x="676" y="279"/>
                    <a:pt x="676" y="279"/>
                  </a:cubicBezTo>
                  <a:cubicBezTo>
                    <a:pt x="665" y="281"/>
                    <a:pt x="665" y="281"/>
                    <a:pt x="665" y="281"/>
                  </a:cubicBezTo>
                  <a:cubicBezTo>
                    <a:pt x="676" y="298"/>
                    <a:pt x="676" y="298"/>
                    <a:pt x="676" y="298"/>
                  </a:cubicBezTo>
                  <a:cubicBezTo>
                    <a:pt x="688" y="297"/>
                    <a:pt x="688" y="297"/>
                    <a:pt x="688" y="297"/>
                  </a:cubicBezTo>
                  <a:cubicBezTo>
                    <a:pt x="685" y="308"/>
                    <a:pt x="685" y="308"/>
                    <a:pt x="685" y="308"/>
                  </a:cubicBezTo>
                  <a:cubicBezTo>
                    <a:pt x="638" y="312"/>
                    <a:pt x="638" y="312"/>
                    <a:pt x="638" y="312"/>
                  </a:cubicBezTo>
                  <a:cubicBezTo>
                    <a:pt x="638" y="312"/>
                    <a:pt x="624" y="302"/>
                    <a:pt x="614" y="310"/>
                  </a:cubicBezTo>
                  <a:cubicBezTo>
                    <a:pt x="604" y="319"/>
                    <a:pt x="620" y="337"/>
                    <a:pt x="620" y="337"/>
                  </a:cubicBezTo>
                  <a:cubicBezTo>
                    <a:pt x="622" y="359"/>
                    <a:pt x="622" y="359"/>
                    <a:pt x="622" y="359"/>
                  </a:cubicBezTo>
                  <a:cubicBezTo>
                    <a:pt x="616" y="373"/>
                    <a:pt x="616" y="373"/>
                    <a:pt x="616" y="373"/>
                  </a:cubicBezTo>
                  <a:cubicBezTo>
                    <a:pt x="620" y="399"/>
                    <a:pt x="620" y="399"/>
                    <a:pt x="620" y="399"/>
                  </a:cubicBezTo>
                  <a:cubicBezTo>
                    <a:pt x="609" y="400"/>
                    <a:pt x="609" y="400"/>
                    <a:pt x="609" y="400"/>
                  </a:cubicBezTo>
                  <a:cubicBezTo>
                    <a:pt x="606" y="348"/>
                    <a:pt x="606" y="348"/>
                    <a:pt x="606" y="348"/>
                  </a:cubicBezTo>
                  <a:cubicBezTo>
                    <a:pt x="595" y="337"/>
                    <a:pt x="595" y="337"/>
                    <a:pt x="595" y="337"/>
                  </a:cubicBezTo>
                  <a:cubicBezTo>
                    <a:pt x="593" y="316"/>
                    <a:pt x="593" y="316"/>
                    <a:pt x="593" y="316"/>
                  </a:cubicBezTo>
                  <a:cubicBezTo>
                    <a:pt x="580" y="317"/>
                    <a:pt x="580" y="317"/>
                    <a:pt x="580" y="317"/>
                  </a:cubicBezTo>
                  <a:cubicBezTo>
                    <a:pt x="569" y="333"/>
                    <a:pt x="569" y="333"/>
                    <a:pt x="569" y="333"/>
                  </a:cubicBezTo>
                  <a:cubicBezTo>
                    <a:pt x="569" y="333"/>
                    <a:pt x="556" y="344"/>
                    <a:pt x="537" y="360"/>
                  </a:cubicBezTo>
                  <a:cubicBezTo>
                    <a:pt x="519" y="376"/>
                    <a:pt x="531" y="409"/>
                    <a:pt x="531" y="409"/>
                  </a:cubicBezTo>
                  <a:cubicBezTo>
                    <a:pt x="531" y="409"/>
                    <a:pt x="548" y="414"/>
                    <a:pt x="546" y="423"/>
                  </a:cubicBezTo>
                  <a:cubicBezTo>
                    <a:pt x="543" y="433"/>
                    <a:pt x="510" y="445"/>
                    <a:pt x="504" y="448"/>
                  </a:cubicBezTo>
                  <a:cubicBezTo>
                    <a:pt x="498" y="451"/>
                    <a:pt x="501" y="461"/>
                    <a:pt x="501" y="461"/>
                  </a:cubicBezTo>
                  <a:cubicBezTo>
                    <a:pt x="501" y="461"/>
                    <a:pt x="480" y="480"/>
                    <a:pt x="463" y="494"/>
                  </a:cubicBezTo>
                  <a:cubicBezTo>
                    <a:pt x="445" y="507"/>
                    <a:pt x="393" y="512"/>
                    <a:pt x="393" y="512"/>
                  </a:cubicBezTo>
                  <a:cubicBezTo>
                    <a:pt x="359" y="505"/>
                    <a:pt x="359" y="505"/>
                    <a:pt x="359" y="505"/>
                  </a:cubicBezTo>
                  <a:cubicBezTo>
                    <a:pt x="332" y="519"/>
                    <a:pt x="332" y="519"/>
                    <a:pt x="332" y="519"/>
                  </a:cubicBezTo>
                  <a:cubicBezTo>
                    <a:pt x="295" y="524"/>
                    <a:pt x="295" y="524"/>
                    <a:pt x="295" y="524"/>
                  </a:cubicBezTo>
                  <a:cubicBezTo>
                    <a:pt x="290" y="529"/>
                    <a:pt x="290" y="529"/>
                    <a:pt x="290" y="529"/>
                  </a:cubicBezTo>
                  <a:cubicBezTo>
                    <a:pt x="290" y="529"/>
                    <a:pt x="280" y="529"/>
                    <a:pt x="271" y="534"/>
                  </a:cubicBezTo>
                  <a:cubicBezTo>
                    <a:pt x="262" y="538"/>
                    <a:pt x="251" y="549"/>
                    <a:pt x="251" y="549"/>
                  </a:cubicBezTo>
                  <a:cubicBezTo>
                    <a:pt x="251" y="549"/>
                    <a:pt x="232" y="550"/>
                    <a:pt x="218" y="554"/>
                  </a:cubicBezTo>
                  <a:cubicBezTo>
                    <a:pt x="204" y="558"/>
                    <a:pt x="188" y="587"/>
                    <a:pt x="188" y="587"/>
                  </a:cubicBezTo>
                  <a:cubicBezTo>
                    <a:pt x="188" y="587"/>
                    <a:pt x="153" y="595"/>
                    <a:pt x="146" y="599"/>
                  </a:cubicBezTo>
                  <a:cubicBezTo>
                    <a:pt x="138" y="604"/>
                    <a:pt x="103" y="649"/>
                    <a:pt x="103" y="649"/>
                  </a:cubicBezTo>
                  <a:cubicBezTo>
                    <a:pt x="109" y="605"/>
                    <a:pt x="109" y="605"/>
                    <a:pt x="109" y="605"/>
                  </a:cubicBezTo>
                  <a:cubicBezTo>
                    <a:pt x="97" y="612"/>
                    <a:pt x="97" y="612"/>
                    <a:pt x="97" y="612"/>
                  </a:cubicBezTo>
                  <a:cubicBezTo>
                    <a:pt x="83" y="649"/>
                    <a:pt x="83" y="649"/>
                    <a:pt x="83" y="649"/>
                  </a:cubicBezTo>
                  <a:cubicBezTo>
                    <a:pt x="83" y="649"/>
                    <a:pt x="69" y="675"/>
                    <a:pt x="62" y="690"/>
                  </a:cubicBezTo>
                  <a:cubicBezTo>
                    <a:pt x="56" y="705"/>
                    <a:pt x="79" y="711"/>
                    <a:pt x="79" y="711"/>
                  </a:cubicBezTo>
                  <a:cubicBezTo>
                    <a:pt x="79" y="711"/>
                    <a:pt x="59" y="732"/>
                    <a:pt x="49" y="741"/>
                  </a:cubicBezTo>
                  <a:cubicBezTo>
                    <a:pt x="38" y="750"/>
                    <a:pt x="58" y="789"/>
                    <a:pt x="59" y="795"/>
                  </a:cubicBezTo>
                  <a:cubicBezTo>
                    <a:pt x="59" y="802"/>
                    <a:pt x="84" y="845"/>
                    <a:pt x="78" y="849"/>
                  </a:cubicBezTo>
                  <a:cubicBezTo>
                    <a:pt x="72" y="854"/>
                    <a:pt x="48" y="813"/>
                    <a:pt x="48" y="813"/>
                  </a:cubicBezTo>
                  <a:cubicBezTo>
                    <a:pt x="36" y="811"/>
                    <a:pt x="36" y="811"/>
                    <a:pt x="36" y="811"/>
                  </a:cubicBezTo>
                  <a:cubicBezTo>
                    <a:pt x="46" y="841"/>
                    <a:pt x="46" y="841"/>
                    <a:pt x="46" y="841"/>
                  </a:cubicBezTo>
                  <a:cubicBezTo>
                    <a:pt x="23" y="821"/>
                    <a:pt x="23" y="821"/>
                    <a:pt x="23" y="821"/>
                  </a:cubicBezTo>
                  <a:cubicBezTo>
                    <a:pt x="23" y="821"/>
                    <a:pt x="19" y="844"/>
                    <a:pt x="22" y="858"/>
                  </a:cubicBezTo>
                  <a:cubicBezTo>
                    <a:pt x="25" y="872"/>
                    <a:pt x="48" y="907"/>
                    <a:pt x="48" y="907"/>
                  </a:cubicBezTo>
                  <a:cubicBezTo>
                    <a:pt x="48" y="907"/>
                    <a:pt x="37" y="929"/>
                    <a:pt x="35" y="937"/>
                  </a:cubicBezTo>
                  <a:cubicBezTo>
                    <a:pt x="33" y="945"/>
                    <a:pt x="63" y="968"/>
                    <a:pt x="64" y="974"/>
                  </a:cubicBezTo>
                  <a:cubicBezTo>
                    <a:pt x="65" y="981"/>
                    <a:pt x="66" y="1003"/>
                    <a:pt x="60" y="1011"/>
                  </a:cubicBezTo>
                  <a:cubicBezTo>
                    <a:pt x="55" y="1019"/>
                    <a:pt x="68" y="1065"/>
                    <a:pt x="68" y="1065"/>
                  </a:cubicBezTo>
                  <a:cubicBezTo>
                    <a:pt x="68" y="1065"/>
                    <a:pt x="64" y="1067"/>
                    <a:pt x="56" y="1073"/>
                  </a:cubicBezTo>
                  <a:cubicBezTo>
                    <a:pt x="49" y="1079"/>
                    <a:pt x="65" y="1115"/>
                    <a:pt x="65" y="1115"/>
                  </a:cubicBezTo>
                  <a:cubicBezTo>
                    <a:pt x="65" y="1115"/>
                    <a:pt x="85" y="1124"/>
                    <a:pt x="87" y="1141"/>
                  </a:cubicBezTo>
                  <a:cubicBezTo>
                    <a:pt x="89" y="1157"/>
                    <a:pt x="60" y="1186"/>
                    <a:pt x="60" y="1186"/>
                  </a:cubicBezTo>
                  <a:cubicBezTo>
                    <a:pt x="60" y="1186"/>
                    <a:pt x="69" y="1219"/>
                    <a:pt x="52" y="1236"/>
                  </a:cubicBezTo>
                  <a:cubicBezTo>
                    <a:pt x="35" y="1252"/>
                    <a:pt x="4" y="1244"/>
                    <a:pt x="4" y="1244"/>
                  </a:cubicBezTo>
                  <a:cubicBezTo>
                    <a:pt x="0" y="1276"/>
                    <a:pt x="0" y="1276"/>
                    <a:pt x="0" y="1276"/>
                  </a:cubicBezTo>
                  <a:cubicBezTo>
                    <a:pt x="0" y="1276"/>
                    <a:pt x="32" y="1284"/>
                    <a:pt x="41" y="1289"/>
                  </a:cubicBezTo>
                  <a:cubicBezTo>
                    <a:pt x="50" y="1295"/>
                    <a:pt x="56" y="1305"/>
                    <a:pt x="56" y="1305"/>
                  </a:cubicBezTo>
                  <a:cubicBezTo>
                    <a:pt x="73" y="1303"/>
                    <a:pt x="73" y="1303"/>
                    <a:pt x="73" y="1303"/>
                  </a:cubicBezTo>
                  <a:cubicBezTo>
                    <a:pt x="73" y="1303"/>
                    <a:pt x="82" y="1312"/>
                    <a:pt x="96" y="1317"/>
                  </a:cubicBezTo>
                  <a:cubicBezTo>
                    <a:pt x="109" y="1322"/>
                    <a:pt x="140" y="1312"/>
                    <a:pt x="153" y="1311"/>
                  </a:cubicBezTo>
                  <a:cubicBezTo>
                    <a:pt x="165" y="1311"/>
                    <a:pt x="155" y="1295"/>
                    <a:pt x="155" y="1295"/>
                  </a:cubicBezTo>
                  <a:cubicBezTo>
                    <a:pt x="180" y="1297"/>
                    <a:pt x="180" y="1297"/>
                    <a:pt x="180" y="1297"/>
                  </a:cubicBezTo>
                  <a:cubicBezTo>
                    <a:pt x="186" y="1285"/>
                    <a:pt x="186" y="1285"/>
                    <a:pt x="186" y="1285"/>
                  </a:cubicBezTo>
                  <a:cubicBezTo>
                    <a:pt x="213" y="1281"/>
                    <a:pt x="213" y="1281"/>
                    <a:pt x="213" y="1281"/>
                  </a:cubicBezTo>
                  <a:cubicBezTo>
                    <a:pt x="213" y="1281"/>
                    <a:pt x="237" y="1256"/>
                    <a:pt x="250" y="1255"/>
                  </a:cubicBezTo>
                  <a:cubicBezTo>
                    <a:pt x="262" y="1255"/>
                    <a:pt x="274" y="1270"/>
                    <a:pt x="281" y="1268"/>
                  </a:cubicBezTo>
                  <a:cubicBezTo>
                    <a:pt x="289" y="1266"/>
                    <a:pt x="326" y="1248"/>
                    <a:pt x="326" y="1248"/>
                  </a:cubicBezTo>
                  <a:cubicBezTo>
                    <a:pt x="326" y="1248"/>
                    <a:pt x="348" y="1258"/>
                    <a:pt x="359" y="1256"/>
                  </a:cubicBezTo>
                  <a:cubicBezTo>
                    <a:pt x="370" y="1255"/>
                    <a:pt x="377" y="1245"/>
                    <a:pt x="384" y="1244"/>
                  </a:cubicBezTo>
                  <a:cubicBezTo>
                    <a:pt x="392" y="1244"/>
                    <a:pt x="411" y="1256"/>
                    <a:pt x="426" y="1253"/>
                  </a:cubicBezTo>
                  <a:cubicBezTo>
                    <a:pt x="441" y="1250"/>
                    <a:pt x="438" y="1231"/>
                    <a:pt x="438" y="1231"/>
                  </a:cubicBezTo>
                  <a:cubicBezTo>
                    <a:pt x="438" y="1231"/>
                    <a:pt x="450" y="1228"/>
                    <a:pt x="454" y="1225"/>
                  </a:cubicBezTo>
                  <a:cubicBezTo>
                    <a:pt x="459" y="1222"/>
                    <a:pt x="465" y="1195"/>
                    <a:pt x="478" y="1183"/>
                  </a:cubicBezTo>
                  <a:cubicBezTo>
                    <a:pt x="491" y="1171"/>
                    <a:pt x="524" y="1179"/>
                    <a:pt x="535" y="1176"/>
                  </a:cubicBezTo>
                  <a:cubicBezTo>
                    <a:pt x="545" y="1174"/>
                    <a:pt x="579" y="1155"/>
                    <a:pt x="594" y="1153"/>
                  </a:cubicBezTo>
                  <a:cubicBezTo>
                    <a:pt x="610" y="1151"/>
                    <a:pt x="612" y="1158"/>
                    <a:pt x="631" y="1161"/>
                  </a:cubicBezTo>
                  <a:cubicBezTo>
                    <a:pt x="650" y="1164"/>
                    <a:pt x="697" y="1131"/>
                    <a:pt x="716" y="1125"/>
                  </a:cubicBezTo>
                  <a:cubicBezTo>
                    <a:pt x="736" y="1119"/>
                    <a:pt x="819" y="1113"/>
                    <a:pt x="819" y="1113"/>
                  </a:cubicBezTo>
                  <a:cubicBezTo>
                    <a:pt x="826" y="1106"/>
                    <a:pt x="826" y="1106"/>
                    <a:pt x="826" y="1106"/>
                  </a:cubicBezTo>
                  <a:cubicBezTo>
                    <a:pt x="826" y="1106"/>
                    <a:pt x="854" y="1131"/>
                    <a:pt x="872" y="1138"/>
                  </a:cubicBezTo>
                  <a:cubicBezTo>
                    <a:pt x="889" y="1145"/>
                    <a:pt x="896" y="1136"/>
                    <a:pt x="896" y="1136"/>
                  </a:cubicBezTo>
                  <a:cubicBezTo>
                    <a:pt x="896" y="1136"/>
                    <a:pt x="899" y="1153"/>
                    <a:pt x="907" y="1156"/>
                  </a:cubicBezTo>
                  <a:cubicBezTo>
                    <a:pt x="915" y="1159"/>
                    <a:pt x="920" y="1152"/>
                    <a:pt x="920" y="1152"/>
                  </a:cubicBezTo>
                  <a:cubicBezTo>
                    <a:pt x="923" y="1167"/>
                    <a:pt x="923" y="1167"/>
                    <a:pt x="923" y="1167"/>
                  </a:cubicBezTo>
                  <a:cubicBezTo>
                    <a:pt x="923" y="1167"/>
                    <a:pt x="935" y="1165"/>
                    <a:pt x="936" y="1174"/>
                  </a:cubicBezTo>
                  <a:cubicBezTo>
                    <a:pt x="937" y="1182"/>
                    <a:pt x="918" y="1206"/>
                    <a:pt x="918" y="1206"/>
                  </a:cubicBezTo>
                  <a:cubicBezTo>
                    <a:pt x="932" y="1225"/>
                    <a:pt x="932" y="1225"/>
                    <a:pt x="932" y="1225"/>
                  </a:cubicBezTo>
                  <a:cubicBezTo>
                    <a:pt x="941" y="1216"/>
                    <a:pt x="941" y="1216"/>
                    <a:pt x="941" y="1216"/>
                  </a:cubicBezTo>
                  <a:cubicBezTo>
                    <a:pt x="954" y="1243"/>
                    <a:pt x="954" y="1243"/>
                    <a:pt x="954" y="1243"/>
                  </a:cubicBezTo>
                  <a:cubicBezTo>
                    <a:pt x="954" y="1243"/>
                    <a:pt x="963" y="1270"/>
                    <a:pt x="964" y="1279"/>
                  </a:cubicBezTo>
                  <a:cubicBezTo>
                    <a:pt x="965" y="1287"/>
                    <a:pt x="937" y="1280"/>
                    <a:pt x="937" y="1280"/>
                  </a:cubicBezTo>
                  <a:cubicBezTo>
                    <a:pt x="944" y="1303"/>
                    <a:pt x="944" y="1303"/>
                    <a:pt x="944" y="1303"/>
                  </a:cubicBezTo>
                  <a:cubicBezTo>
                    <a:pt x="944" y="1303"/>
                    <a:pt x="953" y="1303"/>
                    <a:pt x="962" y="1304"/>
                  </a:cubicBezTo>
                  <a:cubicBezTo>
                    <a:pt x="971" y="1304"/>
                    <a:pt x="970" y="1311"/>
                    <a:pt x="970" y="1311"/>
                  </a:cubicBezTo>
                  <a:cubicBezTo>
                    <a:pt x="983" y="1308"/>
                    <a:pt x="983" y="1308"/>
                    <a:pt x="983" y="1308"/>
                  </a:cubicBezTo>
                  <a:cubicBezTo>
                    <a:pt x="983" y="1308"/>
                    <a:pt x="979" y="1294"/>
                    <a:pt x="979" y="1283"/>
                  </a:cubicBezTo>
                  <a:cubicBezTo>
                    <a:pt x="980" y="1272"/>
                    <a:pt x="998" y="1263"/>
                    <a:pt x="1010" y="1261"/>
                  </a:cubicBezTo>
                  <a:cubicBezTo>
                    <a:pt x="1022" y="1258"/>
                    <a:pt x="1045" y="1222"/>
                    <a:pt x="1045" y="1222"/>
                  </a:cubicBezTo>
                  <a:cubicBezTo>
                    <a:pt x="1060" y="1224"/>
                    <a:pt x="1060" y="1224"/>
                    <a:pt x="1060" y="1224"/>
                  </a:cubicBezTo>
                  <a:cubicBezTo>
                    <a:pt x="1074" y="1191"/>
                    <a:pt x="1074" y="1191"/>
                    <a:pt x="1074" y="1191"/>
                  </a:cubicBezTo>
                  <a:cubicBezTo>
                    <a:pt x="1074" y="1191"/>
                    <a:pt x="1093" y="1188"/>
                    <a:pt x="1102" y="1187"/>
                  </a:cubicBezTo>
                  <a:cubicBezTo>
                    <a:pt x="1110" y="1186"/>
                    <a:pt x="1115" y="1156"/>
                    <a:pt x="1115" y="1156"/>
                  </a:cubicBezTo>
                  <a:cubicBezTo>
                    <a:pt x="1115" y="1156"/>
                    <a:pt x="1120" y="1180"/>
                    <a:pt x="1121" y="1187"/>
                  </a:cubicBezTo>
                  <a:cubicBezTo>
                    <a:pt x="1122" y="1195"/>
                    <a:pt x="1093" y="1209"/>
                    <a:pt x="1093" y="1209"/>
                  </a:cubicBezTo>
                  <a:cubicBezTo>
                    <a:pt x="1083" y="1210"/>
                    <a:pt x="1083" y="1210"/>
                    <a:pt x="1083" y="1210"/>
                  </a:cubicBezTo>
                  <a:cubicBezTo>
                    <a:pt x="1078" y="1217"/>
                    <a:pt x="1078" y="1217"/>
                    <a:pt x="1078" y="1217"/>
                  </a:cubicBezTo>
                  <a:cubicBezTo>
                    <a:pt x="1089" y="1240"/>
                    <a:pt x="1089" y="1240"/>
                    <a:pt x="1089" y="1240"/>
                  </a:cubicBezTo>
                  <a:cubicBezTo>
                    <a:pt x="1089" y="1240"/>
                    <a:pt x="1079" y="1244"/>
                    <a:pt x="1072" y="1248"/>
                  </a:cubicBezTo>
                  <a:cubicBezTo>
                    <a:pt x="1065" y="1253"/>
                    <a:pt x="1047" y="1276"/>
                    <a:pt x="1047" y="1276"/>
                  </a:cubicBezTo>
                  <a:cubicBezTo>
                    <a:pt x="1047" y="1276"/>
                    <a:pt x="1042" y="1295"/>
                    <a:pt x="1035" y="1299"/>
                  </a:cubicBezTo>
                  <a:cubicBezTo>
                    <a:pt x="1028" y="1304"/>
                    <a:pt x="1004" y="1313"/>
                    <a:pt x="1011" y="1319"/>
                  </a:cubicBezTo>
                  <a:cubicBezTo>
                    <a:pt x="1018" y="1326"/>
                    <a:pt x="1045" y="1316"/>
                    <a:pt x="1054" y="1313"/>
                  </a:cubicBezTo>
                  <a:cubicBezTo>
                    <a:pt x="1062" y="1309"/>
                    <a:pt x="1063" y="1296"/>
                    <a:pt x="1069" y="1287"/>
                  </a:cubicBezTo>
                  <a:cubicBezTo>
                    <a:pt x="1076" y="1277"/>
                    <a:pt x="1090" y="1267"/>
                    <a:pt x="1090" y="1267"/>
                  </a:cubicBezTo>
                  <a:cubicBezTo>
                    <a:pt x="1090" y="1267"/>
                    <a:pt x="1093" y="1292"/>
                    <a:pt x="1095" y="1298"/>
                  </a:cubicBezTo>
                  <a:cubicBezTo>
                    <a:pt x="1097" y="1304"/>
                    <a:pt x="1084" y="1315"/>
                    <a:pt x="1075" y="1320"/>
                  </a:cubicBezTo>
                  <a:cubicBezTo>
                    <a:pt x="1067" y="1325"/>
                    <a:pt x="1066" y="1333"/>
                    <a:pt x="1072" y="1339"/>
                  </a:cubicBezTo>
                  <a:cubicBezTo>
                    <a:pt x="1079" y="1344"/>
                    <a:pt x="1110" y="1344"/>
                    <a:pt x="1110" y="1344"/>
                  </a:cubicBezTo>
                  <a:cubicBezTo>
                    <a:pt x="1115" y="1351"/>
                    <a:pt x="1115" y="1351"/>
                    <a:pt x="1115" y="1351"/>
                  </a:cubicBezTo>
                  <a:cubicBezTo>
                    <a:pt x="1100" y="1364"/>
                    <a:pt x="1100" y="1364"/>
                    <a:pt x="1100" y="1364"/>
                  </a:cubicBezTo>
                  <a:cubicBezTo>
                    <a:pt x="1100" y="1364"/>
                    <a:pt x="1116" y="1393"/>
                    <a:pt x="1118" y="1403"/>
                  </a:cubicBezTo>
                  <a:cubicBezTo>
                    <a:pt x="1121" y="1414"/>
                    <a:pt x="1097" y="1430"/>
                    <a:pt x="1088" y="1441"/>
                  </a:cubicBezTo>
                  <a:cubicBezTo>
                    <a:pt x="1078" y="1452"/>
                    <a:pt x="1110" y="1474"/>
                    <a:pt x="1118" y="1477"/>
                  </a:cubicBezTo>
                  <a:cubicBezTo>
                    <a:pt x="1125" y="1480"/>
                    <a:pt x="1139" y="1500"/>
                    <a:pt x="1154" y="1505"/>
                  </a:cubicBezTo>
                  <a:cubicBezTo>
                    <a:pt x="1169" y="1510"/>
                    <a:pt x="1180" y="1501"/>
                    <a:pt x="1194" y="1504"/>
                  </a:cubicBezTo>
                  <a:cubicBezTo>
                    <a:pt x="1207" y="1507"/>
                    <a:pt x="1210" y="1524"/>
                    <a:pt x="1229" y="1527"/>
                  </a:cubicBezTo>
                  <a:cubicBezTo>
                    <a:pt x="1249" y="1531"/>
                    <a:pt x="1297" y="1498"/>
                    <a:pt x="1297" y="1498"/>
                  </a:cubicBezTo>
                  <a:cubicBezTo>
                    <a:pt x="1297" y="1498"/>
                    <a:pt x="1290" y="1484"/>
                    <a:pt x="1305" y="1475"/>
                  </a:cubicBezTo>
                  <a:cubicBezTo>
                    <a:pt x="1320" y="1466"/>
                    <a:pt x="1319" y="1502"/>
                    <a:pt x="1319" y="1502"/>
                  </a:cubicBezTo>
                  <a:cubicBezTo>
                    <a:pt x="1330" y="1501"/>
                    <a:pt x="1330" y="1501"/>
                    <a:pt x="1330" y="1501"/>
                  </a:cubicBezTo>
                  <a:cubicBezTo>
                    <a:pt x="1320" y="1517"/>
                    <a:pt x="1320" y="1517"/>
                    <a:pt x="1320" y="1517"/>
                  </a:cubicBezTo>
                  <a:cubicBezTo>
                    <a:pt x="1333" y="1518"/>
                    <a:pt x="1333" y="1518"/>
                    <a:pt x="1333" y="1518"/>
                  </a:cubicBezTo>
                  <a:cubicBezTo>
                    <a:pt x="1333" y="1518"/>
                    <a:pt x="1334" y="1530"/>
                    <a:pt x="1341" y="1539"/>
                  </a:cubicBezTo>
                  <a:cubicBezTo>
                    <a:pt x="1347" y="1547"/>
                    <a:pt x="1354" y="1543"/>
                    <a:pt x="1354" y="1543"/>
                  </a:cubicBezTo>
                  <a:cubicBezTo>
                    <a:pt x="1360" y="1532"/>
                    <a:pt x="1360" y="1532"/>
                    <a:pt x="1360" y="1532"/>
                  </a:cubicBezTo>
                  <a:cubicBezTo>
                    <a:pt x="1360" y="1532"/>
                    <a:pt x="1378" y="1530"/>
                    <a:pt x="1388" y="1521"/>
                  </a:cubicBezTo>
                  <a:cubicBezTo>
                    <a:pt x="1399" y="1513"/>
                    <a:pt x="1443" y="1482"/>
                    <a:pt x="1443" y="1482"/>
                  </a:cubicBezTo>
                  <a:cubicBezTo>
                    <a:pt x="1438" y="1472"/>
                    <a:pt x="1438" y="1472"/>
                    <a:pt x="1438" y="1472"/>
                  </a:cubicBezTo>
                  <a:cubicBezTo>
                    <a:pt x="1462" y="1468"/>
                    <a:pt x="1462" y="1468"/>
                    <a:pt x="1462" y="1468"/>
                  </a:cubicBezTo>
                  <a:cubicBezTo>
                    <a:pt x="1471" y="1476"/>
                    <a:pt x="1471" y="1476"/>
                    <a:pt x="1471" y="1476"/>
                  </a:cubicBezTo>
                  <a:cubicBezTo>
                    <a:pt x="1471" y="1476"/>
                    <a:pt x="1510" y="1469"/>
                    <a:pt x="1533" y="1461"/>
                  </a:cubicBezTo>
                  <a:cubicBezTo>
                    <a:pt x="1555" y="1452"/>
                    <a:pt x="1557" y="1408"/>
                    <a:pt x="1560" y="1396"/>
                  </a:cubicBezTo>
                  <a:cubicBezTo>
                    <a:pt x="1564" y="1385"/>
                    <a:pt x="1590" y="1370"/>
                    <a:pt x="1590" y="1370"/>
                  </a:cubicBezTo>
                  <a:cubicBezTo>
                    <a:pt x="1590" y="1355"/>
                    <a:pt x="1590" y="1355"/>
                    <a:pt x="1590" y="1355"/>
                  </a:cubicBezTo>
                  <a:cubicBezTo>
                    <a:pt x="1590" y="1355"/>
                    <a:pt x="1605" y="1349"/>
                    <a:pt x="1613" y="1338"/>
                  </a:cubicBezTo>
                  <a:cubicBezTo>
                    <a:pt x="1620" y="1328"/>
                    <a:pt x="1631" y="1314"/>
                    <a:pt x="1631" y="1314"/>
                  </a:cubicBezTo>
                  <a:cubicBezTo>
                    <a:pt x="1631" y="1314"/>
                    <a:pt x="1633" y="1285"/>
                    <a:pt x="1641" y="1275"/>
                  </a:cubicBezTo>
                  <a:cubicBezTo>
                    <a:pt x="1648" y="1266"/>
                    <a:pt x="1682" y="1228"/>
                    <a:pt x="1695" y="1222"/>
                  </a:cubicBezTo>
                  <a:cubicBezTo>
                    <a:pt x="1707" y="1216"/>
                    <a:pt x="1709" y="1185"/>
                    <a:pt x="1709" y="1185"/>
                  </a:cubicBezTo>
                  <a:cubicBezTo>
                    <a:pt x="1709" y="1185"/>
                    <a:pt x="1732" y="1189"/>
                    <a:pt x="1741" y="1179"/>
                  </a:cubicBezTo>
                  <a:cubicBezTo>
                    <a:pt x="1750" y="1170"/>
                    <a:pt x="1797" y="1111"/>
                    <a:pt x="1800" y="1104"/>
                  </a:cubicBezTo>
                  <a:cubicBezTo>
                    <a:pt x="1804" y="1098"/>
                    <a:pt x="1803" y="1067"/>
                    <a:pt x="1813" y="1060"/>
                  </a:cubicBezTo>
                  <a:cubicBezTo>
                    <a:pt x="1822" y="1053"/>
                    <a:pt x="1864" y="971"/>
                    <a:pt x="1874" y="952"/>
                  </a:cubicBezTo>
                  <a:cubicBezTo>
                    <a:pt x="1884" y="933"/>
                    <a:pt x="1872" y="920"/>
                    <a:pt x="1871" y="907"/>
                  </a:cubicBezTo>
                  <a:cubicBezTo>
                    <a:pt x="1870" y="894"/>
                    <a:pt x="1880" y="873"/>
                    <a:pt x="1889" y="859"/>
                  </a:cubicBezTo>
                  <a:cubicBezTo>
                    <a:pt x="1898" y="845"/>
                    <a:pt x="1888" y="783"/>
                    <a:pt x="1888" y="783"/>
                  </a:cubicBezTo>
                  <a:lnTo>
                    <a:pt x="1869" y="774"/>
                  </a:lnTo>
                  <a:close/>
                  <a:moveTo>
                    <a:pt x="1347" y="1624"/>
                  </a:moveTo>
                  <a:cubicBezTo>
                    <a:pt x="1349" y="1631"/>
                    <a:pt x="1373" y="1619"/>
                    <a:pt x="1364" y="1612"/>
                  </a:cubicBezTo>
                  <a:cubicBezTo>
                    <a:pt x="1355" y="1605"/>
                    <a:pt x="1347" y="1624"/>
                    <a:pt x="1347" y="1624"/>
                  </a:cubicBezTo>
                  <a:close/>
                  <a:moveTo>
                    <a:pt x="1332" y="1632"/>
                  </a:moveTo>
                  <a:cubicBezTo>
                    <a:pt x="1323" y="1626"/>
                    <a:pt x="1312" y="1646"/>
                    <a:pt x="1312" y="1646"/>
                  </a:cubicBezTo>
                  <a:cubicBezTo>
                    <a:pt x="1312" y="1646"/>
                    <a:pt x="1308" y="1640"/>
                    <a:pt x="1304" y="1640"/>
                  </a:cubicBezTo>
                  <a:cubicBezTo>
                    <a:pt x="1300" y="1639"/>
                    <a:pt x="1277" y="1643"/>
                    <a:pt x="1277" y="1643"/>
                  </a:cubicBezTo>
                  <a:cubicBezTo>
                    <a:pt x="1274" y="1651"/>
                    <a:pt x="1274" y="1651"/>
                    <a:pt x="1274" y="1651"/>
                  </a:cubicBezTo>
                  <a:cubicBezTo>
                    <a:pt x="1261" y="1640"/>
                    <a:pt x="1261" y="1640"/>
                    <a:pt x="1261" y="1640"/>
                  </a:cubicBezTo>
                  <a:cubicBezTo>
                    <a:pt x="1236" y="1638"/>
                    <a:pt x="1236" y="1638"/>
                    <a:pt x="1236" y="1638"/>
                  </a:cubicBezTo>
                  <a:cubicBezTo>
                    <a:pt x="1221" y="1620"/>
                    <a:pt x="1221" y="1620"/>
                    <a:pt x="1221" y="1620"/>
                  </a:cubicBezTo>
                  <a:cubicBezTo>
                    <a:pt x="1221" y="1620"/>
                    <a:pt x="1216" y="1623"/>
                    <a:pt x="1210" y="1624"/>
                  </a:cubicBezTo>
                  <a:cubicBezTo>
                    <a:pt x="1205" y="1625"/>
                    <a:pt x="1188" y="1605"/>
                    <a:pt x="1188" y="1605"/>
                  </a:cubicBezTo>
                  <a:cubicBezTo>
                    <a:pt x="1184" y="1616"/>
                    <a:pt x="1184" y="1616"/>
                    <a:pt x="1184" y="1616"/>
                  </a:cubicBezTo>
                  <a:cubicBezTo>
                    <a:pt x="1188" y="1629"/>
                    <a:pt x="1188" y="1629"/>
                    <a:pt x="1188" y="1629"/>
                  </a:cubicBezTo>
                  <a:cubicBezTo>
                    <a:pt x="1188" y="1629"/>
                    <a:pt x="1189" y="1645"/>
                    <a:pt x="1187" y="1650"/>
                  </a:cubicBezTo>
                  <a:cubicBezTo>
                    <a:pt x="1185" y="1655"/>
                    <a:pt x="1179" y="1663"/>
                    <a:pt x="1185" y="1674"/>
                  </a:cubicBezTo>
                  <a:cubicBezTo>
                    <a:pt x="1191" y="1685"/>
                    <a:pt x="1184" y="1691"/>
                    <a:pt x="1176" y="1694"/>
                  </a:cubicBezTo>
                  <a:cubicBezTo>
                    <a:pt x="1167" y="1696"/>
                    <a:pt x="1160" y="1686"/>
                    <a:pt x="1160" y="1686"/>
                  </a:cubicBezTo>
                  <a:cubicBezTo>
                    <a:pt x="1160" y="1686"/>
                    <a:pt x="1156" y="1700"/>
                    <a:pt x="1155" y="1713"/>
                  </a:cubicBezTo>
                  <a:cubicBezTo>
                    <a:pt x="1154" y="1727"/>
                    <a:pt x="1166" y="1748"/>
                    <a:pt x="1166" y="1748"/>
                  </a:cubicBezTo>
                  <a:cubicBezTo>
                    <a:pt x="1181" y="1750"/>
                    <a:pt x="1181" y="1750"/>
                    <a:pt x="1181" y="1750"/>
                  </a:cubicBezTo>
                  <a:cubicBezTo>
                    <a:pt x="1168" y="1757"/>
                    <a:pt x="1168" y="1757"/>
                    <a:pt x="1168" y="1757"/>
                  </a:cubicBezTo>
                  <a:cubicBezTo>
                    <a:pt x="1173" y="1774"/>
                    <a:pt x="1173" y="1774"/>
                    <a:pt x="1173" y="1774"/>
                  </a:cubicBezTo>
                  <a:cubicBezTo>
                    <a:pt x="1173" y="1774"/>
                    <a:pt x="1185" y="1769"/>
                    <a:pt x="1191" y="1766"/>
                  </a:cubicBezTo>
                  <a:cubicBezTo>
                    <a:pt x="1198" y="1763"/>
                    <a:pt x="1203" y="1773"/>
                    <a:pt x="1214" y="1769"/>
                  </a:cubicBezTo>
                  <a:cubicBezTo>
                    <a:pt x="1225" y="1764"/>
                    <a:pt x="1232" y="1748"/>
                    <a:pt x="1239" y="1752"/>
                  </a:cubicBezTo>
                  <a:cubicBezTo>
                    <a:pt x="1247" y="1757"/>
                    <a:pt x="1236" y="1768"/>
                    <a:pt x="1236" y="1768"/>
                  </a:cubicBezTo>
                  <a:cubicBezTo>
                    <a:pt x="1247" y="1772"/>
                    <a:pt x="1247" y="1772"/>
                    <a:pt x="1247" y="1772"/>
                  </a:cubicBezTo>
                  <a:cubicBezTo>
                    <a:pt x="1247" y="1772"/>
                    <a:pt x="1268" y="1744"/>
                    <a:pt x="1277" y="1738"/>
                  </a:cubicBezTo>
                  <a:cubicBezTo>
                    <a:pt x="1285" y="1733"/>
                    <a:pt x="1268" y="1726"/>
                    <a:pt x="1268" y="1726"/>
                  </a:cubicBezTo>
                  <a:cubicBezTo>
                    <a:pt x="1282" y="1706"/>
                    <a:pt x="1282" y="1706"/>
                    <a:pt x="1282" y="1706"/>
                  </a:cubicBezTo>
                  <a:cubicBezTo>
                    <a:pt x="1282" y="1706"/>
                    <a:pt x="1292" y="1710"/>
                    <a:pt x="1303" y="1704"/>
                  </a:cubicBezTo>
                  <a:cubicBezTo>
                    <a:pt x="1314" y="1699"/>
                    <a:pt x="1305" y="1678"/>
                    <a:pt x="1315" y="1667"/>
                  </a:cubicBezTo>
                  <a:cubicBezTo>
                    <a:pt x="1326" y="1656"/>
                    <a:pt x="1340" y="1638"/>
                    <a:pt x="1332" y="1632"/>
                  </a:cubicBezTo>
                  <a:close/>
                  <a:moveTo>
                    <a:pt x="1269" y="162"/>
                  </a:moveTo>
                  <a:cubicBezTo>
                    <a:pt x="1263" y="162"/>
                    <a:pt x="1259" y="193"/>
                    <a:pt x="1259" y="193"/>
                  </a:cubicBezTo>
                  <a:cubicBezTo>
                    <a:pt x="1269" y="207"/>
                    <a:pt x="1290" y="195"/>
                    <a:pt x="1290" y="195"/>
                  </a:cubicBezTo>
                  <a:cubicBezTo>
                    <a:pt x="1286" y="186"/>
                    <a:pt x="1286" y="186"/>
                    <a:pt x="1286" y="186"/>
                  </a:cubicBezTo>
                  <a:cubicBezTo>
                    <a:pt x="1290" y="167"/>
                    <a:pt x="1290" y="167"/>
                    <a:pt x="1290" y="167"/>
                  </a:cubicBezTo>
                  <a:cubicBezTo>
                    <a:pt x="1290" y="167"/>
                    <a:pt x="1274" y="162"/>
                    <a:pt x="1269" y="162"/>
                  </a:cubicBezTo>
                  <a:close/>
                  <a:moveTo>
                    <a:pt x="1182" y="1554"/>
                  </a:moveTo>
                  <a:cubicBezTo>
                    <a:pt x="1175" y="1581"/>
                    <a:pt x="1175" y="1581"/>
                    <a:pt x="1175" y="1581"/>
                  </a:cubicBezTo>
                  <a:cubicBezTo>
                    <a:pt x="1209" y="1549"/>
                    <a:pt x="1209" y="1549"/>
                    <a:pt x="1209" y="1549"/>
                  </a:cubicBezTo>
                  <a:lnTo>
                    <a:pt x="1182" y="1554"/>
                  </a:lnTo>
                  <a:close/>
                  <a:moveTo>
                    <a:pt x="1357" y="1597"/>
                  </a:moveTo>
                  <a:cubicBezTo>
                    <a:pt x="1345" y="1572"/>
                    <a:pt x="1345" y="1572"/>
                    <a:pt x="1345" y="1572"/>
                  </a:cubicBezTo>
                  <a:cubicBezTo>
                    <a:pt x="1345" y="1572"/>
                    <a:pt x="1333" y="1579"/>
                    <a:pt x="1332" y="1587"/>
                  </a:cubicBezTo>
                  <a:cubicBezTo>
                    <a:pt x="1332" y="1594"/>
                    <a:pt x="1334" y="1597"/>
                    <a:pt x="1343" y="1600"/>
                  </a:cubicBezTo>
                  <a:cubicBezTo>
                    <a:pt x="1352" y="1603"/>
                    <a:pt x="1357" y="1597"/>
                    <a:pt x="1357" y="1597"/>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96" name="Freeform 157"/>
            <p:cNvSpPr>
              <a:spLocks/>
            </p:cNvSpPr>
            <p:nvPr/>
          </p:nvSpPr>
          <p:spPr bwMode="gray">
            <a:xfrm>
              <a:off x="2262188" y="2692400"/>
              <a:ext cx="11112" cy="14288"/>
            </a:xfrm>
            <a:custGeom>
              <a:avLst/>
              <a:gdLst>
                <a:gd name="T0" fmla="*/ 0 w 22"/>
                <a:gd name="T1" fmla="*/ 15 h 25"/>
                <a:gd name="T2" fmla="*/ 12 w 22"/>
                <a:gd name="T3" fmla="*/ 22 h 25"/>
                <a:gd name="T4" fmla="*/ 15 w 22"/>
                <a:gd name="T5" fmla="*/ 9 h 25"/>
                <a:gd name="T6" fmla="*/ 0 w 22"/>
                <a:gd name="T7" fmla="*/ 15 h 25"/>
              </a:gdLst>
              <a:ahLst/>
              <a:cxnLst>
                <a:cxn ang="0">
                  <a:pos x="T0" y="T1"/>
                </a:cxn>
                <a:cxn ang="0">
                  <a:pos x="T2" y="T3"/>
                </a:cxn>
                <a:cxn ang="0">
                  <a:pos x="T4" y="T5"/>
                </a:cxn>
                <a:cxn ang="0">
                  <a:pos x="T6" y="T7"/>
                </a:cxn>
              </a:cxnLst>
              <a:rect l="0" t="0" r="r" b="b"/>
              <a:pathLst>
                <a:path w="22" h="25">
                  <a:moveTo>
                    <a:pt x="0" y="15"/>
                  </a:moveTo>
                  <a:cubicBezTo>
                    <a:pt x="0" y="15"/>
                    <a:pt x="2" y="25"/>
                    <a:pt x="12" y="22"/>
                  </a:cubicBezTo>
                  <a:cubicBezTo>
                    <a:pt x="22" y="19"/>
                    <a:pt x="18" y="18"/>
                    <a:pt x="15" y="9"/>
                  </a:cubicBezTo>
                  <a:cubicBezTo>
                    <a:pt x="12" y="0"/>
                    <a:pt x="0" y="4"/>
                    <a:pt x="0" y="15"/>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97" name="Freeform 158"/>
            <p:cNvSpPr>
              <a:spLocks noEditPoints="1"/>
            </p:cNvSpPr>
            <p:nvPr/>
          </p:nvSpPr>
          <p:spPr bwMode="gray">
            <a:xfrm>
              <a:off x="1295400" y="1636713"/>
              <a:ext cx="2081212" cy="1077913"/>
            </a:xfrm>
            <a:custGeom>
              <a:avLst/>
              <a:gdLst>
                <a:gd name="T0" fmla="*/ 1824 w 3718"/>
                <a:gd name="T1" fmla="*/ 304 h 1928"/>
                <a:gd name="T2" fmla="*/ 1868 w 3718"/>
                <a:gd name="T3" fmla="*/ 216 h 1928"/>
                <a:gd name="T4" fmla="*/ 141 w 3718"/>
                <a:gd name="T5" fmla="*/ 1354 h 1928"/>
                <a:gd name="T6" fmla="*/ 138 w 3718"/>
                <a:gd name="T7" fmla="*/ 1561 h 1928"/>
                <a:gd name="T8" fmla="*/ 1554 w 3718"/>
                <a:gd name="T9" fmla="*/ 213 h 1928"/>
                <a:gd name="T10" fmla="*/ 34 w 3718"/>
                <a:gd name="T11" fmla="*/ 1340 h 1928"/>
                <a:gd name="T12" fmla="*/ 1227 w 3718"/>
                <a:gd name="T13" fmla="*/ 437 h 1928"/>
                <a:gd name="T14" fmla="*/ 2245 w 3718"/>
                <a:gd name="T15" fmla="*/ 414 h 1928"/>
                <a:gd name="T16" fmla="*/ 2627 w 3718"/>
                <a:gd name="T17" fmla="*/ 171 h 1928"/>
                <a:gd name="T18" fmla="*/ 2592 w 3718"/>
                <a:gd name="T19" fmla="*/ 114 h 1928"/>
                <a:gd name="T20" fmla="*/ 2731 w 3718"/>
                <a:gd name="T21" fmla="*/ 327 h 1928"/>
                <a:gd name="T22" fmla="*/ 2578 w 3718"/>
                <a:gd name="T23" fmla="*/ 240 h 1928"/>
                <a:gd name="T24" fmla="*/ 2488 w 3718"/>
                <a:gd name="T25" fmla="*/ 156 h 1928"/>
                <a:gd name="T26" fmla="*/ 1744 w 3718"/>
                <a:gd name="T27" fmla="*/ 405 h 1928"/>
                <a:gd name="T28" fmla="*/ 1851 w 3718"/>
                <a:gd name="T29" fmla="*/ 586 h 1928"/>
                <a:gd name="T30" fmla="*/ 2278 w 3718"/>
                <a:gd name="T31" fmla="*/ 144 h 1928"/>
                <a:gd name="T32" fmla="*/ 3024 w 3718"/>
                <a:gd name="T33" fmla="*/ 564 h 1928"/>
                <a:gd name="T34" fmla="*/ 2988 w 3718"/>
                <a:gd name="T35" fmla="*/ 474 h 1928"/>
                <a:gd name="T36" fmla="*/ 2753 w 3718"/>
                <a:gd name="T37" fmla="*/ 381 h 1928"/>
                <a:gd name="T38" fmla="*/ 2565 w 3718"/>
                <a:gd name="T39" fmla="*/ 358 h 1928"/>
                <a:gd name="T40" fmla="*/ 2816 w 3718"/>
                <a:gd name="T41" fmla="*/ 590 h 1928"/>
                <a:gd name="T42" fmla="*/ 2732 w 3718"/>
                <a:gd name="T43" fmla="*/ 829 h 1928"/>
                <a:gd name="T44" fmla="*/ 2995 w 3718"/>
                <a:gd name="T45" fmla="*/ 792 h 1928"/>
                <a:gd name="T46" fmla="*/ 3152 w 3718"/>
                <a:gd name="T47" fmla="*/ 694 h 1928"/>
                <a:gd name="T48" fmla="*/ 2821 w 3718"/>
                <a:gd name="T49" fmla="*/ 613 h 1928"/>
                <a:gd name="T50" fmla="*/ 3034 w 3718"/>
                <a:gd name="T51" fmla="*/ 25 h 1928"/>
                <a:gd name="T52" fmla="*/ 3027 w 3718"/>
                <a:gd name="T53" fmla="*/ 92 h 1928"/>
                <a:gd name="T54" fmla="*/ 2737 w 3718"/>
                <a:gd name="T55" fmla="*/ 191 h 1928"/>
                <a:gd name="T56" fmla="*/ 2975 w 3718"/>
                <a:gd name="T57" fmla="*/ 248 h 1928"/>
                <a:gd name="T58" fmla="*/ 3379 w 3718"/>
                <a:gd name="T59" fmla="*/ 91 h 1928"/>
                <a:gd name="T60" fmla="*/ 2747 w 3718"/>
                <a:gd name="T61" fmla="*/ 549 h 1928"/>
                <a:gd name="T62" fmla="*/ 2686 w 3718"/>
                <a:gd name="T63" fmla="*/ 1536 h 1928"/>
                <a:gd name="T64" fmla="*/ 2958 w 3718"/>
                <a:gd name="T65" fmla="*/ 1304 h 1928"/>
                <a:gd name="T66" fmla="*/ 2899 w 3718"/>
                <a:gd name="T67" fmla="*/ 1093 h 1928"/>
                <a:gd name="T68" fmla="*/ 2744 w 3718"/>
                <a:gd name="T69" fmla="*/ 1079 h 1928"/>
                <a:gd name="T70" fmla="*/ 2677 w 3718"/>
                <a:gd name="T71" fmla="*/ 900 h 1928"/>
                <a:gd name="T72" fmla="*/ 2180 w 3718"/>
                <a:gd name="T73" fmla="*/ 1298 h 1928"/>
                <a:gd name="T74" fmla="*/ 1908 w 3718"/>
                <a:gd name="T75" fmla="*/ 1200 h 1928"/>
                <a:gd name="T76" fmla="*/ 1986 w 3718"/>
                <a:gd name="T77" fmla="*/ 814 h 1928"/>
                <a:gd name="T78" fmla="*/ 2401 w 3718"/>
                <a:gd name="T79" fmla="*/ 658 h 1928"/>
                <a:gd name="T80" fmla="*/ 2262 w 3718"/>
                <a:gd name="T81" fmla="*/ 563 h 1928"/>
                <a:gd name="T82" fmla="*/ 2163 w 3718"/>
                <a:gd name="T83" fmla="*/ 561 h 1928"/>
                <a:gd name="T84" fmla="*/ 1863 w 3718"/>
                <a:gd name="T85" fmla="*/ 625 h 1928"/>
                <a:gd name="T86" fmla="*/ 1155 w 3718"/>
                <a:gd name="T87" fmla="*/ 554 h 1928"/>
                <a:gd name="T88" fmla="*/ 983 w 3718"/>
                <a:gd name="T89" fmla="*/ 514 h 1928"/>
                <a:gd name="T90" fmla="*/ 52 w 3718"/>
                <a:gd name="T91" fmla="*/ 964 h 1928"/>
                <a:gd name="T92" fmla="*/ 225 w 3718"/>
                <a:gd name="T93" fmla="*/ 1187 h 1928"/>
                <a:gd name="T94" fmla="*/ 184 w 3718"/>
                <a:gd name="T95" fmla="*/ 1387 h 1928"/>
                <a:gd name="T96" fmla="*/ 1394 w 3718"/>
                <a:gd name="T97" fmla="*/ 1537 h 1928"/>
                <a:gd name="T98" fmla="*/ 1727 w 3718"/>
                <a:gd name="T99" fmla="*/ 1604 h 1928"/>
                <a:gd name="T100" fmla="*/ 1868 w 3718"/>
                <a:gd name="T101" fmla="*/ 1783 h 1928"/>
                <a:gd name="T102" fmla="*/ 1928 w 3718"/>
                <a:gd name="T103" fmla="*/ 1826 h 1928"/>
                <a:gd name="T104" fmla="*/ 2453 w 3718"/>
                <a:gd name="T105" fmla="*/ 1735 h 1928"/>
                <a:gd name="T106" fmla="*/ 2655 w 3718"/>
                <a:gd name="T107" fmla="*/ 1772 h 1928"/>
                <a:gd name="T108" fmla="*/ 2574 w 3718"/>
                <a:gd name="T109" fmla="*/ 1597 h 1928"/>
                <a:gd name="T110" fmla="*/ 2967 w 3718"/>
                <a:gd name="T111" fmla="*/ 1436 h 1928"/>
                <a:gd name="T112" fmla="*/ 1119 w 3718"/>
                <a:gd name="T113" fmla="*/ 664 h 1928"/>
                <a:gd name="T114" fmla="*/ 990 w 3718"/>
                <a:gd name="T115" fmla="*/ 760 h 1928"/>
                <a:gd name="T116" fmla="*/ 985 w 3718"/>
                <a:gd name="T117" fmla="*/ 939 h 1928"/>
                <a:gd name="T118" fmla="*/ 1403 w 3718"/>
                <a:gd name="T119" fmla="*/ 1433 h 1928"/>
                <a:gd name="T120" fmla="*/ 2456 w 3718"/>
                <a:gd name="T121" fmla="*/ 825 h 1928"/>
                <a:gd name="T122" fmla="*/ 2386 w 3718"/>
                <a:gd name="T123" fmla="*/ 823 h 1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718" h="1928">
                  <a:moveTo>
                    <a:pt x="2074" y="170"/>
                  </a:moveTo>
                  <a:cubicBezTo>
                    <a:pt x="2084" y="169"/>
                    <a:pt x="2113" y="177"/>
                    <a:pt x="2115" y="169"/>
                  </a:cubicBezTo>
                  <a:cubicBezTo>
                    <a:pt x="2117" y="160"/>
                    <a:pt x="2107" y="154"/>
                    <a:pt x="2091" y="154"/>
                  </a:cubicBezTo>
                  <a:cubicBezTo>
                    <a:pt x="2074" y="154"/>
                    <a:pt x="2009" y="165"/>
                    <a:pt x="2009" y="165"/>
                  </a:cubicBezTo>
                  <a:cubicBezTo>
                    <a:pt x="2009" y="165"/>
                    <a:pt x="2065" y="171"/>
                    <a:pt x="2074" y="170"/>
                  </a:cubicBezTo>
                  <a:close/>
                  <a:moveTo>
                    <a:pt x="1990" y="214"/>
                  </a:moveTo>
                  <a:cubicBezTo>
                    <a:pt x="2052" y="218"/>
                    <a:pt x="2047" y="199"/>
                    <a:pt x="2047" y="199"/>
                  </a:cubicBezTo>
                  <a:cubicBezTo>
                    <a:pt x="2043" y="189"/>
                    <a:pt x="2043" y="189"/>
                    <a:pt x="2043" y="189"/>
                  </a:cubicBezTo>
                  <a:cubicBezTo>
                    <a:pt x="2089" y="184"/>
                    <a:pt x="2089" y="184"/>
                    <a:pt x="2089" y="184"/>
                  </a:cubicBezTo>
                  <a:cubicBezTo>
                    <a:pt x="2078" y="176"/>
                    <a:pt x="2078" y="176"/>
                    <a:pt x="2078" y="176"/>
                  </a:cubicBezTo>
                  <a:cubicBezTo>
                    <a:pt x="2033" y="178"/>
                    <a:pt x="2033" y="178"/>
                    <a:pt x="2033" y="178"/>
                  </a:cubicBezTo>
                  <a:cubicBezTo>
                    <a:pt x="2025" y="186"/>
                    <a:pt x="2025" y="186"/>
                    <a:pt x="2025" y="186"/>
                  </a:cubicBezTo>
                  <a:cubicBezTo>
                    <a:pt x="2025" y="186"/>
                    <a:pt x="1966" y="173"/>
                    <a:pt x="1959" y="189"/>
                  </a:cubicBezTo>
                  <a:cubicBezTo>
                    <a:pt x="1953" y="205"/>
                    <a:pt x="1990" y="214"/>
                    <a:pt x="1990" y="214"/>
                  </a:cubicBezTo>
                  <a:close/>
                  <a:moveTo>
                    <a:pt x="1785" y="257"/>
                  </a:moveTo>
                  <a:cubicBezTo>
                    <a:pt x="1749" y="275"/>
                    <a:pt x="1749" y="275"/>
                    <a:pt x="1749" y="275"/>
                  </a:cubicBezTo>
                  <a:cubicBezTo>
                    <a:pt x="1749" y="275"/>
                    <a:pt x="1784" y="281"/>
                    <a:pt x="1768" y="284"/>
                  </a:cubicBezTo>
                  <a:cubicBezTo>
                    <a:pt x="1752" y="288"/>
                    <a:pt x="1694" y="292"/>
                    <a:pt x="1694" y="292"/>
                  </a:cubicBezTo>
                  <a:cubicBezTo>
                    <a:pt x="1680" y="308"/>
                    <a:pt x="1680" y="308"/>
                    <a:pt x="1680" y="308"/>
                  </a:cubicBezTo>
                  <a:cubicBezTo>
                    <a:pt x="1717" y="303"/>
                    <a:pt x="1717" y="303"/>
                    <a:pt x="1717" y="303"/>
                  </a:cubicBezTo>
                  <a:cubicBezTo>
                    <a:pt x="1717" y="303"/>
                    <a:pt x="1732" y="308"/>
                    <a:pt x="1751" y="311"/>
                  </a:cubicBezTo>
                  <a:cubicBezTo>
                    <a:pt x="1770" y="314"/>
                    <a:pt x="1826" y="295"/>
                    <a:pt x="1826" y="295"/>
                  </a:cubicBezTo>
                  <a:cubicBezTo>
                    <a:pt x="1824" y="304"/>
                    <a:pt x="1824" y="304"/>
                    <a:pt x="1824" y="304"/>
                  </a:cubicBezTo>
                  <a:cubicBezTo>
                    <a:pt x="1824" y="304"/>
                    <a:pt x="1862" y="299"/>
                    <a:pt x="1892" y="297"/>
                  </a:cubicBezTo>
                  <a:cubicBezTo>
                    <a:pt x="1920" y="295"/>
                    <a:pt x="1895" y="302"/>
                    <a:pt x="1885" y="304"/>
                  </a:cubicBezTo>
                  <a:cubicBezTo>
                    <a:pt x="1875" y="305"/>
                    <a:pt x="1841" y="309"/>
                    <a:pt x="1816" y="312"/>
                  </a:cubicBezTo>
                  <a:cubicBezTo>
                    <a:pt x="1791" y="315"/>
                    <a:pt x="1760" y="326"/>
                    <a:pt x="1760" y="326"/>
                  </a:cubicBezTo>
                  <a:cubicBezTo>
                    <a:pt x="1760" y="326"/>
                    <a:pt x="1788" y="331"/>
                    <a:pt x="1838" y="333"/>
                  </a:cubicBezTo>
                  <a:cubicBezTo>
                    <a:pt x="1886" y="334"/>
                    <a:pt x="1920" y="313"/>
                    <a:pt x="1920" y="313"/>
                  </a:cubicBezTo>
                  <a:cubicBezTo>
                    <a:pt x="1970" y="300"/>
                    <a:pt x="1970" y="300"/>
                    <a:pt x="1970" y="300"/>
                  </a:cubicBezTo>
                  <a:cubicBezTo>
                    <a:pt x="1970" y="300"/>
                    <a:pt x="1987" y="306"/>
                    <a:pt x="2035" y="300"/>
                  </a:cubicBezTo>
                  <a:cubicBezTo>
                    <a:pt x="2081" y="294"/>
                    <a:pt x="2084" y="284"/>
                    <a:pt x="2103" y="279"/>
                  </a:cubicBezTo>
                  <a:cubicBezTo>
                    <a:pt x="2121" y="274"/>
                    <a:pt x="2106" y="254"/>
                    <a:pt x="2086" y="254"/>
                  </a:cubicBezTo>
                  <a:cubicBezTo>
                    <a:pt x="2066" y="255"/>
                    <a:pt x="2072" y="268"/>
                    <a:pt x="2072" y="268"/>
                  </a:cubicBezTo>
                  <a:cubicBezTo>
                    <a:pt x="2045" y="267"/>
                    <a:pt x="2045" y="267"/>
                    <a:pt x="2045" y="267"/>
                  </a:cubicBezTo>
                  <a:cubicBezTo>
                    <a:pt x="2045" y="267"/>
                    <a:pt x="2050" y="260"/>
                    <a:pt x="2055" y="252"/>
                  </a:cubicBezTo>
                  <a:cubicBezTo>
                    <a:pt x="2060" y="244"/>
                    <a:pt x="2073" y="229"/>
                    <a:pt x="2061" y="229"/>
                  </a:cubicBezTo>
                  <a:cubicBezTo>
                    <a:pt x="2049" y="228"/>
                    <a:pt x="2024" y="239"/>
                    <a:pt x="1991" y="249"/>
                  </a:cubicBezTo>
                  <a:cubicBezTo>
                    <a:pt x="1957" y="259"/>
                    <a:pt x="2012" y="256"/>
                    <a:pt x="2012" y="256"/>
                  </a:cubicBezTo>
                  <a:cubicBezTo>
                    <a:pt x="2009" y="272"/>
                    <a:pt x="2009" y="272"/>
                    <a:pt x="2009" y="272"/>
                  </a:cubicBezTo>
                  <a:cubicBezTo>
                    <a:pt x="1929" y="282"/>
                    <a:pt x="1929" y="282"/>
                    <a:pt x="1929" y="282"/>
                  </a:cubicBezTo>
                  <a:cubicBezTo>
                    <a:pt x="1929" y="282"/>
                    <a:pt x="1923" y="262"/>
                    <a:pt x="1928" y="253"/>
                  </a:cubicBezTo>
                  <a:cubicBezTo>
                    <a:pt x="1932" y="244"/>
                    <a:pt x="1875" y="240"/>
                    <a:pt x="1875" y="240"/>
                  </a:cubicBezTo>
                  <a:lnTo>
                    <a:pt x="1785" y="257"/>
                  </a:lnTo>
                  <a:close/>
                  <a:moveTo>
                    <a:pt x="1887" y="230"/>
                  </a:moveTo>
                  <a:cubicBezTo>
                    <a:pt x="1905" y="215"/>
                    <a:pt x="1886" y="206"/>
                    <a:pt x="1868" y="216"/>
                  </a:cubicBezTo>
                  <a:cubicBezTo>
                    <a:pt x="1849" y="226"/>
                    <a:pt x="1887" y="230"/>
                    <a:pt x="1887" y="230"/>
                  </a:cubicBezTo>
                  <a:close/>
                  <a:moveTo>
                    <a:pt x="2008" y="377"/>
                  </a:moveTo>
                  <a:cubicBezTo>
                    <a:pt x="1988" y="361"/>
                    <a:pt x="1988" y="361"/>
                    <a:pt x="1988" y="361"/>
                  </a:cubicBezTo>
                  <a:cubicBezTo>
                    <a:pt x="1969" y="363"/>
                    <a:pt x="1969" y="363"/>
                    <a:pt x="1969" y="363"/>
                  </a:cubicBezTo>
                  <a:cubicBezTo>
                    <a:pt x="1969" y="363"/>
                    <a:pt x="1957" y="348"/>
                    <a:pt x="1932" y="357"/>
                  </a:cubicBezTo>
                  <a:cubicBezTo>
                    <a:pt x="1906" y="365"/>
                    <a:pt x="1964" y="389"/>
                    <a:pt x="1964" y="389"/>
                  </a:cubicBezTo>
                  <a:lnTo>
                    <a:pt x="2008" y="377"/>
                  </a:lnTo>
                  <a:close/>
                  <a:moveTo>
                    <a:pt x="1638" y="280"/>
                  </a:moveTo>
                  <a:cubicBezTo>
                    <a:pt x="1598" y="290"/>
                    <a:pt x="1626" y="295"/>
                    <a:pt x="1626" y="295"/>
                  </a:cubicBezTo>
                  <a:cubicBezTo>
                    <a:pt x="1683" y="281"/>
                    <a:pt x="1679" y="269"/>
                    <a:pt x="1638" y="280"/>
                  </a:cubicBezTo>
                  <a:close/>
                  <a:moveTo>
                    <a:pt x="1978" y="572"/>
                  </a:moveTo>
                  <a:cubicBezTo>
                    <a:pt x="1997" y="574"/>
                    <a:pt x="2006" y="580"/>
                    <a:pt x="2022" y="588"/>
                  </a:cubicBezTo>
                  <a:cubicBezTo>
                    <a:pt x="2038" y="596"/>
                    <a:pt x="2092" y="587"/>
                    <a:pt x="2092" y="587"/>
                  </a:cubicBezTo>
                  <a:cubicBezTo>
                    <a:pt x="2078" y="542"/>
                    <a:pt x="2078" y="542"/>
                    <a:pt x="2078" y="542"/>
                  </a:cubicBezTo>
                  <a:cubicBezTo>
                    <a:pt x="2012" y="528"/>
                    <a:pt x="2012" y="528"/>
                    <a:pt x="2012" y="528"/>
                  </a:cubicBezTo>
                  <a:cubicBezTo>
                    <a:pt x="1990" y="553"/>
                    <a:pt x="1990" y="553"/>
                    <a:pt x="1990" y="553"/>
                  </a:cubicBezTo>
                  <a:cubicBezTo>
                    <a:pt x="1968" y="555"/>
                    <a:pt x="1968" y="555"/>
                    <a:pt x="1968" y="555"/>
                  </a:cubicBezTo>
                  <a:cubicBezTo>
                    <a:pt x="1968" y="555"/>
                    <a:pt x="1959" y="571"/>
                    <a:pt x="1978" y="572"/>
                  </a:cubicBezTo>
                  <a:close/>
                  <a:moveTo>
                    <a:pt x="109" y="1360"/>
                  </a:moveTo>
                  <a:cubicBezTo>
                    <a:pt x="109" y="1369"/>
                    <a:pt x="126" y="1366"/>
                    <a:pt x="126" y="1366"/>
                  </a:cubicBezTo>
                  <a:cubicBezTo>
                    <a:pt x="124" y="1383"/>
                    <a:pt x="124" y="1383"/>
                    <a:pt x="124" y="1383"/>
                  </a:cubicBezTo>
                  <a:cubicBezTo>
                    <a:pt x="143" y="1371"/>
                    <a:pt x="143" y="1371"/>
                    <a:pt x="143" y="1371"/>
                  </a:cubicBezTo>
                  <a:cubicBezTo>
                    <a:pt x="141" y="1354"/>
                    <a:pt x="141" y="1354"/>
                    <a:pt x="141" y="1354"/>
                  </a:cubicBezTo>
                  <a:cubicBezTo>
                    <a:pt x="141" y="1354"/>
                    <a:pt x="109" y="1351"/>
                    <a:pt x="109" y="1360"/>
                  </a:cubicBezTo>
                  <a:close/>
                  <a:moveTo>
                    <a:pt x="166" y="1535"/>
                  </a:moveTo>
                  <a:cubicBezTo>
                    <a:pt x="166" y="1535"/>
                    <a:pt x="163" y="1521"/>
                    <a:pt x="164" y="1514"/>
                  </a:cubicBezTo>
                  <a:cubicBezTo>
                    <a:pt x="165" y="1507"/>
                    <a:pt x="170" y="1495"/>
                    <a:pt x="162" y="1485"/>
                  </a:cubicBezTo>
                  <a:cubicBezTo>
                    <a:pt x="162" y="1485"/>
                    <a:pt x="136" y="1481"/>
                    <a:pt x="127" y="1479"/>
                  </a:cubicBezTo>
                  <a:cubicBezTo>
                    <a:pt x="118" y="1477"/>
                    <a:pt x="103" y="1453"/>
                    <a:pt x="91" y="1452"/>
                  </a:cubicBezTo>
                  <a:cubicBezTo>
                    <a:pt x="79" y="1451"/>
                    <a:pt x="59" y="1463"/>
                    <a:pt x="64" y="1471"/>
                  </a:cubicBezTo>
                  <a:cubicBezTo>
                    <a:pt x="69" y="1479"/>
                    <a:pt x="78" y="1477"/>
                    <a:pt x="78" y="1477"/>
                  </a:cubicBezTo>
                  <a:cubicBezTo>
                    <a:pt x="87" y="1471"/>
                    <a:pt x="87" y="1471"/>
                    <a:pt x="87" y="1471"/>
                  </a:cubicBezTo>
                  <a:cubicBezTo>
                    <a:pt x="94" y="1476"/>
                    <a:pt x="94" y="1476"/>
                    <a:pt x="94" y="1476"/>
                  </a:cubicBezTo>
                  <a:cubicBezTo>
                    <a:pt x="88" y="1483"/>
                    <a:pt x="88" y="1483"/>
                    <a:pt x="88" y="1483"/>
                  </a:cubicBezTo>
                  <a:cubicBezTo>
                    <a:pt x="88" y="1483"/>
                    <a:pt x="59" y="1488"/>
                    <a:pt x="67" y="1497"/>
                  </a:cubicBezTo>
                  <a:cubicBezTo>
                    <a:pt x="75" y="1506"/>
                    <a:pt x="90" y="1497"/>
                    <a:pt x="90" y="1497"/>
                  </a:cubicBezTo>
                  <a:cubicBezTo>
                    <a:pt x="85" y="1512"/>
                    <a:pt x="85" y="1512"/>
                    <a:pt x="85" y="1512"/>
                  </a:cubicBezTo>
                  <a:cubicBezTo>
                    <a:pt x="100" y="1511"/>
                    <a:pt x="100" y="1511"/>
                    <a:pt x="100" y="1511"/>
                  </a:cubicBezTo>
                  <a:cubicBezTo>
                    <a:pt x="86" y="1522"/>
                    <a:pt x="86" y="1522"/>
                    <a:pt x="86" y="1522"/>
                  </a:cubicBezTo>
                  <a:cubicBezTo>
                    <a:pt x="112" y="1520"/>
                    <a:pt x="112" y="1520"/>
                    <a:pt x="112" y="1520"/>
                  </a:cubicBezTo>
                  <a:cubicBezTo>
                    <a:pt x="112" y="1520"/>
                    <a:pt x="85" y="1531"/>
                    <a:pt x="91" y="1536"/>
                  </a:cubicBezTo>
                  <a:cubicBezTo>
                    <a:pt x="97" y="1541"/>
                    <a:pt x="109" y="1520"/>
                    <a:pt x="115" y="1531"/>
                  </a:cubicBezTo>
                  <a:cubicBezTo>
                    <a:pt x="121" y="1542"/>
                    <a:pt x="99" y="1546"/>
                    <a:pt x="105" y="1553"/>
                  </a:cubicBezTo>
                  <a:cubicBezTo>
                    <a:pt x="111" y="1560"/>
                    <a:pt x="137" y="1555"/>
                    <a:pt x="137" y="1555"/>
                  </a:cubicBezTo>
                  <a:cubicBezTo>
                    <a:pt x="150" y="1547"/>
                    <a:pt x="150" y="1547"/>
                    <a:pt x="150" y="1547"/>
                  </a:cubicBezTo>
                  <a:cubicBezTo>
                    <a:pt x="138" y="1561"/>
                    <a:pt x="138" y="1561"/>
                    <a:pt x="138" y="1561"/>
                  </a:cubicBezTo>
                  <a:cubicBezTo>
                    <a:pt x="138" y="1561"/>
                    <a:pt x="113" y="1561"/>
                    <a:pt x="124" y="1570"/>
                  </a:cubicBezTo>
                  <a:cubicBezTo>
                    <a:pt x="135" y="1579"/>
                    <a:pt x="144" y="1579"/>
                    <a:pt x="144" y="1579"/>
                  </a:cubicBezTo>
                  <a:cubicBezTo>
                    <a:pt x="144" y="1579"/>
                    <a:pt x="168" y="1596"/>
                    <a:pt x="180" y="1586"/>
                  </a:cubicBezTo>
                  <a:cubicBezTo>
                    <a:pt x="192" y="1576"/>
                    <a:pt x="201" y="1568"/>
                    <a:pt x="192" y="1557"/>
                  </a:cubicBezTo>
                  <a:cubicBezTo>
                    <a:pt x="183" y="1546"/>
                    <a:pt x="166" y="1535"/>
                    <a:pt x="166" y="1535"/>
                  </a:cubicBezTo>
                  <a:close/>
                  <a:moveTo>
                    <a:pt x="1536" y="249"/>
                  </a:moveTo>
                  <a:cubicBezTo>
                    <a:pt x="1536" y="249"/>
                    <a:pt x="1574" y="242"/>
                    <a:pt x="1583" y="248"/>
                  </a:cubicBezTo>
                  <a:cubicBezTo>
                    <a:pt x="1593" y="254"/>
                    <a:pt x="1587" y="264"/>
                    <a:pt x="1599" y="264"/>
                  </a:cubicBezTo>
                  <a:cubicBezTo>
                    <a:pt x="1612" y="264"/>
                    <a:pt x="1634" y="259"/>
                    <a:pt x="1634" y="259"/>
                  </a:cubicBezTo>
                  <a:cubicBezTo>
                    <a:pt x="1634" y="259"/>
                    <a:pt x="1650" y="268"/>
                    <a:pt x="1665" y="261"/>
                  </a:cubicBezTo>
                  <a:cubicBezTo>
                    <a:pt x="1681" y="255"/>
                    <a:pt x="1678" y="238"/>
                    <a:pt x="1678" y="238"/>
                  </a:cubicBezTo>
                  <a:cubicBezTo>
                    <a:pt x="1700" y="238"/>
                    <a:pt x="1700" y="238"/>
                    <a:pt x="1700" y="238"/>
                  </a:cubicBezTo>
                  <a:cubicBezTo>
                    <a:pt x="1744" y="224"/>
                    <a:pt x="1744" y="224"/>
                    <a:pt x="1744" y="224"/>
                  </a:cubicBezTo>
                  <a:cubicBezTo>
                    <a:pt x="1719" y="247"/>
                    <a:pt x="1719" y="247"/>
                    <a:pt x="1719" y="247"/>
                  </a:cubicBezTo>
                  <a:cubicBezTo>
                    <a:pt x="1754" y="253"/>
                    <a:pt x="1754" y="253"/>
                    <a:pt x="1754" y="253"/>
                  </a:cubicBezTo>
                  <a:cubicBezTo>
                    <a:pt x="1791" y="238"/>
                    <a:pt x="1791" y="238"/>
                    <a:pt x="1791" y="238"/>
                  </a:cubicBezTo>
                  <a:cubicBezTo>
                    <a:pt x="1854" y="209"/>
                    <a:pt x="1854" y="209"/>
                    <a:pt x="1854" y="209"/>
                  </a:cubicBezTo>
                  <a:cubicBezTo>
                    <a:pt x="1854" y="209"/>
                    <a:pt x="1806" y="194"/>
                    <a:pt x="1797" y="194"/>
                  </a:cubicBezTo>
                  <a:cubicBezTo>
                    <a:pt x="1787" y="194"/>
                    <a:pt x="1734" y="190"/>
                    <a:pt x="1734" y="190"/>
                  </a:cubicBezTo>
                  <a:cubicBezTo>
                    <a:pt x="1683" y="198"/>
                    <a:pt x="1683" y="198"/>
                    <a:pt x="1683" y="198"/>
                  </a:cubicBezTo>
                  <a:cubicBezTo>
                    <a:pt x="1680" y="212"/>
                    <a:pt x="1680" y="212"/>
                    <a:pt x="1680" y="212"/>
                  </a:cubicBezTo>
                  <a:cubicBezTo>
                    <a:pt x="1602" y="218"/>
                    <a:pt x="1602" y="218"/>
                    <a:pt x="1602" y="218"/>
                  </a:cubicBezTo>
                  <a:cubicBezTo>
                    <a:pt x="1602" y="218"/>
                    <a:pt x="1576" y="209"/>
                    <a:pt x="1554" y="213"/>
                  </a:cubicBezTo>
                  <a:cubicBezTo>
                    <a:pt x="1532" y="216"/>
                    <a:pt x="1535" y="224"/>
                    <a:pt x="1535" y="224"/>
                  </a:cubicBezTo>
                  <a:cubicBezTo>
                    <a:pt x="1535" y="229"/>
                    <a:pt x="1536" y="249"/>
                    <a:pt x="1536" y="249"/>
                  </a:cubicBezTo>
                  <a:close/>
                  <a:moveTo>
                    <a:pt x="100" y="1323"/>
                  </a:moveTo>
                  <a:cubicBezTo>
                    <a:pt x="102" y="1338"/>
                    <a:pt x="113" y="1344"/>
                    <a:pt x="113" y="1344"/>
                  </a:cubicBezTo>
                  <a:cubicBezTo>
                    <a:pt x="121" y="1323"/>
                    <a:pt x="121" y="1323"/>
                    <a:pt x="121" y="1323"/>
                  </a:cubicBezTo>
                  <a:cubicBezTo>
                    <a:pt x="121" y="1323"/>
                    <a:pt x="98" y="1308"/>
                    <a:pt x="100" y="1323"/>
                  </a:cubicBezTo>
                  <a:close/>
                  <a:moveTo>
                    <a:pt x="82" y="1291"/>
                  </a:moveTo>
                  <a:cubicBezTo>
                    <a:pt x="78" y="1290"/>
                    <a:pt x="62" y="1294"/>
                    <a:pt x="56" y="1297"/>
                  </a:cubicBezTo>
                  <a:cubicBezTo>
                    <a:pt x="50" y="1300"/>
                    <a:pt x="45" y="1315"/>
                    <a:pt x="35" y="1315"/>
                  </a:cubicBezTo>
                  <a:cubicBezTo>
                    <a:pt x="25" y="1315"/>
                    <a:pt x="24" y="1307"/>
                    <a:pt x="34" y="1307"/>
                  </a:cubicBezTo>
                  <a:cubicBezTo>
                    <a:pt x="44" y="1307"/>
                    <a:pt x="62" y="1294"/>
                    <a:pt x="48" y="1295"/>
                  </a:cubicBezTo>
                  <a:cubicBezTo>
                    <a:pt x="34" y="1296"/>
                    <a:pt x="32" y="1299"/>
                    <a:pt x="32" y="1299"/>
                  </a:cubicBezTo>
                  <a:cubicBezTo>
                    <a:pt x="32" y="1299"/>
                    <a:pt x="35" y="1285"/>
                    <a:pt x="24" y="1289"/>
                  </a:cubicBezTo>
                  <a:cubicBezTo>
                    <a:pt x="13" y="1293"/>
                    <a:pt x="11" y="1306"/>
                    <a:pt x="11" y="1306"/>
                  </a:cubicBezTo>
                  <a:cubicBezTo>
                    <a:pt x="3" y="1324"/>
                    <a:pt x="3" y="1324"/>
                    <a:pt x="3" y="1324"/>
                  </a:cubicBezTo>
                  <a:cubicBezTo>
                    <a:pt x="3" y="1324"/>
                    <a:pt x="0" y="1336"/>
                    <a:pt x="3" y="1337"/>
                  </a:cubicBezTo>
                  <a:cubicBezTo>
                    <a:pt x="6" y="1338"/>
                    <a:pt x="9" y="1347"/>
                    <a:pt x="9" y="1347"/>
                  </a:cubicBezTo>
                  <a:cubicBezTo>
                    <a:pt x="0" y="1351"/>
                    <a:pt x="0" y="1351"/>
                    <a:pt x="0" y="1351"/>
                  </a:cubicBezTo>
                  <a:cubicBezTo>
                    <a:pt x="5" y="1386"/>
                    <a:pt x="5" y="1386"/>
                    <a:pt x="5" y="1386"/>
                  </a:cubicBezTo>
                  <a:cubicBezTo>
                    <a:pt x="5" y="1386"/>
                    <a:pt x="0" y="1398"/>
                    <a:pt x="16" y="1397"/>
                  </a:cubicBezTo>
                  <a:cubicBezTo>
                    <a:pt x="27" y="1396"/>
                    <a:pt x="16" y="1379"/>
                    <a:pt x="13" y="1372"/>
                  </a:cubicBezTo>
                  <a:cubicBezTo>
                    <a:pt x="10" y="1365"/>
                    <a:pt x="18" y="1359"/>
                    <a:pt x="23" y="1356"/>
                  </a:cubicBezTo>
                  <a:cubicBezTo>
                    <a:pt x="28" y="1353"/>
                    <a:pt x="36" y="1344"/>
                    <a:pt x="34" y="1340"/>
                  </a:cubicBezTo>
                  <a:cubicBezTo>
                    <a:pt x="34" y="1340"/>
                    <a:pt x="32" y="1329"/>
                    <a:pt x="38" y="1324"/>
                  </a:cubicBezTo>
                  <a:cubicBezTo>
                    <a:pt x="44" y="1319"/>
                    <a:pt x="55" y="1308"/>
                    <a:pt x="64" y="1303"/>
                  </a:cubicBezTo>
                  <a:cubicBezTo>
                    <a:pt x="73" y="1298"/>
                    <a:pt x="86" y="1292"/>
                    <a:pt x="82" y="1291"/>
                  </a:cubicBezTo>
                  <a:close/>
                  <a:moveTo>
                    <a:pt x="1263" y="454"/>
                  </a:moveTo>
                  <a:cubicBezTo>
                    <a:pt x="1268" y="466"/>
                    <a:pt x="1238" y="482"/>
                    <a:pt x="1266" y="478"/>
                  </a:cubicBezTo>
                  <a:cubicBezTo>
                    <a:pt x="1294" y="474"/>
                    <a:pt x="1328" y="462"/>
                    <a:pt x="1328" y="462"/>
                  </a:cubicBezTo>
                  <a:cubicBezTo>
                    <a:pt x="1354" y="468"/>
                    <a:pt x="1354" y="468"/>
                    <a:pt x="1354" y="468"/>
                  </a:cubicBezTo>
                  <a:cubicBezTo>
                    <a:pt x="1405" y="430"/>
                    <a:pt x="1405" y="430"/>
                    <a:pt x="1405" y="430"/>
                  </a:cubicBezTo>
                  <a:cubicBezTo>
                    <a:pt x="1493" y="402"/>
                    <a:pt x="1493" y="402"/>
                    <a:pt x="1493" y="402"/>
                  </a:cubicBezTo>
                  <a:cubicBezTo>
                    <a:pt x="1576" y="379"/>
                    <a:pt x="1576" y="379"/>
                    <a:pt x="1576" y="379"/>
                  </a:cubicBezTo>
                  <a:cubicBezTo>
                    <a:pt x="1642" y="366"/>
                    <a:pt x="1642" y="366"/>
                    <a:pt x="1642" y="366"/>
                  </a:cubicBezTo>
                  <a:cubicBezTo>
                    <a:pt x="1642" y="366"/>
                    <a:pt x="1603" y="334"/>
                    <a:pt x="1600" y="330"/>
                  </a:cubicBezTo>
                  <a:cubicBezTo>
                    <a:pt x="1596" y="327"/>
                    <a:pt x="1549" y="333"/>
                    <a:pt x="1549" y="333"/>
                  </a:cubicBezTo>
                  <a:cubicBezTo>
                    <a:pt x="1505" y="339"/>
                    <a:pt x="1505" y="339"/>
                    <a:pt x="1505" y="339"/>
                  </a:cubicBezTo>
                  <a:cubicBezTo>
                    <a:pt x="1481" y="321"/>
                    <a:pt x="1481" y="321"/>
                    <a:pt x="1481" y="321"/>
                  </a:cubicBezTo>
                  <a:cubicBezTo>
                    <a:pt x="1427" y="328"/>
                    <a:pt x="1427" y="328"/>
                    <a:pt x="1427" y="328"/>
                  </a:cubicBezTo>
                  <a:cubicBezTo>
                    <a:pt x="1393" y="338"/>
                    <a:pt x="1393" y="338"/>
                    <a:pt x="1393" y="338"/>
                  </a:cubicBezTo>
                  <a:cubicBezTo>
                    <a:pt x="1383" y="351"/>
                    <a:pt x="1383" y="351"/>
                    <a:pt x="1383" y="351"/>
                  </a:cubicBezTo>
                  <a:cubicBezTo>
                    <a:pt x="1372" y="371"/>
                    <a:pt x="1372" y="371"/>
                    <a:pt x="1372" y="371"/>
                  </a:cubicBezTo>
                  <a:cubicBezTo>
                    <a:pt x="1340" y="380"/>
                    <a:pt x="1340" y="380"/>
                    <a:pt x="1340" y="380"/>
                  </a:cubicBezTo>
                  <a:cubicBezTo>
                    <a:pt x="1294" y="393"/>
                    <a:pt x="1294" y="393"/>
                    <a:pt x="1294" y="393"/>
                  </a:cubicBezTo>
                  <a:cubicBezTo>
                    <a:pt x="1307" y="401"/>
                    <a:pt x="1307" y="401"/>
                    <a:pt x="1307" y="401"/>
                  </a:cubicBezTo>
                  <a:cubicBezTo>
                    <a:pt x="1227" y="437"/>
                    <a:pt x="1227" y="437"/>
                    <a:pt x="1227" y="437"/>
                  </a:cubicBezTo>
                  <a:cubicBezTo>
                    <a:pt x="1227" y="437"/>
                    <a:pt x="1259" y="442"/>
                    <a:pt x="1263" y="454"/>
                  </a:cubicBezTo>
                  <a:close/>
                  <a:moveTo>
                    <a:pt x="132" y="1313"/>
                  </a:moveTo>
                  <a:cubicBezTo>
                    <a:pt x="125" y="1331"/>
                    <a:pt x="125" y="1331"/>
                    <a:pt x="125" y="1331"/>
                  </a:cubicBezTo>
                  <a:cubicBezTo>
                    <a:pt x="127" y="1343"/>
                    <a:pt x="127" y="1343"/>
                    <a:pt x="127" y="1343"/>
                  </a:cubicBezTo>
                  <a:cubicBezTo>
                    <a:pt x="143" y="1333"/>
                    <a:pt x="143" y="1333"/>
                    <a:pt x="143" y="1333"/>
                  </a:cubicBezTo>
                  <a:lnTo>
                    <a:pt x="132" y="1313"/>
                  </a:lnTo>
                  <a:close/>
                  <a:moveTo>
                    <a:pt x="2786" y="403"/>
                  </a:moveTo>
                  <a:cubicBezTo>
                    <a:pt x="2802" y="409"/>
                    <a:pt x="2824" y="395"/>
                    <a:pt x="2824" y="395"/>
                  </a:cubicBezTo>
                  <a:cubicBezTo>
                    <a:pt x="2865" y="394"/>
                    <a:pt x="2865" y="394"/>
                    <a:pt x="2865" y="394"/>
                  </a:cubicBezTo>
                  <a:cubicBezTo>
                    <a:pt x="2865" y="394"/>
                    <a:pt x="2891" y="404"/>
                    <a:pt x="2899" y="398"/>
                  </a:cubicBezTo>
                  <a:cubicBezTo>
                    <a:pt x="2906" y="393"/>
                    <a:pt x="2900" y="370"/>
                    <a:pt x="2883" y="366"/>
                  </a:cubicBezTo>
                  <a:cubicBezTo>
                    <a:pt x="2865" y="362"/>
                    <a:pt x="2849" y="367"/>
                    <a:pt x="2849" y="367"/>
                  </a:cubicBezTo>
                  <a:cubicBezTo>
                    <a:pt x="2823" y="367"/>
                    <a:pt x="2823" y="367"/>
                    <a:pt x="2823" y="367"/>
                  </a:cubicBezTo>
                  <a:cubicBezTo>
                    <a:pt x="2823" y="367"/>
                    <a:pt x="2793" y="355"/>
                    <a:pt x="2782" y="364"/>
                  </a:cubicBezTo>
                  <a:cubicBezTo>
                    <a:pt x="2772" y="372"/>
                    <a:pt x="2768" y="378"/>
                    <a:pt x="2768" y="378"/>
                  </a:cubicBezTo>
                  <a:cubicBezTo>
                    <a:pt x="2781" y="385"/>
                    <a:pt x="2781" y="385"/>
                    <a:pt x="2781" y="385"/>
                  </a:cubicBezTo>
                  <a:cubicBezTo>
                    <a:pt x="2781" y="385"/>
                    <a:pt x="2772" y="397"/>
                    <a:pt x="2786" y="403"/>
                  </a:cubicBezTo>
                  <a:close/>
                  <a:moveTo>
                    <a:pt x="2471" y="347"/>
                  </a:moveTo>
                  <a:cubicBezTo>
                    <a:pt x="2457" y="346"/>
                    <a:pt x="2380" y="337"/>
                    <a:pt x="2339" y="339"/>
                  </a:cubicBezTo>
                  <a:cubicBezTo>
                    <a:pt x="2300" y="340"/>
                    <a:pt x="2311" y="339"/>
                    <a:pt x="2310" y="347"/>
                  </a:cubicBezTo>
                  <a:cubicBezTo>
                    <a:pt x="2308" y="356"/>
                    <a:pt x="2294" y="359"/>
                    <a:pt x="2260" y="367"/>
                  </a:cubicBezTo>
                  <a:cubicBezTo>
                    <a:pt x="2227" y="374"/>
                    <a:pt x="2259" y="375"/>
                    <a:pt x="2257" y="397"/>
                  </a:cubicBezTo>
                  <a:cubicBezTo>
                    <a:pt x="2245" y="414"/>
                    <a:pt x="2245" y="414"/>
                    <a:pt x="2245" y="414"/>
                  </a:cubicBezTo>
                  <a:cubicBezTo>
                    <a:pt x="2265" y="426"/>
                    <a:pt x="2265" y="426"/>
                    <a:pt x="2265" y="426"/>
                  </a:cubicBezTo>
                  <a:cubicBezTo>
                    <a:pt x="2318" y="404"/>
                    <a:pt x="2318" y="404"/>
                    <a:pt x="2318" y="404"/>
                  </a:cubicBezTo>
                  <a:cubicBezTo>
                    <a:pt x="2318" y="404"/>
                    <a:pt x="2299" y="397"/>
                    <a:pt x="2323" y="390"/>
                  </a:cubicBezTo>
                  <a:cubicBezTo>
                    <a:pt x="2348" y="383"/>
                    <a:pt x="2365" y="403"/>
                    <a:pt x="2365" y="403"/>
                  </a:cubicBezTo>
                  <a:cubicBezTo>
                    <a:pt x="2403" y="398"/>
                    <a:pt x="2403" y="398"/>
                    <a:pt x="2403" y="398"/>
                  </a:cubicBezTo>
                  <a:cubicBezTo>
                    <a:pt x="2398" y="383"/>
                    <a:pt x="2398" y="383"/>
                    <a:pt x="2398" y="383"/>
                  </a:cubicBezTo>
                  <a:cubicBezTo>
                    <a:pt x="2398" y="383"/>
                    <a:pt x="2447" y="381"/>
                    <a:pt x="2457" y="369"/>
                  </a:cubicBezTo>
                  <a:cubicBezTo>
                    <a:pt x="2467" y="358"/>
                    <a:pt x="2484" y="347"/>
                    <a:pt x="2471" y="347"/>
                  </a:cubicBezTo>
                  <a:close/>
                  <a:moveTo>
                    <a:pt x="2526" y="101"/>
                  </a:moveTo>
                  <a:cubicBezTo>
                    <a:pt x="2489" y="105"/>
                    <a:pt x="2489" y="105"/>
                    <a:pt x="2489" y="105"/>
                  </a:cubicBezTo>
                  <a:cubicBezTo>
                    <a:pt x="2503" y="123"/>
                    <a:pt x="2503" y="123"/>
                    <a:pt x="2503" y="123"/>
                  </a:cubicBezTo>
                  <a:lnTo>
                    <a:pt x="2526" y="101"/>
                  </a:lnTo>
                  <a:close/>
                  <a:moveTo>
                    <a:pt x="2406" y="324"/>
                  </a:moveTo>
                  <a:cubicBezTo>
                    <a:pt x="2417" y="317"/>
                    <a:pt x="2442" y="298"/>
                    <a:pt x="2438" y="290"/>
                  </a:cubicBezTo>
                  <a:cubicBezTo>
                    <a:pt x="2434" y="281"/>
                    <a:pt x="2400" y="283"/>
                    <a:pt x="2389" y="284"/>
                  </a:cubicBezTo>
                  <a:cubicBezTo>
                    <a:pt x="2366" y="286"/>
                    <a:pt x="2322" y="301"/>
                    <a:pt x="2334" y="309"/>
                  </a:cubicBezTo>
                  <a:cubicBezTo>
                    <a:pt x="2346" y="316"/>
                    <a:pt x="2406" y="324"/>
                    <a:pt x="2406" y="324"/>
                  </a:cubicBezTo>
                  <a:close/>
                  <a:moveTo>
                    <a:pt x="2634" y="123"/>
                  </a:moveTo>
                  <a:cubicBezTo>
                    <a:pt x="2598" y="131"/>
                    <a:pt x="2598" y="131"/>
                    <a:pt x="2598" y="131"/>
                  </a:cubicBezTo>
                  <a:cubicBezTo>
                    <a:pt x="2623" y="142"/>
                    <a:pt x="2623" y="142"/>
                    <a:pt x="2623" y="142"/>
                  </a:cubicBezTo>
                  <a:cubicBezTo>
                    <a:pt x="2623" y="142"/>
                    <a:pt x="2609" y="146"/>
                    <a:pt x="2611" y="156"/>
                  </a:cubicBezTo>
                  <a:cubicBezTo>
                    <a:pt x="2613" y="165"/>
                    <a:pt x="2640" y="162"/>
                    <a:pt x="2640" y="162"/>
                  </a:cubicBezTo>
                  <a:cubicBezTo>
                    <a:pt x="2627" y="171"/>
                    <a:pt x="2627" y="171"/>
                    <a:pt x="2627" y="171"/>
                  </a:cubicBezTo>
                  <a:cubicBezTo>
                    <a:pt x="2627" y="171"/>
                    <a:pt x="2645" y="175"/>
                    <a:pt x="2659" y="184"/>
                  </a:cubicBezTo>
                  <a:cubicBezTo>
                    <a:pt x="2673" y="192"/>
                    <a:pt x="2698" y="172"/>
                    <a:pt x="2698" y="172"/>
                  </a:cubicBezTo>
                  <a:cubicBezTo>
                    <a:pt x="2714" y="164"/>
                    <a:pt x="2714" y="164"/>
                    <a:pt x="2714" y="164"/>
                  </a:cubicBezTo>
                  <a:cubicBezTo>
                    <a:pt x="2714" y="164"/>
                    <a:pt x="2719" y="170"/>
                    <a:pt x="2725" y="181"/>
                  </a:cubicBezTo>
                  <a:cubicBezTo>
                    <a:pt x="2732" y="191"/>
                    <a:pt x="2756" y="173"/>
                    <a:pt x="2765" y="171"/>
                  </a:cubicBezTo>
                  <a:cubicBezTo>
                    <a:pt x="2774" y="169"/>
                    <a:pt x="2787" y="155"/>
                    <a:pt x="2787" y="155"/>
                  </a:cubicBezTo>
                  <a:cubicBezTo>
                    <a:pt x="2795" y="164"/>
                    <a:pt x="2795" y="164"/>
                    <a:pt x="2795" y="164"/>
                  </a:cubicBezTo>
                  <a:cubicBezTo>
                    <a:pt x="2795" y="164"/>
                    <a:pt x="2808" y="151"/>
                    <a:pt x="2810" y="146"/>
                  </a:cubicBezTo>
                  <a:cubicBezTo>
                    <a:pt x="2812" y="141"/>
                    <a:pt x="2865" y="143"/>
                    <a:pt x="2877" y="143"/>
                  </a:cubicBezTo>
                  <a:cubicBezTo>
                    <a:pt x="2889" y="143"/>
                    <a:pt x="2886" y="129"/>
                    <a:pt x="2886" y="129"/>
                  </a:cubicBezTo>
                  <a:cubicBezTo>
                    <a:pt x="2844" y="128"/>
                    <a:pt x="2844" y="128"/>
                    <a:pt x="2844" y="128"/>
                  </a:cubicBezTo>
                  <a:cubicBezTo>
                    <a:pt x="2864" y="117"/>
                    <a:pt x="2864" y="117"/>
                    <a:pt x="2864" y="117"/>
                  </a:cubicBezTo>
                  <a:cubicBezTo>
                    <a:pt x="2864" y="117"/>
                    <a:pt x="2872" y="97"/>
                    <a:pt x="2867" y="90"/>
                  </a:cubicBezTo>
                  <a:cubicBezTo>
                    <a:pt x="2863" y="84"/>
                    <a:pt x="2829" y="102"/>
                    <a:pt x="2829" y="102"/>
                  </a:cubicBezTo>
                  <a:cubicBezTo>
                    <a:pt x="2826" y="85"/>
                    <a:pt x="2826" y="85"/>
                    <a:pt x="2826" y="85"/>
                  </a:cubicBezTo>
                  <a:cubicBezTo>
                    <a:pt x="2794" y="91"/>
                    <a:pt x="2794" y="91"/>
                    <a:pt x="2794" y="91"/>
                  </a:cubicBezTo>
                  <a:cubicBezTo>
                    <a:pt x="2794" y="91"/>
                    <a:pt x="2791" y="71"/>
                    <a:pt x="2781" y="60"/>
                  </a:cubicBezTo>
                  <a:cubicBezTo>
                    <a:pt x="2772" y="49"/>
                    <a:pt x="2730" y="72"/>
                    <a:pt x="2730" y="72"/>
                  </a:cubicBezTo>
                  <a:cubicBezTo>
                    <a:pt x="2678" y="75"/>
                    <a:pt x="2678" y="75"/>
                    <a:pt x="2678" y="75"/>
                  </a:cubicBezTo>
                  <a:cubicBezTo>
                    <a:pt x="2695" y="88"/>
                    <a:pt x="2695" y="88"/>
                    <a:pt x="2695" y="88"/>
                  </a:cubicBezTo>
                  <a:cubicBezTo>
                    <a:pt x="2695" y="88"/>
                    <a:pt x="2658" y="85"/>
                    <a:pt x="2645" y="89"/>
                  </a:cubicBezTo>
                  <a:cubicBezTo>
                    <a:pt x="2633" y="93"/>
                    <a:pt x="2653" y="106"/>
                    <a:pt x="2653" y="106"/>
                  </a:cubicBezTo>
                  <a:cubicBezTo>
                    <a:pt x="2653" y="106"/>
                    <a:pt x="2596" y="100"/>
                    <a:pt x="2592" y="114"/>
                  </a:cubicBezTo>
                  <a:cubicBezTo>
                    <a:pt x="2587" y="128"/>
                    <a:pt x="2634" y="123"/>
                    <a:pt x="2634" y="123"/>
                  </a:cubicBezTo>
                  <a:close/>
                  <a:moveTo>
                    <a:pt x="2644" y="199"/>
                  </a:moveTo>
                  <a:cubicBezTo>
                    <a:pt x="2622" y="203"/>
                    <a:pt x="2622" y="213"/>
                    <a:pt x="2622" y="213"/>
                  </a:cubicBezTo>
                  <a:cubicBezTo>
                    <a:pt x="2640" y="216"/>
                    <a:pt x="2640" y="216"/>
                    <a:pt x="2640" y="216"/>
                  </a:cubicBezTo>
                  <a:cubicBezTo>
                    <a:pt x="2655" y="216"/>
                    <a:pt x="2667" y="195"/>
                    <a:pt x="2644" y="199"/>
                  </a:cubicBezTo>
                  <a:close/>
                  <a:moveTo>
                    <a:pt x="2488" y="226"/>
                  </a:moveTo>
                  <a:cubicBezTo>
                    <a:pt x="2484" y="226"/>
                    <a:pt x="2476" y="222"/>
                    <a:pt x="2476" y="222"/>
                  </a:cubicBezTo>
                  <a:cubicBezTo>
                    <a:pt x="2476" y="222"/>
                    <a:pt x="2416" y="222"/>
                    <a:pt x="2416" y="230"/>
                  </a:cubicBezTo>
                  <a:cubicBezTo>
                    <a:pt x="2416" y="239"/>
                    <a:pt x="2435" y="241"/>
                    <a:pt x="2435" y="241"/>
                  </a:cubicBezTo>
                  <a:cubicBezTo>
                    <a:pt x="2436" y="253"/>
                    <a:pt x="2436" y="253"/>
                    <a:pt x="2436" y="253"/>
                  </a:cubicBezTo>
                  <a:cubicBezTo>
                    <a:pt x="2436" y="253"/>
                    <a:pt x="2486" y="258"/>
                    <a:pt x="2490" y="256"/>
                  </a:cubicBezTo>
                  <a:cubicBezTo>
                    <a:pt x="2494" y="254"/>
                    <a:pt x="2506" y="255"/>
                    <a:pt x="2512" y="255"/>
                  </a:cubicBezTo>
                  <a:cubicBezTo>
                    <a:pt x="2510" y="263"/>
                    <a:pt x="2508" y="274"/>
                    <a:pt x="2508" y="274"/>
                  </a:cubicBezTo>
                  <a:cubicBezTo>
                    <a:pt x="2471" y="301"/>
                    <a:pt x="2471" y="301"/>
                    <a:pt x="2471" y="301"/>
                  </a:cubicBezTo>
                  <a:cubicBezTo>
                    <a:pt x="2485" y="307"/>
                    <a:pt x="2485" y="307"/>
                    <a:pt x="2485" y="307"/>
                  </a:cubicBezTo>
                  <a:cubicBezTo>
                    <a:pt x="2485" y="307"/>
                    <a:pt x="2461" y="322"/>
                    <a:pt x="2473" y="322"/>
                  </a:cubicBezTo>
                  <a:cubicBezTo>
                    <a:pt x="2485" y="322"/>
                    <a:pt x="2503" y="312"/>
                    <a:pt x="2503" y="312"/>
                  </a:cubicBezTo>
                  <a:cubicBezTo>
                    <a:pt x="2503" y="312"/>
                    <a:pt x="2494" y="325"/>
                    <a:pt x="2513" y="324"/>
                  </a:cubicBezTo>
                  <a:cubicBezTo>
                    <a:pt x="2532" y="323"/>
                    <a:pt x="2568" y="311"/>
                    <a:pt x="2568" y="311"/>
                  </a:cubicBezTo>
                  <a:cubicBezTo>
                    <a:pt x="2569" y="325"/>
                    <a:pt x="2569" y="325"/>
                    <a:pt x="2569" y="325"/>
                  </a:cubicBezTo>
                  <a:cubicBezTo>
                    <a:pt x="2614" y="322"/>
                    <a:pt x="2614" y="322"/>
                    <a:pt x="2614" y="322"/>
                  </a:cubicBezTo>
                  <a:cubicBezTo>
                    <a:pt x="2667" y="332"/>
                    <a:pt x="2667" y="332"/>
                    <a:pt x="2667" y="332"/>
                  </a:cubicBezTo>
                  <a:cubicBezTo>
                    <a:pt x="2731" y="327"/>
                    <a:pt x="2731" y="327"/>
                    <a:pt x="2731" y="327"/>
                  </a:cubicBezTo>
                  <a:cubicBezTo>
                    <a:pt x="2749" y="312"/>
                    <a:pt x="2749" y="312"/>
                    <a:pt x="2749" y="312"/>
                  </a:cubicBezTo>
                  <a:cubicBezTo>
                    <a:pt x="2749" y="312"/>
                    <a:pt x="2738" y="326"/>
                    <a:pt x="2751" y="327"/>
                  </a:cubicBezTo>
                  <a:cubicBezTo>
                    <a:pt x="2764" y="328"/>
                    <a:pt x="2839" y="326"/>
                    <a:pt x="2839" y="326"/>
                  </a:cubicBezTo>
                  <a:cubicBezTo>
                    <a:pt x="2846" y="312"/>
                    <a:pt x="2846" y="312"/>
                    <a:pt x="2846" y="312"/>
                  </a:cubicBezTo>
                  <a:cubicBezTo>
                    <a:pt x="2890" y="294"/>
                    <a:pt x="2890" y="294"/>
                    <a:pt x="2890" y="294"/>
                  </a:cubicBezTo>
                  <a:cubicBezTo>
                    <a:pt x="2879" y="290"/>
                    <a:pt x="2879" y="290"/>
                    <a:pt x="2879" y="290"/>
                  </a:cubicBezTo>
                  <a:cubicBezTo>
                    <a:pt x="2879" y="281"/>
                    <a:pt x="2879" y="281"/>
                    <a:pt x="2879" y="281"/>
                  </a:cubicBezTo>
                  <a:cubicBezTo>
                    <a:pt x="2879" y="281"/>
                    <a:pt x="2834" y="270"/>
                    <a:pt x="2818" y="270"/>
                  </a:cubicBezTo>
                  <a:cubicBezTo>
                    <a:pt x="2802" y="270"/>
                    <a:pt x="2681" y="294"/>
                    <a:pt x="2681" y="294"/>
                  </a:cubicBezTo>
                  <a:cubicBezTo>
                    <a:pt x="2681" y="294"/>
                    <a:pt x="2666" y="283"/>
                    <a:pt x="2658" y="282"/>
                  </a:cubicBezTo>
                  <a:cubicBezTo>
                    <a:pt x="2651" y="281"/>
                    <a:pt x="2621" y="294"/>
                    <a:pt x="2621" y="294"/>
                  </a:cubicBezTo>
                  <a:cubicBezTo>
                    <a:pt x="2608" y="280"/>
                    <a:pt x="2608" y="280"/>
                    <a:pt x="2608" y="280"/>
                  </a:cubicBezTo>
                  <a:cubicBezTo>
                    <a:pt x="2596" y="286"/>
                    <a:pt x="2596" y="286"/>
                    <a:pt x="2596" y="286"/>
                  </a:cubicBezTo>
                  <a:cubicBezTo>
                    <a:pt x="2574" y="282"/>
                    <a:pt x="2574" y="282"/>
                    <a:pt x="2574" y="282"/>
                  </a:cubicBezTo>
                  <a:cubicBezTo>
                    <a:pt x="2596" y="274"/>
                    <a:pt x="2596" y="274"/>
                    <a:pt x="2596" y="274"/>
                  </a:cubicBezTo>
                  <a:cubicBezTo>
                    <a:pt x="2583" y="268"/>
                    <a:pt x="2583" y="268"/>
                    <a:pt x="2583" y="268"/>
                  </a:cubicBezTo>
                  <a:cubicBezTo>
                    <a:pt x="2546" y="272"/>
                    <a:pt x="2546" y="272"/>
                    <a:pt x="2546" y="272"/>
                  </a:cubicBezTo>
                  <a:cubicBezTo>
                    <a:pt x="2570" y="265"/>
                    <a:pt x="2570" y="265"/>
                    <a:pt x="2570" y="265"/>
                  </a:cubicBezTo>
                  <a:cubicBezTo>
                    <a:pt x="2569" y="260"/>
                    <a:pt x="2569" y="260"/>
                    <a:pt x="2569" y="260"/>
                  </a:cubicBezTo>
                  <a:cubicBezTo>
                    <a:pt x="2615" y="259"/>
                    <a:pt x="2615" y="259"/>
                    <a:pt x="2615" y="259"/>
                  </a:cubicBezTo>
                  <a:cubicBezTo>
                    <a:pt x="2592" y="251"/>
                    <a:pt x="2592" y="251"/>
                    <a:pt x="2592" y="251"/>
                  </a:cubicBezTo>
                  <a:cubicBezTo>
                    <a:pt x="2576" y="251"/>
                    <a:pt x="2576" y="251"/>
                    <a:pt x="2576" y="251"/>
                  </a:cubicBezTo>
                  <a:cubicBezTo>
                    <a:pt x="2576" y="251"/>
                    <a:pt x="2588" y="241"/>
                    <a:pt x="2578" y="240"/>
                  </a:cubicBezTo>
                  <a:cubicBezTo>
                    <a:pt x="2570" y="239"/>
                    <a:pt x="2539" y="241"/>
                    <a:pt x="2523" y="244"/>
                  </a:cubicBezTo>
                  <a:cubicBezTo>
                    <a:pt x="2521" y="237"/>
                    <a:pt x="2492" y="226"/>
                    <a:pt x="2488" y="226"/>
                  </a:cubicBezTo>
                  <a:close/>
                  <a:moveTo>
                    <a:pt x="2173" y="281"/>
                  </a:moveTo>
                  <a:cubicBezTo>
                    <a:pt x="2182" y="281"/>
                    <a:pt x="2226" y="288"/>
                    <a:pt x="2226" y="288"/>
                  </a:cubicBezTo>
                  <a:cubicBezTo>
                    <a:pt x="2226" y="288"/>
                    <a:pt x="2202" y="308"/>
                    <a:pt x="2217" y="308"/>
                  </a:cubicBezTo>
                  <a:cubicBezTo>
                    <a:pt x="2232" y="308"/>
                    <a:pt x="2270" y="308"/>
                    <a:pt x="2270" y="308"/>
                  </a:cubicBezTo>
                  <a:cubicBezTo>
                    <a:pt x="2284" y="308"/>
                    <a:pt x="2309" y="302"/>
                    <a:pt x="2305" y="294"/>
                  </a:cubicBezTo>
                  <a:cubicBezTo>
                    <a:pt x="2301" y="285"/>
                    <a:pt x="2341" y="282"/>
                    <a:pt x="2339" y="273"/>
                  </a:cubicBezTo>
                  <a:cubicBezTo>
                    <a:pt x="2338" y="265"/>
                    <a:pt x="2376" y="259"/>
                    <a:pt x="2362" y="247"/>
                  </a:cubicBezTo>
                  <a:cubicBezTo>
                    <a:pt x="2348" y="236"/>
                    <a:pt x="2329" y="244"/>
                    <a:pt x="2329" y="244"/>
                  </a:cubicBezTo>
                  <a:cubicBezTo>
                    <a:pt x="2329" y="244"/>
                    <a:pt x="2282" y="229"/>
                    <a:pt x="2279" y="238"/>
                  </a:cubicBezTo>
                  <a:cubicBezTo>
                    <a:pt x="2276" y="246"/>
                    <a:pt x="2276" y="267"/>
                    <a:pt x="2276" y="267"/>
                  </a:cubicBezTo>
                  <a:cubicBezTo>
                    <a:pt x="2276" y="267"/>
                    <a:pt x="2255" y="242"/>
                    <a:pt x="2244" y="251"/>
                  </a:cubicBezTo>
                  <a:cubicBezTo>
                    <a:pt x="2232" y="259"/>
                    <a:pt x="2222" y="283"/>
                    <a:pt x="2213" y="276"/>
                  </a:cubicBezTo>
                  <a:cubicBezTo>
                    <a:pt x="2205" y="270"/>
                    <a:pt x="2200" y="245"/>
                    <a:pt x="2191" y="243"/>
                  </a:cubicBezTo>
                  <a:cubicBezTo>
                    <a:pt x="2181" y="241"/>
                    <a:pt x="2155" y="243"/>
                    <a:pt x="2156" y="256"/>
                  </a:cubicBezTo>
                  <a:cubicBezTo>
                    <a:pt x="2157" y="269"/>
                    <a:pt x="2165" y="281"/>
                    <a:pt x="2173" y="281"/>
                  </a:cubicBezTo>
                  <a:close/>
                  <a:moveTo>
                    <a:pt x="2477" y="192"/>
                  </a:moveTo>
                  <a:cubicBezTo>
                    <a:pt x="2487" y="195"/>
                    <a:pt x="2490" y="205"/>
                    <a:pt x="2490" y="205"/>
                  </a:cubicBezTo>
                  <a:cubicBezTo>
                    <a:pt x="2490" y="205"/>
                    <a:pt x="2532" y="202"/>
                    <a:pt x="2552" y="201"/>
                  </a:cubicBezTo>
                  <a:cubicBezTo>
                    <a:pt x="2571" y="200"/>
                    <a:pt x="2528" y="189"/>
                    <a:pt x="2528" y="189"/>
                  </a:cubicBezTo>
                  <a:cubicBezTo>
                    <a:pt x="2528" y="189"/>
                    <a:pt x="2537" y="179"/>
                    <a:pt x="2547" y="177"/>
                  </a:cubicBezTo>
                  <a:cubicBezTo>
                    <a:pt x="2558" y="175"/>
                    <a:pt x="2518" y="162"/>
                    <a:pt x="2488" y="156"/>
                  </a:cubicBezTo>
                  <a:cubicBezTo>
                    <a:pt x="2488" y="156"/>
                    <a:pt x="2464" y="160"/>
                    <a:pt x="2460" y="164"/>
                  </a:cubicBezTo>
                  <a:cubicBezTo>
                    <a:pt x="2456" y="169"/>
                    <a:pt x="2468" y="190"/>
                    <a:pt x="2477" y="192"/>
                  </a:cubicBezTo>
                  <a:close/>
                  <a:moveTo>
                    <a:pt x="2188" y="339"/>
                  </a:moveTo>
                  <a:cubicBezTo>
                    <a:pt x="2188" y="339"/>
                    <a:pt x="2127" y="341"/>
                    <a:pt x="2093" y="352"/>
                  </a:cubicBezTo>
                  <a:cubicBezTo>
                    <a:pt x="2060" y="363"/>
                    <a:pt x="2112" y="372"/>
                    <a:pt x="2101" y="385"/>
                  </a:cubicBezTo>
                  <a:cubicBezTo>
                    <a:pt x="2090" y="399"/>
                    <a:pt x="2068" y="364"/>
                    <a:pt x="2030" y="380"/>
                  </a:cubicBezTo>
                  <a:cubicBezTo>
                    <a:pt x="2042" y="405"/>
                    <a:pt x="2042" y="405"/>
                    <a:pt x="2042" y="405"/>
                  </a:cubicBezTo>
                  <a:cubicBezTo>
                    <a:pt x="2042" y="405"/>
                    <a:pt x="2048" y="415"/>
                    <a:pt x="2065" y="418"/>
                  </a:cubicBezTo>
                  <a:cubicBezTo>
                    <a:pt x="2083" y="421"/>
                    <a:pt x="2082" y="456"/>
                    <a:pt x="2082" y="456"/>
                  </a:cubicBezTo>
                  <a:cubicBezTo>
                    <a:pt x="2082" y="456"/>
                    <a:pt x="2152" y="447"/>
                    <a:pt x="2174" y="442"/>
                  </a:cubicBezTo>
                  <a:cubicBezTo>
                    <a:pt x="2196" y="436"/>
                    <a:pt x="2196" y="395"/>
                    <a:pt x="2196" y="395"/>
                  </a:cubicBezTo>
                  <a:cubicBezTo>
                    <a:pt x="2152" y="385"/>
                    <a:pt x="2152" y="385"/>
                    <a:pt x="2152" y="385"/>
                  </a:cubicBezTo>
                  <a:cubicBezTo>
                    <a:pt x="2152" y="385"/>
                    <a:pt x="2205" y="367"/>
                    <a:pt x="2232" y="358"/>
                  </a:cubicBezTo>
                  <a:cubicBezTo>
                    <a:pt x="2258" y="348"/>
                    <a:pt x="2188" y="339"/>
                    <a:pt x="2188" y="339"/>
                  </a:cubicBezTo>
                  <a:close/>
                  <a:moveTo>
                    <a:pt x="1929" y="499"/>
                  </a:moveTo>
                  <a:cubicBezTo>
                    <a:pt x="1927" y="493"/>
                    <a:pt x="1862" y="494"/>
                    <a:pt x="1862" y="494"/>
                  </a:cubicBezTo>
                  <a:cubicBezTo>
                    <a:pt x="1915" y="466"/>
                    <a:pt x="1915" y="466"/>
                    <a:pt x="1915" y="466"/>
                  </a:cubicBezTo>
                  <a:cubicBezTo>
                    <a:pt x="1915" y="466"/>
                    <a:pt x="1947" y="392"/>
                    <a:pt x="1918" y="383"/>
                  </a:cubicBezTo>
                  <a:cubicBezTo>
                    <a:pt x="1891" y="375"/>
                    <a:pt x="1852" y="393"/>
                    <a:pt x="1852" y="393"/>
                  </a:cubicBezTo>
                  <a:cubicBezTo>
                    <a:pt x="1852" y="393"/>
                    <a:pt x="1826" y="447"/>
                    <a:pt x="1802" y="450"/>
                  </a:cubicBezTo>
                  <a:cubicBezTo>
                    <a:pt x="1778" y="453"/>
                    <a:pt x="1818" y="413"/>
                    <a:pt x="1816" y="403"/>
                  </a:cubicBezTo>
                  <a:cubicBezTo>
                    <a:pt x="1814" y="393"/>
                    <a:pt x="1750" y="392"/>
                    <a:pt x="1750" y="392"/>
                  </a:cubicBezTo>
                  <a:cubicBezTo>
                    <a:pt x="1744" y="405"/>
                    <a:pt x="1744" y="405"/>
                    <a:pt x="1744" y="405"/>
                  </a:cubicBezTo>
                  <a:cubicBezTo>
                    <a:pt x="1744" y="405"/>
                    <a:pt x="1708" y="420"/>
                    <a:pt x="1671" y="423"/>
                  </a:cubicBezTo>
                  <a:cubicBezTo>
                    <a:pt x="1635" y="425"/>
                    <a:pt x="1687" y="412"/>
                    <a:pt x="1723" y="400"/>
                  </a:cubicBezTo>
                  <a:cubicBezTo>
                    <a:pt x="1761" y="388"/>
                    <a:pt x="1704" y="386"/>
                    <a:pt x="1704" y="386"/>
                  </a:cubicBezTo>
                  <a:cubicBezTo>
                    <a:pt x="1664" y="398"/>
                    <a:pt x="1664" y="398"/>
                    <a:pt x="1664" y="398"/>
                  </a:cubicBezTo>
                  <a:cubicBezTo>
                    <a:pt x="1636" y="401"/>
                    <a:pt x="1636" y="401"/>
                    <a:pt x="1636" y="401"/>
                  </a:cubicBezTo>
                  <a:cubicBezTo>
                    <a:pt x="1636" y="401"/>
                    <a:pt x="1651" y="391"/>
                    <a:pt x="1667" y="380"/>
                  </a:cubicBezTo>
                  <a:cubicBezTo>
                    <a:pt x="1682" y="369"/>
                    <a:pt x="1663" y="371"/>
                    <a:pt x="1663" y="371"/>
                  </a:cubicBezTo>
                  <a:cubicBezTo>
                    <a:pt x="1564" y="402"/>
                    <a:pt x="1564" y="402"/>
                    <a:pt x="1564" y="402"/>
                  </a:cubicBezTo>
                  <a:cubicBezTo>
                    <a:pt x="1550" y="403"/>
                    <a:pt x="1550" y="403"/>
                    <a:pt x="1550" y="403"/>
                  </a:cubicBezTo>
                  <a:cubicBezTo>
                    <a:pt x="1494" y="420"/>
                    <a:pt x="1494" y="420"/>
                    <a:pt x="1494" y="420"/>
                  </a:cubicBezTo>
                  <a:cubicBezTo>
                    <a:pt x="1496" y="428"/>
                    <a:pt x="1496" y="428"/>
                    <a:pt x="1496" y="428"/>
                  </a:cubicBezTo>
                  <a:cubicBezTo>
                    <a:pt x="1456" y="443"/>
                    <a:pt x="1456" y="443"/>
                    <a:pt x="1456" y="443"/>
                  </a:cubicBezTo>
                  <a:cubicBezTo>
                    <a:pt x="1447" y="453"/>
                    <a:pt x="1447" y="453"/>
                    <a:pt x="1447" y="453"/>
                  </a:cubicBezTo>
                  <a:cubicBezTo>
                    <a:pt x="1465" y="461"/>
                    <a:pt x="1465" y="461"/>
                    <a:pt x="1465" y="461"/>
                  </a:cubicBezTo>
                  <a:cubicBezTo>
                    <a:pt x="1465" y="461"/>
                    <a:pt x="1487" y="446"/>
                    <a:pt x="1492" y="458"/>
                  </a:cubicBezTo>
                  <a:cubicBezTo>
                    <a:pt x="1497" y="470"/>
                    <a:pt x="1451" y="464"/>
                    <a:pt x="1440" y="483"/>
                  </a:cubicBezTo>
                  <a:cubicBezTo>
                    <a:pt x="1428" y="503"/>
                    <a:pt x="1587" y="484"/>
                    <a:pt x="1565" y="502"/>
                  </a:cubicBezTo>
                  <a:cubicBezTo>
                    <a:pt x="1544" y="519"/>
                    <a:pt x="1417" y="508"/>
                    <a:pt x="1406" y="525"/>
                  </a:cubicBezTo>
                  <a:cubicBezTo>
                    <a:pt x="1395" y="542"/>
                    <a:pt x="1427" y="540"/>
                    <a:pt x="1450" y="552"/>
                  </a:cubicBezTo>
                  <a:cubicBezTo>
                    <a:pt x="1473" y="564"/>
                    <a:pt x="1438" y="557"/>
                    <a:pt x="1434" y="574"/>
                  </a:cubicBezTo>
                  <a:cubicBezTo>
                    <a:pt x="1430" y="590"/>
                    <a:pt x="1533" y="582"/>
                    <a:pt x="1533" y="582"/>
                  </a:cubicBezTo>
                  <a:cubicBezTo>
                    <a:pt x="1533" y="582"/>
                    <a:pt x="1702" y="566"/>
                    <a:pt x="1741" y="554"/>
                  </a:cubicBezTo>
                  <a:cubicBezTo>
                    <a:pt x="1768" y="545"/>
                    <a:pt x="1819" y="583"/>
                    <a:pt x="1851" y="586"/>
                  </a:cubicBezTo>
                  <a:cubicBezTo>
                    <a:pt x="1884" y="588"/>
                    <a:pt x="1895" y="551"/>
                    <a:pt x="1895" y="551"/>
                  </a:cubicBezTo>
                  <a:cubicBezTo>
                    <a:pt x="1843" y="550"/>
                    <a:pt x="1843" y="550"/>
                    <a:pt x="1843" y="550"/>
                  </a:cubicBezTo>
                  <a:cubicBezTo>
                    <a:pt x="1865" y="533"/>
                    <a:pt x="1865" y="533"/>
                    <a:pt x="1865" y="533"/>
                  </a:cubicBezTo>
                  <a:cubicBezTo>
                    <a:pt x="1865" y="533"/>
                    <a:pt x="1897" y="539"/>
                    <a:pt x="1929" y="532"/>
                  </a:cubicBezTo>
                  <a:cubicBezTo>
                    <a:pt x="1962" y="525"/>
                    <a:pt x="1931" y="506"/>
                    <a:pt x="1929" y="499"/>
                  </a:cubicBezTo>
                  <a:close/>
                  <a:moveTo>
                    <a:pt x="1909" y="590"/>
                  </a:moveTo>
                  <a:cubicBezTo>
                    <a:pt x="1941" y="591"/>
                    <a:pt x="1947" y="573"/>
                    <a:pt x="1925" y="574"/>
                  </a:cubicBezTo>
                  <a:cubicBezTo>
                    <a:pt x="1903" y="574"/>
                    <a:pt x="1909" y="590"/>
                    <a:pt x="1909" y="590"/>
                  </a:cubicBezTo>
                  <a:close/>
                  <a:moveTo>
                    <a:pt x="2183" y="224"/>
                  </a:moveTo>
                  <a:cubicBezTo>
                    <a:pt x="2201" y="221"/>
                    <a:pt x="2202" y="193"/>
                    <a:pt x="2187" y="193"/>
                  </a:cubicBezTo>
                  <a:cubicBezTo>
                    <a:pt x="2173" y="193"/>
                    <a:pt x="2166" y="226"/>
                    <a:pt x="2183" y="224"/>
                  </a:cubicBezTo>
                  <a:close/>
                  <a:moveTo>
                    <a:pt x="2307" y="155"/>
                  </a:moveTo>
                  <a:cubicBezTo>
                    <a:pt x="2307" y="155"/>
                    <a:pt x="2289" y="172"/>
                    <a:pt x="2303" y="173"/>
                  </a:cubicBezTo>
                  <a:cubicBezTo>
                    <a:pt x="2317" y="174"/>
                    <a:pt x="2349" y="175"/>
                    <a:pt x="2349" y="175"/>
                  </a:cubicBezTo>
                  <a:cubicBezTo>
                    <a:pt x="2349" y="175"/>
                    <a:pt x="2363" y="191"/>
                    <a:pt x="2380" y="191"/>
                  </a:cubicBezTo>
                  <a:cubicBezTo>
                    <a:pt x="2398" y="191"/>
                    <a:pt x="2411" y="177"/>
                    <a:pt x="2411" y="177"/>
                  </a:cubicBezTo>
                  <a:cubicBezTo>
                    <a:pt x="2402" y="169"/>
                    <a:pt x="2402" y="169"/>
                    <a:pt x="2402" y="169"/>
                  </a:cubicBezTo>
                  <a:cubicBezTo>
                    <a:pt x="2423" y="165"/>
                    <a:pt x="2423" y="165"/>
                    <a:pt x="2423" y="165"/>
                  </a:cubicBezTo>
                  <a:cubicBezTo>
                    <a:pt x="2393" y="143"/>
                    <a:pt x="2393" y="143"/>
                    <a:pt x="2393" y="143"/>
                  </a:cubicBezTo>
                  <a:cubicBezTo>
                    <a:pt x="2365" y="147"/>
                    <a:pt x="2365" y="147"/>
                    <a:pt x="2365" y="147"/>
                  </a:cubicBezTo>
                  <a:cubicBezTo>
                    <a:pt x="2355" y="132"/>
                    <a:pt x="2355" y="132"/>
                    <a:pt x="2355" y="132"/>
                  </a:cubicBezTo>
                  <a:cubicBezTo>
                    <a:pt x="2336" y="132"/>
                    <a:pt x="2336" y="132"/>
                    <a:pt x="2336" y="132"/>
                  </a:cubicBezTo>
                  <a:cubicBezTo>
                    <a:pt x="2314" y="132"/>
                    <a:pt x="2279" y="132"/>
                    <a:pt x="2278" y="144"/>
                  </a:cubicBezTo>
                  <a:cubicBezTo>
                    <a:pt x="2277" y="156"/>
                    <a:pt x="2307" y="155"/>
                    <a:pt x="2307" y="155"/>
                  </a:cubicBezTo>
                  <a:close/>
                  <a:moveTo>
                    <a:pt x="2285" y="872"/>
                  </a:moveTo>
                  <a:cubicBezTo>
                    <a:pt x="2230" y="922"/>
                    <a:pt x="2320" y="886"/>
                    <a:pt x="2320" y="886"/>
                  </a:cubicBezTo>
                  <a:cubicBezTo>
                    <a:pt x="2366" y="843"/>
                    <a:pt x="2339" y="821"/>
                    <a:pt x="2285" y="872"/>
                  </a:cubicBezTo>
                  <a:close/>
                  <a:moveTo>
                    <a:pt x="2943" y="929"/>
                  </a:moveTo>
                  <a:cubicBezTo>
                    <a:pt x="2953" y="921"/>
                    <a:pt x="2946" y="918"/>
                    <a:pt x="2946" y="918"/>
                  </a:cubicBezTo>
                  <a:cubicBezTo>
                    <a:pt x="2946" y="918"/>
                    <a:pt x="2924" y="913"/>
                    <a:pt x="2921" y="922"/>
                  </a:cubicBezTo>
                  <a:cubicBezTo>
                    <a:pt x="2921" y="922"/>
                    <a:pt x="2932" y="936"/>
                    <a:pt x="2943" y="929"/>
                  </a:cubicBezTo>
                  <a:close/>
                  <a:moveTo>
                    <a:pt x="2077" y="1360"/>
                  </a:moveTo>
                  <a:cubicBezTo>
                    <a:pt x="2105" y="1356"/>
                    <a:pt x="2070" y="1342"/>
                    <a:pt x="2070" y="1342"/>
                  </a:cubicBezTo>
                  <a:cubicBezTo>
                    <a:pt x="2026" y="1351"/>
                    <a:pt x="2048" y="1363"/>
                    <a:pt x="2077" y="1360"/>
                  </a:cubicBezTo>
                  <a:close/>
                  <a:moveTo>
                    <a:pt x="3172" y="665"/>
                  </a:moveTo>
                  <a:cubicBezTo>
                    <a:pt x="3167" y="669"/>
                    <a:pt x="3155" y="660"/>
                    <a:pt x="3155" y="660"/>
                  </a:cubicBezTo>
                  <a:cubicBezTo>
                    <a:pt x="3133" y="673"/>
                    <a:pt x="3133" y="673"/>
                    <a:pt x="3133" y="673"/>
                  </a:cubicBezTo>
                  <a:cubicBezTo>
                    <a:pt x="3135" y="656"/>
                    <a:pt x="3135" y="656"/>
                    <a:pt x="3135" y="656"/>
                  </a:cubicBezTo>
                  <a:cubicBezTo>
                    <a:pt x="3107" y="656"/>
                    <a:pt x="3107" y="656"/>
                    <a:pt x="3107" y="656"/>
                  </a:cubicBezTo>
                  <a:cubicBezTo>
                    <a:pt x="3107" y="656"/>
                    <a:pt x="3139" y="646"/>
                    <a:pt x="3133" y="636"/>
                  </a:cubicBezTo>
                  <a:cubicBezTo>
                    <a:pt x="3128" y="625"/>
                    <a:pt x="3079" y="624"/>
                    <a:pt x="3079" y="624"/>
                  </a:cubicBezTo>
                  <a:cubicBezTo>
                    <a:pt x="3073" y="613"/>
                    <a:pt x="3073" y="613"/>
                    <a:pt x="3073" y="613"/>
                  </a:cubicBezTo>
                  <a:cubicBezTo>
                    <a:pt x="3041" y="612"/>
                    <a:pt x="3041" y="612"/>
                    <a:pt x="3041" y="612"/>
                  </a:cubicBezTo>
                  <a:cubicBezTo>
                    <a:pt x="2997" y="581"/>
                    <a:pt x="2997" y="581"/>
                    <a:pt x="2997" y="581"/>
                  </a:cubicBezTo>
                  <a:cubicBezTo>
                    <a:pt x="3044" y="578"/>
                    <a:pt x="3044" y="578"/>
                    <a:pt x="3044" y="578"/>
                  </a:cubicBezTo>
                  <a:cubicBezTo>
                    <a:pt x="3024" y="564"/>
                    <a:pt x="3024" y="564"/>
                    <a:pt x="3024" y="564"/>
                  </a:cubicBezTo>
                  <a:cubicBezTo>
                    <a:pt x="3024" y="564"/>
                    <a:pt x="3037" y="560"/>
                    <a:pt x="3041" y="560"/>
                  </a:cubicBezTo>
                  <a:cubicBezTo>
                    <a:pt x="3045" y="560"/>
                    <a:pt x="3097" y="572"/>
                    <a:pt x="3091" y="558"/>
                  </a:cubicBezTo>
                  <a:cubicBezTo>
                    <a:pt x="3084" y="545"/>
                    <a:pt x="3029" y="548"/>
                    <a:pt x="3029" y="548"/>
                  </a:cubicBezTo>
                  <a:cubicBezTo>
                    <a:pt x="3011" y="546"/>
                    <a:pt x="3011" y="546"/>
                    <a:pt x="3011" y="546"/>
                  </a:cubicBezTo>
                  <a:cubicBezTo>
                    <a:pt x="3011" y="546"/>
                    <a:pt x="3088" y="544"/>
                    <a:pt x="3091" y="534"/>
                  </a:cubicBezTo>
                  <a:cubicBezTo>
                    <a:pt x="3093" y="525"/>
                    <a:pt x="3069" y="525"/>
                    <a:pt x="3069" y="525"/>
                  </a:cubicBezTo>
                  <a:cubicBezTo>
                    <a:pt x="3000" y="536"/>
                    <a:pt x="3000" y="536"/>
                    <a:pt x="3000" y="536"/>
                  </a:cubicBezTo>
                  <a:cubicBezTo>
                    <a:pt x="3040" y="512"/>
                    <a:pt x="3040" y="512"/>
                    <a:pt x="3040" y="512"/>
                  </a:cubicBezTo>
                  <a:cubicBezTo>
                    <a:pt x="3040" y="512"/>
                    <a:pt x="3093" y="518"/>
                    <a:pt x="3077" y="504"/>
                  </a:cubicBezTo>
                  <a:cubicBezTo>
                    <a:pt x="3061" y="489"/>
                    <a:pt x="3035" y="489"/>
                    <a:pt x="3035" y="489"/>
                  </a:cubicBezTo>
                  <a:cubicBezTo>
                    <a:pt x="3009" y="504"/>
                    <a:pt x="3009" y="504"/>
                    <a:pt x="3009" y="504"/>
                  </a:cubicBezTo>
                  <a:cubicBezTo>
                    <a:pt x="2999" y="500"/>
                    <a:pt x="2999" y="500"/>
                    <a:pt x="2999" y="500"/>
                  </a:cubicBezTo>
                  <a:cubicBezTo>
                    <a:pt x="2971" y="520"/>
                    <a:pt x="2971" y="520"/>
                    <a:pt x="2971" y="520"/>
                  </a:cubicBezTo>
                  <a:cubicBezTo>
                    <a:pt x="2973" y="505"/>
                    <a:pt x="2973" y="505"/>
                    <a:pt x="2973" y="505"/>
                  </a:cubicBezTo>
                  <a:cubicBezTo>
                    <a:pt x="2959" y="517"/>
                    <a:pt x="2959" y="517"/>
                    <a:pt x="2959" y="517"/>
                  </a:cubicBezTo>
                  <a:cubicBezTo>
                    <a:pt x="2973" y="497"/>
                    <a:pt x="2973" y="497"/>
                    <a:pt x="2973" y="497"/>
                  </a:cubicBezTo>
                  <a:cubicBezTo>
                    <a:pt x="2973" y="497"/>
                    <a:pt x="2993" y="502"/>
                    <a:pt x="3003" y="493"/>
                  </a:cubicBezTo>
                  <a:cubicBezTo>
                    <a:pt x="3012" y="484"/>
                    <a:pt x="3012" y="470"/>
                    <a:pt x="3005" y="472"/>
                  </a:cubicBezTo>
                  <a:cubicBezTo>
                    <a:pt x="2999" y="473"/>
                    <a:pt x="2991" y="485"/>
                    <a:pt x="2991" y="485"/>
                  </a:cubicBezTo>
                  <a:cubicBezTo>
                    <a:pt x="2967" y="486"/>
                    <a:pt x="2967" y="486"/>
                    <a:pt x="2967" y="486"/>
                  </a:cubicBezTo>
                  <a:cubicBezTo>
                    <a:pt x="2952" y="493"/>
                    <a:pt x="2952" y="493"/>
                    <a:pt x="2952" y="493"/>
                  </a:cubicBezTo>
                  <a:cubicBezTo>
                    <a:pt x="2968" y="474"/>
                    <a:pt x="2968" y="474"/>
                    <a:pt x="2968" y="474"/>
                  </a:cubicBezTo>
                  <a:cubicBezTo>
                    <a:pt x="2988" y="474"/>
                    <a:pt x="2988" y="474"/>
                    <a:pt x="2988" y="474"/>
                  </a:cubicBezTo>
                  <a:cubicBezTo>
                    <a:pt x="2988" y="474"/>
                    <a:pt x="3012" y="465"/>
                    <a:pt x="2999" y="457"/>
                  </a:cubicBezTo>
                  <a:cubicBezTo>
                    <a:pt x="2985" y="449"/>
                    <a:pt x="2941" y="469"/>
                    <a:pt x="2941" y="469"/>
                  </a:cubicBezTo>
                  <a:cubicBezTo>
                    <a:pt x="2933" y="460"/>
                    <a:pt x="2933" y="460"/>
                    <a:pt x="2933" y="460"/>
                  </a:cubicBezTo>
                  <a:cubicBezTo>
                    <a:pt x="2917" y="472"/>
                    <a:pt x="2917" y="472"/>
                    <a:pt x="2917" y="472"/>
                  </a:cubicBezTo>
                  <a:cubicBezTo>
                    <a:pt x="2932" y="452"/>
                    <a:pt x="2932" y="452"/>
                    <a:pt x="2932" y="452"/>
                  </a:cubicBezTo>
                  <a:cubicBezTo>
                    <a:pt x="2895" y="465"/>
                    <a:pt x="2895" y="465"/>
                    <a:pt x="2895" y="465"/>
                  </a:cubicBezTo>
                  <a:cubicBezTo>
                    <a:pt x="2895" y="450"/>
                    <a:pt x="2895" y="450"/>
                    <a:pt x="2895" y="450"/>
                  </a:cubicBezTo>
                  <a:cubicBezTo>
                    <a:pt x="2895" y="450"/>
                    <a:pt x="2931" y="441"/>
                    <a:pt x="2931" y="437"/>
                  </a:cubicBezTo>
                  <a:cubicBezTo>
                    <a:pt x="2931" y="433"/>
                    <a:pt x="2881" y="442"/>
                    <a:pt x="2881" y="442"/>
                  </a:cubicBezTo>
                  <a:cubicBezTo>
                    <a:pt x="2880" y="434"/>
                    <a:pt x="2880" y="434"/>
                    <a:pt x="2880" y="434"/>
                  </a:cubicBezTo>
                  <a:cubicBezTo>
                    <a:pt x="2880" y="434"/>
                    <a:pt x="2928" y="424"/>
                    <a:pt x="2923" y="417"/>
                  </a:cubicBezTo>
                  <a:cubicBezTo>
                    <a:pt x="2917" y="410"/>
                    <a:pt x="2852" y="409"/>
                    <a:pt x="2844" y="406"/>
                  </a:cubicBezTo>
                  <a:cubicBezTo>
                    <a:pt x="2836" y="404"/>
                    <a:pt x="2820" y="406"/>
                    <a:pt x="2819" y="410"/>
                  </a:cubicBezTo>
                  <a:cubicBezTo>
                    <a:pt x="2817" y="414"/>
                    <a:pt x="2828" y="428"/>
                    <a:pt x="2828" y="428"/>
                  </a:cubicBezTo>
                  <a:cubicBezTo>
                    <a:pt x="2804" y="424"/>
                    <a:pt x="2804" y="424"/>
                    <a:pt x="2804" y="424"/>
                  </a:cubicBezTo>
                  <a:cubicBezTo>
                    <a:pt x="2807" y="442"/>
                    <a:pt x="2807" y="442"/>
                    <a:pt x="2807" y="442"/>
                  </a:cubicBezTo>
                  <a:cubicBezTo>
                    <a:pt x="2793" y="425"/>
                    <a:pt x="2793" y="425"/>
                    <a:pt x="2793" y="425"/>
                  </a:cubicBezTo>
                  <a:cubicBezTo>
                    <a:pt x="2768" y="441"/>
                    <a:pt x="2768" y="441"/>
                    <a:pt x="2768" y="441"/>
                  </a:cubicBezTo>
                  <a:cubicBezTo>
                    <a:pt x="2768" y="441"/>
                    <a:pt x="2773" y="426"/>
                    <a:pt x="2768" y="422"/>
                  </a:cubicBezTo>
                  <a:cubicBezTo>
                    <a:pt x="2763" y="418"/>
                    <a:pt x="2715" y="438"/>
                    <a:pt x="2715" y="438"/>
                  </a:cubicBezTo>
                  <a:cubicBezTo>
                    <a:pt x="2727" y="413"/>
                    <a:pt x="2727" y="413"/>
                    <a:pt x="2727" y="413"/>
                  </a:cubicBezTo>
                  <a:cubicBezTo>
                    <a:pt x="2727" y="413"/>
                    <a:pt x="2767" y="412"/>
                    <a:pt x="2767" y="402"/>
                  </a:cubicBezTo>
                  <a:cubicBezTo>
                    <a:pt x="2767" y="393"/>
                    <a:pt x="2753" y="381"/>
                    <a:pt x="2753" y="381"/>
                  </a:cubicBezTo>
                  <a:cubicBezTo>
                    <a:pt x="2753" y="381"/>
                    <a:pt x="2777" y="364"/>
                    <a:pt x="2761" y="361"/>
                  </a:cubicBezTo>
                  <a:cubicBezTo>
                    <a:pt x="2745" y="358"/>
                    <a:pt x="2699" y="362"/>
                    <a:pt x="2699" y="362"/>
                  </a:cubicBezTo>
                  <a:cubicBezTo>
                    <a:pt x="2684" y="373"/>
                    <a:pt x="2684" y="373"/>
                    <a:pt x="2684" y="373"/>
                  </a:cubicBezTo>
                  <a:cubicBezTo>
                    <a:pt x="2625" y="374"/>
                    <a:pt x="2625" y="374"/>
                    <a:pt x="2625" y="374"/>
                  </a:cubicBezTo>
                  <a:cubicBezTo>
                    <a:pt x="2632" y="385"/>
                    <a:pt x="2632" y="385"/>
                    <a:pt x="2632" y="385"/>
                  </a:cubicBezTo>
                  <a:cubicBezTo>
                    <a:pt x="2652" y="393"/>
                    <a:pt x="2652" y="393"/>
                    <a:pt x="2652" y="393"/>
                  </a:cubicBezTo>
                  <a:cubicBezTo>
                    <a:pt x="2623" y="385"/>
                    <a:pt x="2623" y="385"/>
                    <a:pt x="2623" y="385"/>
                  </a:cubicBezTo>
                  <a:cubicBezTo>
                    <a:pt x="2629" y="401"/>
                    <a:pt x="2629" y="401"/>
                    <a:pt x="2629" y="401"/>
                  </a:cubicBezTo>
                  <a:cubicBezTo>
                    <a:pt x="2629" y="401"/>
                    <a:pt x="2597" y="388"/>
                    <a:pt x="2588" y="400"/>
                  </a:cubicBezTo>
                  <a:cubicBezTo>
                    <a:pt x="2579" y="412"/>
                    <a:pt x="2596" y="424"/>
                    <a:pt x="2596" y="424"/>
                  </a:cubicBezTo>
                  <a:cubicBezTo>
                    <a:pt x="2599" y="441"/>
                    <a:pt x="2599" y="441"/>
                    <a:pt x="2599" y="441"/>
                  </a:cubicBezTo>
                  <a:cubicBezTo>
                    <a:pt x="2599" y="441"/>
                    <a:pt x="2579" y="429"/>
                    <a:pt x="2568" y="432"/>
                  </a:cubicBezTo>
                  <a:cubicBezTo>
                    <a:pt x="2557" y="434"/>
                    <a:pt x="2543" y="453"/>
                    <a:pt x="2555" y="454"/>
                  </a:cubicBezTo>
                  <a:cubicBezTo>
                    <a:pt x="2567" y="456"/>
                    <a:pt x="2571" y="462"/>
                    <a:pt x="2571" y="462"/>
                  </a:cubicBezTo>
                  <a:cubicBezTo>
                    <a:pt x="2540" y="477"/>
                    <a:pt x="2540" y="477"/>
                    <a:pt x="2540" y="477"/>
                  </a:cubicBezTo>
                  <a:cubicBezTo>
                    <a:pt x="2500" y="481"/>
                    <a:pt x="2500" y="481"/>
                    <a:pt x="2500" y="481"/>
                  </a:cubicBezTo>
                  <a:cubicBezTo>
                    <a:pt x="2500" y="481"/>
                    <a:pt x="2539" y="473"/>
                    <a:pt x="2539" y="464"/>
                  </a:cubicBezTo>
                  <a:cubicBezTo>
                    <a:pt x="2539" y="454"/>
                    <a:pt x="2515" y="453"/>
                    <a:pt x="2525" y="440"/>
                  </a:cubicBezTo>
                  <a:cubicBezTo>
                    <a:pt x="2536" y="426"/>
                    <a:pt x="2549" y="425"/>
                    <a:pt x="2549" y="425"/>
                  </a:cubicBezTo>
                  <a:cubicBezTo>
                    <a:pt x="2549" y="406"/>
                    <a:pt x="2549" y="406"/>
                    <a:pt x="2549" y="406"/>
                  </a:cubicBezTo>
                  <a:cubicBezTo>
                    <a:pt x="2549" y="406"/>
                    <a:pt x="2584" y="384"/>
                    <a:pt x="2596" y="378"/>
                  </a:cubicBezTo>
                  <a:cubicBezTo>
                    <a:pt x="2608" y="373"/>
                    <a:pt x="2653" y="366"/>
                    <a:pt x="2645" y="362"/>
                  </a:cubicBezTo>
                  <a:cubicBezTo>
                    <a:pt x="2637" y="358"/>
                    <a:pt x="2591" y="357"/>
                    <a:pt x="2565" y="358"/>
                  </a:cubicBezTo>
                  <a:cubicBezTo>
                    <a:pt x="2540" y="360"/>
                    <a:pt x="2472" y="401"/>
                    <a:pt x="2472" y="401"/>
                  </a:cubicBezTo>
                  <a:cubicBezTo>
                    <a:pt x="2472" y="401"/>
                    <a:pt x="2443" y="414"/>
                    <a:pt x="2433" y="416"/>
                  </a:cubicBezTo>
                  <a:cubicBezTo>
                    <a:pt x="2424" y="417"/>
                    <a:pt x="2420" y="428"/>
                    <a:pt x="2420" y="428"/>
                  </a:cubicBezTo>
                  <a:cubicBezTo>
                    <a:pt x="2420" y="428"/>
                    <a:pt x="2373" y="454"/>
                    <a:pt x="2391" y="461"/>
                  </a:cubicBezTo>
                  <a:cubicBezTo>
                    <a:pt x="2408" y="468"/>
                    <a:pt x="2460" y="464"/>
                    <a:pt x="2453" y="473"/>
                  </a:cubicBezTo>
                  <a:cubicBezTo>
                    <a:pt x="2447" y="482"/>
                    <a:pt x="2360" y="481"/>
                    <a:pt x="2381" y="496"/>
                  </a:cubicBezTo>
                  <a:cubicBezTo>
                    <a:pt x="2403" y="510"/>
                    <a:pt x="2429" y="513"/>
                    <a:pt x="2429" y="513"/>
                  </a:cubicBezTo>
                  <a:cubicBezTo>
                    <a:pt x="2460" y="501"/>
                    <a:pt x="2460" y="501"/>
                    <a:pt x="2460" y="501"/>
                  </a:cubicBezTo>
                  <a:cubicBezTo>
                    <a:pt x="2460" y="501"/>
                    <a:pt x="2451" y="517"/>
                    <a:pt x="2473" y="517"/>
                  </a:cubicBezTo>
                  <a:cubicBezTo>
                    <a:pt x="2496" y="517"/>
                    <a:pt x="2584" y="536"/>
                    <a:pt x="2595" y="530"/>
                  </a:cubicBezTo>
                  <a:cubicBezTo>
                    <a:pt x="2605" y="525"/>
                    <a:pt x="2581" y="513"/>
                    <a:pt x="2581" y="513"/>
                  </a:cubicBezTo>
                  <a:cubicBezTo>
                    <a:pt x="2581" y="513"/>
                    <a:pt x="2648" y="520"/>
                    <a:pt x="2659" y="521"/>
                  </a:cubicBezTo>
                  <a:cubicBezTo>
                    <a:pt x="2669" y="522"/>
                    <a:pt x="2696" y="533"/>
                    <a:pt x="2705" y="528"/>
                  </a:cubicBezTo>
                  <a:cubicBezTo>
                    <a:pt x="2715" y="522"/>
                    <a:pt x="2696" y="502"/>
                    <a:pt x="2696" y="502"/>
                  </a:cubicBezTo>
                  <a:cubicBezTo>
                    <a:pt x="2727" y="496"/>
                    <a:pt x="2727" y="496"/>
                    <a:pt x="2727" y="496"/>
                  </a:cubicBezTo>
                  <a:cubicBezTo>
                    <a:pt x="2727" y="496"/>
                    <a:pt x="2735" y="518"/>
                    <a:pt x="2739" y="517"/>
                  </a:cubicBezTo>
                  <a:cubicBezTo>
                    <a:pt x="2743" y="516"/>
                    <a:pt x="2757" y="532"/>
                    <a:pt x="2757" y="532"/>
                  </a:cubicBezTo>
                  <a:cubicBezTo>
                    <a:pt x="2777" y="525"/>
                    <a:pt x="2777" y="525"/>
                    <a:pt x="2777" y="525"/>
                  </a:cubicBezTo>
                  <a:cubicBezTo>
                    <a:pt x="2777" y="525"/>
                    <a:pt x="2769" y="545"/>
                    <a:pt x="2773" y="546"/>
                  </a:cubicBezTo>
                  <a:cubicBezTo>
                    <a:pt x="2777" y="548"/>
                    <a:pt x="2807" y="554"/>
                    <a:pt x="2807" y="554"/>
                  </a:cubicBezTo>
                  <a:cubicBezTo>
                    <a:pt x="2807" y="554"/>
                    <a:pt x="2785" y="573"/>
                    <a:pt x="2793" y="573"/>
                  </a:cubicBezTo>
                  <a:cubicBezTo>
                    <a:pt x="2801" y="573"/>
                    <a:pt x="2820" y="573"/>
                    <a:pt x="2820" y="573"/>
                  </a:cubicBezTo>
                  <a:cubicBezTo>
                    <a:pt x="2816" y="590"/>
                    <a:pt x="2816" y="590"/>
                    <a:pt x="2816" y="590"/>
                  </a:cubicBezTo>
                  <a:cubicBezTo>
                    <a:pt x="2816" y="590"/>
                    <a:pt x="2849" y="594"/>
                    <a:pt x="2849" y="610"/>
                  </a:cubicBezTo>
                  <a:cubicBezTo>
                    <a:pt x="2849" y="626"/>
                    <a:pt x="2827" y="660"/>
                    <a:pt x="2821" y="661"/>
                  </a:cubicBezTo>
                  <a:cubicBezTo>
                    <a:pt x="2816" y="662"/>
                    <a:pt x="2728" y="701"/>
                    <a:pt x="2728" y="701"/>
                  </a:cubicBezTo>
                  <a:cubicBezTo>
                    <a:pt x="2728" y="701"/>
                    <a:pt x="2756" y="720"/>
                    <a:pt x="2741" y="726"/>
                  </a:cubicBezTo>
                  <a:cubicBezTo>
                    <a:pt x="2727" y="733"/>
                    <a:pt x="2707" y="734"/>
                    <a:pt x="2707" y="734"/>
                  </a:cubicBezTo>
                  <a:cubicBezTo>
                    <a:pt x="2655" y="741"/>
                    <a:pt x="2655" y="741"/>
                    <a:pt x="2655" y="741"/>
                  </a:cubicBezTo>
                  <a:cubicBezTo>
                    <a:pt x="2649" y="756"/>
                    <a:pt x="2649" y="756"/>
                    <a:pt x="2649" y="756"/>
                  </a:cubicBezTo>
                  <a:cubicBezTo>
                    <a:pt x="2640" y="742"/>
                    <a:pt x="2640" y="742"/>
                    <a:pt x="2640" y="742"/>
                  </a:cubicBezTo>
                  <a:cubicBezTo>
                    <a:pt x="2640" y="742"/>
                    <a:pt x="2613" y="733"/>
                    <a:pt x="2600" y="736"/>
                  </a:cubicBezTo>
                  <a:cubicBezTo>
                    <a:pt x="2587" y="738"/>
                    <a:pt x="2588" y="750"/>
                    <a:pt x="2588" y="750"/>
                  </a:cubicBezTo>
                  <a:cubicBezTo>
                    <a:pt x="2588" y="750"/>
                    <a:pt x="2543" y="760"/>
                    <a:pt x="2543" y="776"/>
                  </a:cubicBezTo>
                  <a:cubicBezTo>
                    <a:pt x="2543" y="800"/>
                    <a:pt x="2577" y="794"/>
                    <a:pt x="2604" y="785"/>
                  </a:cubicBezTo>
                  <a:cubicBezTo>
                    <a:pt x="2631" y="776"/>
                    <a:pt x="2637" y="777"/>
                    <a:pt x="2637" y="777"/>
                  </a:cubicBezTo>
                  <a:cubicBezTo>
                    <a:pt x="2637" y="777"/>
                    <a:pt x="2656" y="790"/>
                    <a:pt x="2663" y="785"/>
                  </a:cubicBezTo>
                  <a:cubicBezTo>
                    <a:pt x="2669" y="780"/>
                    <a:pt x="2665" y="769"/>
                    <a:pt x="2665" y="769"/>
                  </a:cubicBezTo>
                  <a:cubicBezTo>
                    <a:pt x="2681" y="754"/>
                    <a:pt x="2681" y="754"/>
                    <a:pt x="2681" y="754"/>
                  </a:cubicBezTo>
                  <a:cubicBezTo>
                    <a:pt x="2681" y="754"/>
                    <a:pt x="2668" y="766"/>
                    <a:pt x="2677" y="769"/>
                  </a:cubicBezTo>
                  <a:cubicBezTo>
                    <a:pt x="2687" y="772"/>
                    <a:pt x="2721" y="772"/>
                    <a:pt x="2721" y="772"/>
                  </a:cubicBezTo>
                  <a:cubicBezTo>
                    <a:pt x="2721" y="772"/>
                    <a:pt x="2707" y="778"/>
                    <a:pt x="2708" y="785"/>
                  </a:cubicBezTo>
                  <a:cubicBezTo>
                    <a:pt x="2709" y="792"/>
                    <a:pt x="2731" y="796"/>
                    <a:pt x="2731" y="796"/>
                  </a:cubicBezTo>
                  <a:cubicBezTo>
                    <a:pt x="2731" y="796"/>
                    <a:pt x="2717" y="805"/>
                    <a:pt x="2728" y="812"/>
                  </a:cubicBezTo>
                  <a:cubicBezTo>
                    <a:pt x="2739" y="818"/>
                    <a:pt x="2763" y="818"/>
                    <a:pt x="2763" y="818"/>
                  </a:cubicBezTo>
                  <a:cubicBezTo>
                    <a:pt x="2732" y="829"/>
                    <a:pt x="2732" y="829"/>
                    <a:pt x="2732" y="829"/>
                  </a:cubicBezTo>
                  <a:cubicBezTo>
                    <a:pt x="2732" y="829"/>
                    <a:pt x="2737" y="850"/>
                    <a:pt x="2743" y="849"/>
                  </a:cubicBezTo>
                  <a:cubicBezTo>
                    <a:pt x="2748" y="848"/>
                    <a:pt x="2759" y="841"/>
                    <a:pt x="2759" y="841"/>
                  </a:cubicBezTo>
                  <a:cubicBezTo>
                    <a:pt x="2759" y="841"/>
                    <a:pt x="2761" y="856"/>
                    <a:pt x="2771" y="857"/>
                  </a:cubicBezTo>
                  <a:cubicBezTo>
                    <a:pt x="2780" y="858"/>
                    <a:pt x="2801" y="861"/>
                    <a:pt x="2801" y="861"/>
                  </a:cubicBezTo>
                  <a:cubicBezTo>
                    <a:pt x="2801" y="861"/>
                    <a:pt x="2800" y="878"/>
                    <a:pt x="2816" y="882"/>
                  </a:cubicBezTo>
                  <a:cubicBezTo>
                    <a:pt x="2832" y="886"/>
                    <a:pt x="2843" y="878"/>
                    <a:pt x="2857" y="886"/>
                  </a:cubicBezTo>
                  <a:cubicBezTo>
                    <a:pt x="2872" y="894"/>
                    <a:pt x="2908" y="909"/>
                    <a:pt x="2908" y="909"/>
                  </a:cubicBezTo>
                  <a:cubicBezTo>
                    <a:pt x="2908" y="909"/>
                    <a:pt x="2919" y="889"/>
                    <a:pt x="2907" y="876"/>
                  </a:cubicBezTo>
                  <a:cubicBezTo>
                    <a:pt x="2895" y="862"/>
                    <a:pt x="2875" y="850"/>
                    <a:pt x="2875" y="850"/>
                  </a:cubicBezTo>
                  <a:cubicBezTo>
                    <a:pt x="2875" y="850"/>
                    <a:pt x="2855" y="825"/>
                    <a:pt x="2860" y="817"/>
                  </a:cubicBezTo>
                  <a:cubicBezTo>
                    <a:pt x="2865" y="809"/>
                    <a:pt x="2888" y="832"/>
                    <a:pt x="2888" y="832"/>
                  </a:cubicBezTo>
                  <a:cubicBezTo>
                    <a:pt x="2888" y="812"/>
                    <a:pt x="2888" y="812"/>
                    <a:pt x="2888" y="812"/>
                  </a:cubicBezTo>
                  <a:cubicBezTo>
                    <a:pt x="2888" y="812"/>
                    <a:pt x="2897" y="837"/>
                    <a:pt x="2907" y="837"/>
                  </a:cubicBezTo>
                  <a:cubicBezTo>
                    <a:pt x="2916" y="837"/>
                    <a:pt x="2931" y="833"/>
                    <a:pt x="2931" y="833"/>
                  </a:cubicBezTo>
                  <a:cubicBezTo>
                    <a:pt x="2931" y="833"/>
                    <a:pt x="2927" y="854"/>
                    <a:pt x="2937" y="853"/>
                  </a:cubicBezTo>
                  <a:cubicBezTo>
                    <a:pt x="2948" y="852"/>
                    <a:pt x="2952" y="864"/>
                    <a:pt x="2952" y="864"/>
                  </a:cubicBezTo>
                  <a:cubicBezTo>
                    <a:pt x="2965" y="849"/>
                    <a:pt x="2965" y="849"/>
                    <a:pt x="2965" y="849"/>
                  </a:cubicBezTo>
                  <a:cubicBezTo>
                    <a:pt x="2965" y="849"/>
                    <a:pt x="2975" y="861"/>
                    <a:pt x="2980" y="858"/>
                  </a:cubicBezTo>
                  <a:cubicBezTo>
                    <a:pt x="2985" y="856"/>
                    <a:pt x="2979" y="840"/>
                    <a:pt x="2979" y="840"/>
                  </a:cubicBezTo>
                  <a:cubicBezTo>
                    <a:pt x="2989" y="809"/>
                    <a:pt x="2989" y="809"/>
                    <a:pt x="2989" y="809"/>
                  </a:cubicBezTo>
                  <a:cubicBezTo>
                    <a:pt x="2989" y="809"/>
                    <a:pt x="2989" y="836"/>
                    <a:pt x="2997" y="836"/>
                  </a:cubicBezTo>
                  <a:cubicBezTo>
                    <a:pt x="3005" y="836"/>
                    <a:pt x="3009" y="808"/>
                    <a:pt x="3009" y="808"/>
                  </a:cubicBezTo>
                  <a:cubicBezTo>
                    <a:pt x="2995" y="792"/>
                    <a:pt x="2995" y="792"/>
                    <a:pt x="2995" y="792"/>
                  </a:cubicBezTo>
                  <a:cubicBezTo>
                    <a:pt x="3009" y="788"/>
                    <a:pt x="3009" y="788"/>
                    <a:pt x="3009" y="788"/>
                  </a:cubicBezTo>
                  <a:cubicBezTo>
                    <a:pt x="2997" y="778"/>
                    <a:pt x="2997" y="778"/>
                    <a:pt x="2997" y="778"/>
                  </a:cubicBezTo>
                  <a:cubicBezTo>
                    <a:pt x="2999" y="765"/>
                    <a:pt x="2999" y="765"/>
                    <a:pt x="2999" y="765"/>
                  </a:cubicBezTo>
                  <a:cubicBezTo>
                    <a:pt x="2979" y="768"/>
                    <a:pt x="2979" y="768"/>
                    <a:pt x="2979" y="768"/>
                  </a:cubicBezTo>
                  <a:cubicBezTo>
                    <a:pt x="2979" y="757"/>
                    <a:pt x="2979" y="757"/>
                    <a:pt x="2979" y="757"/>
                  </a:cubicBezTo>
                  <a:cubicBezTo>
                    <a:pt x="2964" y="757"/>
                    <a:pt x="2964" y="757"/>
                    <a:pt x="2964" y="757"/>
                  </a:cubicBezTo>
                  <a:cubicBezTo>
                    <a:pt x="2963" y="724"/>
                    <a:pt x="2963" y="724"/>
                    <a:pt x="2963" y="724"/>
                  </a:cubicBezTo>
                  <a:cubicBezTo>
                    <a:pt x="2941" y="725"/>
                    <a:pt x="2941" y="725"/>
                    <a:pt x="2941" y="725"/>
                  </a:cubicBezTo>
                  <a:cubicBezTo>
                    <a:pt x="2941" y="725"/>
                    <a:pt x="2929" y="705"/>
                    <a:pt x="2941" y="702"/>
                  </a:cubicBezTo>
                  <a:cubicBezTo>
                    <a:pt x="2953" y="700"/>
                    <a:pt x="2961" y="717"/>
                    <a:pt x="2969" y="714"/>
                  </a:cubicBezTo>
                  <a:cubicBezTo>
                    <a:pt x="2977" y="712"/>
                    <a:pt x="2976" y="686"/>
                    <a:pt x="2976" y="686"/>
                  </a:cubicBezTo>
                  <a:cubicBezTo>
                    <a:pt x="2991" y="690"/>
                    <a:pt x="2991" y="690"/>
                    <a:pt x="2991" y="690"/>
                  </a:cubicBezTo>
                  <a:cubicBezTo>
                    <a:pt x="3016" y="678"/>
                    <a:pt x="3016" y="678"/>
                    <a:pt x="3016" y="678"/>
                  </a:cubicBezTo>
                  <a:cubicBezTo>
                    <a:pt x="3016" y="678"/>
                    <a:pt x="3017" y="710"/>
                    <a:pt x="3024" y="704"/>
                  </a:cubicBezTo>
                  <a:cubicBezTo>
                    <a:pt x="3031" y="697"/>
                    <a:pt x="3044" y="697"/>
                    <a:pt x="3044" y="697"/>
                  </a:cubicBezTo>
                  <a:cubicBezTo>
                    <a:pt x="3036" y="709"/>
                    <a:pt x="3036" y="709"/>
                    <a:pt x="3036" y="709"/>
                  </a:cubicBezTo>
                  <a:cubicBezTo>
                    <a:pt x="3051" y="710"/>
                    <a:pt x="3051" y="710"/>
                    <a:pt x="3051" y="710"/>
                  </a:cubicBezTo>
                  <a:cubicBezTo>
                    <a:pt x="3044" y="729"/>
                    <a:pt x="3044" y="729"/>
                    <a:pt x="3044" y="729"/>
                  </a:cubicBezTo>
                  <a:cubicBezTo>
                    <a:pt x="3044" y="729"/>
                    <a:pt x="3067" y="770"/>
                    <a:pt x="3083" y="760"/>
                  </a:cubicBezTo>
                  <a:cubicBezTo>
                    <a:pt x="3099" y="749"/>
                    <a:pt x="3101" y="724"/>
                    <a:pt x="3101" y="724"/>
                  </a:cubicBezTo>
                  <a:cubicBezTo>
                    <a:pt x="3108" y="714"/>
                    <a:pt x="3108" y="714"/>
                    <a:pt x="3108" y="714"/>
                  </a:cubicBezTo>
                  <a:cubicBezTo>
                    <a:pt x="3108" y="714"/>
                    <a:pt x="3127" y="730"/>
                    <a:pt x="3140" y="721"/>
                  </a:cubicBezTo>
                  <a:cubicBezTo>
                    <a:pt x="3153" y="712"/>
                    <a:pt x="3152" y="694"/>
                    <a:pt x="3152" y="694"/>
                  </a:cubicBezTo>
                  <a:cubicBezTo>
                    <a:pt x="3152" y="694"/>
                    <a:pt x="3187" y="704"/>
                    <a:pt x="3201" y="688"/>
                  </a:cubicBezTo>
                  <a:cubicBezTo>
                    <a:pt x="3216" y="672"/>
                    <a:pt x="3177" y="661"/>
                    <a:pt x="3172" y="665"/>
                  </a:cubicBezTo>
                  <a:close/>
                  <a:moveTo>
                    <a:pt x="2983" y="872"/>
                  </a:moveTo>
                  <a:cubicBezTo>
                    <a:pt x="2963" y="876"/>
                    <a:pt x="2963" y="876"/>
                    <a:pt x="2963" y="876"/>
                  </a:cubicBezTo>
                  <a:cubicBezTo>
                    <a:pt x="2960" y="885"/>
                    <a:pt x="2960" y="885"/>
                    <a:pt x="2960" y="885"/>
                  </a:cubicBezTo>
                  <a:cubicBezTo>
                    <a:pt x="2983" y="882"/>
                    <a:pt x="2983" y="882"/>
                    <a:pt x="2983" y="882"/>
                  </a:cubicBezTo>
                  <a:lnTo>
                    <a:pt x="2983" y="872"/>
                  </a:lnTo>
                  <a:close/>
                  <a:moveTo>
                    <a:pt x="2758" y="861"/>
                  </a:moveTo>
                  <a:cubicBezTo>
                    <a:pt x="2746" y="862"/>
                    <a:pt x="2747" y="878"/>
                    <a:pt x="2761" y="878"/>
                  </a:cubicBezTo>
                  <a:cubicBezTo>
                    <a:pt x="2785" y="878"/>
                    <a:pt x="2771" y="859"/>
                    <a:pt x="2758" y="861"/>
                  </a:cubicBezTo>
                  <a:close/>
                  <a:moveTo>
                    <a:pt x="2555" y="832"/>
                  </a:moveTo>
                  <a:cubicBezTo>
                    <a:pt x="2565" y="822"/>
                    <a:pt x="2540" y="818"/>
                    <a:pt x="2540" y="818"/>
                  </a:cubicBezTo>
                  <a:cubicBezTo>
                    <a:pt x="2540" y="818"/>
                    <a:pt x="2540" y="847"/>
                    <a:pt x="2555" y="832"/>
                  </a:cubicBezTo>
                  <a:close/>
                  <a:moveTo>
                    <a:pt x="2800" y="969"/>
                  </a:moveTo>
                  <a:cubicBezTo>
                    <a:pt x="2777" y="971"/>
                    <a:pt x="2777" y="971"/>
                    <a:pt x="2777" y="971"/>
                  </a:cubicBezTo>
                  <a:cubicBezTo>
                    <a:pt x="2801" y="987"/>
                    <a:pt x="2801" y="987"/>
                    <a:pt x="2801" y="987"/>
                  </a:cubicBezTo>
                  <a:cubicBezTo>
                    <a:pt x="2820" y="978"/>
                    <a:pt x="2800" y="969"/>
                    <a:pt x="2800" y="969"/>
                  </a:cubicBezTo>
                  <a:close/>
                  <a:moveTo>
                    <a:pt x="2779" y="582"/>
                  </a:moveTo>
                  <a:cubicBezTo>
                    <a:pt x="2752" y="576"/>
                    <a:pt x="2779" y="594"/>
                    <a:pt x="2779" y="594"/>
                  </a:cubicBezTo>
                  <a:cubicBezTo>
                    <a:pt x="2795" y="592"/>
                    <a:pt x="2807" y="588"/>
                    <a:pt x="2779" y="582"/>
                  </a:cubicBezTo>
                  <a:close/>
                  <a:moveTo>
                    <a:pt x="2779" y="626"/>
                  </a:moveTo>
                  <a:cubicBezTo>
                    <a:pt x="2821" y="624"/>
                    <a:pt x="2821" y="624"/>
                    <a:pt x="2821" y="624"/>
                  </a:cubicBezTo>
                  <a:cubicBezTo>
                    <a:pt x="2821" y="613"/>
                    <a:pt x="2821" y="613"/>
                    <a:pt x="2821" y="613"/>
                  </a:cubicBezTo>
                  <a:cubicBezTo>
                    <a:pt x="2791" y="615"/>
                    <a:pt x="2791" y="615"/>
                    <a:pt x="2791" y="615"/>
                  </a:cubicBezTo>
                  <a:lnTo>
                    <a:pt x="2779" y="626"/>
                  </a:lnTo>
                  <a:close/>
                  <a:moveTo>
                    <a:pt x="3715" y="26"/>
                  </a:moveTo>
                  <a:cubicBezTo>
                    <a:pt x="3713" y="23"/>
                    <a:pt x="3658" y="28"/>
                    <a:pt x="3658" y="28"/>
                  </a:cubicBezTo>
                  <a:cubicBezTo>
                    <a:pt x="3660" y="18"/>
                    <a:pt x="3660" y="18"/>
                    <a:pt x="3660" y="18"/>
                  </a:cubicBezTo>
                  <a:cubicBezTo>
                    <a:pt x="3660" y="18"/>
                    <a:pt x="3625" y="10"/>
                    <a:pt x="3612" y="10"/>
                  </a:cubicBezTo>
                  <a:cubicBezTo>
                    <a:pt x="3599" y="10"/>
                    <a:pt x="3527" y="25"/>
                    <a:pt x="3527" y="25"/>
                  </a:cubicBezTo>
                  <a:cubicBezTo>
                    <a:pt x="3560" y="10"/>
                    <a:pt x="3560" y="10"/>
                    <a:pt x="3560" y="10"/>
                  </a:cubicBezTo>
                  <a:cubicBezTo>
                    <a:pt x="3515" y="12"/>
                    <a:pt x="3515" y="12"/>
                    <a:pt x="3515" y="12"/>
                  </a:cubicBezTo>
                  <a:cubicBezTo>
                    <a:pt x="3515" y="12"/>
                    <a:pt x="3479" y="0"/>
                    <a:pt x="3469" y="2"/>
                  </a:cubicBezTo>
                  <a:cubicBezTo>
                    <a:pt x="3458" y="4"/>
                    <a:pt x="3453" y="15"/>
                    <a:pt x="3453" y="15"/>
                  </a:cubicBezTo>
                  <a:cubicBezTo>
                    <a:pt x="3453" y="15"/>
                    <a:pt x="3427" y="3"/>
                    <a:pt x="3418" y="3"/>
                  </a:cubicBezTo>
                  <a:cubicBezTo>
                    <a:pt x="3409" y="3"/>
                    <a:pt x="3389" y="18"/>
                    <a:pt x="3389" y="18"/>
                  </a:cubicBezTo>
                  <a:cubicBezTo>
                    <a:pt x="3363" y="10"/>
                    <a:pt x="3363" y="10"/>
                    <a:pt x="3363" y="10"/>
                  </a:cubicBezTo>
                  <a:cubicBezTo>
                    <a:pt x="3290" y="7"/>
                    <a:pt x="3290" y="7"/>
                    <a:pt x="3290" y="7"/>
                  </a:cubicBezTo>
                  <a:cubicBezTo>
                    <a:pt x="3308" y="25"/>
                    <a:pt x="3308" y="25"/>
                    <a:pt x="3308" y="25"/>
                  </a:cubicBezTo>
                  <a:cubicBezTo>
                    <a:pt x="3266" y="11"/>
                    <a:pt x="3266" y="11"/>
                    <a:pt x="3266" y="11"/>
                  </a:cubicBezTo>
                  <a:cubicBezTo>
                    <a:pt x="3225" y="18"/>
                    <a:pt x="3225" y="18"/>
                    <a:pt x="3225" y="18"/>
                  </a:cubicBezTo>
                  <a:cubicBezTo>
                    <a:pt x="3225" y="18"/>
                    <a:pt x="3195" y="12"/>
                    <a:pt x="3179" y="12"/>
                  </a:cubicBezTo>
                  <a:cubicBezTo>
                    <a:pt x="3163" y="12"/>
                    <a:pt x="3114" y="24"/>
                    <a:pt x="3114" y="24"/>
                  </a:cubicBezTo>
                  <a:cubicBezTo>
                    <a:pt x="3172" y="42"/>
                    <a:pt x="3172" y="42"/>
                    <a:pt x="3172" y="42"/>
                  </a:cubicBezTo>
                  <a:cubicBezTo>
                    <a:pt x="3114" y="34"/>
                    <a:pt x="3114" y="34"/>
                    <a:pt x="3114" y="34"/>
                  </a:cubicBezTo>
                  <a:cubicBezTo>
                    <a:pt x="3114" y="34"/>
                    <a:pt x="3059" y="23"/>
                    <a:pt x="3034" y="25"/>
                  </a:cubicBezTo>
                  <a:cubicBezTo>
                    <a:pt x="3010" y="28"/>
                    <a:pt x="3018" y="42"/>
                    <a:pt x="3018" y="42"/>
                  </a:cubicBezTo>
                  <a:cubicBezTo>
                    <a:pt x="3018" y="42"/>
                    <a:pt x="2956" y="36"/>
                    <a:pt x="2943" y="36"/>
                  </a:cubicBezTo>
                  <a:cubicBezTo>
                    <a:pt x="2930" y="36"/>
                    <a:pt x="2830" y="46"/>
                    <a:pt x="2826" y="48"/>
                  </a:cubicBezTo>
                  <a:cubicBezTo>
                    <a:pt x="2823" y="50"/>
                    <a:pt x="2849" y="56"/>
                    <a:pt x="2849" y="56"/>
                  </a:cubicBezTo>
                  <a:cubicBezTo>
                    <a:pt x="2905" y="59"/>
                    <a:pt x="2905" y="59"/>
                    <a:pt x="2905" y="59"/>
                  </a:cubicBezTo>
                  <a:cubicBezTo>
                    <a:pt x="2850" y="67"/>
                    <a:pt x="2850" y="67"/>
                    <a:pt x="2850" y="67"/>
                  </a:cubicBezTo>
                  <a:cubicBezTo>
                    <a:pt x="2850" y="67"/>
                    <a:pt x="2870" y="76"/>
                    <a:pt x="2884" y="76"/>
                  </a:cubicBezTo>
                  <a:cubicBezTo>
                    <a:pt x="2898" y="76"/>
                    <a:pt x="2935" y="70"/>
                    <a:pt x="2935" y="70"/>
                  </a:cubicBezTo>
                  <a:cubicBezTo>
                    <a:pt x="2935" y="70"/>
                    <a:pt x="2960" y="62"/>
                    <a:pt x="2978" y="62"/>
                  </a:cubicBezTo>
                  <a:cubicBezTo>
                    <a:pt x="2997" y="62"/>
                    <a:pt x="3040" y="71"/>
                    <a:pt x="3040" y="71"/>
                  </a:cubicBezTo>
                  <a:cubicBezTo>
                    <a:pt x="3040" y="71"/>
                    <a:pt x="2989" y="72"/>
                    <a:pt x="2977" y="73"/>
                  </a:cubicBezTo>
                  <a:cubicBezTo>
                    <a:pt x="2965" y="74"/>
                    <a:pt x="2930" y="87"/>
                    <a:pt x="2930" y="87"/>
                  </a:cubicBezTo>
                  <a:cubicBezTo>
                    <a:pt x="2930" y="87"/>
                    <a:pt x="2958" y="87"/>
                    <a:pt x="2979" y="89"/>
                  </a:cubicBezTo>
                  <a:cubicBezTo>
                    <a:pt x="3001" y="91"/>
                    <a:pt x="3006" y="83"/>
                    <a:pt x="3006" y="83"/>
                  </a:cubicBezTo>
                  <a:cubicBezTo>
                    <a:pt x="3050" y="83"/>
                    <a:pt x="3050" y="83"/>
                    <a:pt x="3050" y="83"/>
                  </a:cubicBezTo>
                  <a:cubicBezTo>
                    <a:pt x="3050" y="83"/>
                    <a:pt x="3064" y="84"/>
                    <a:pt x="3081" y="84"/>
                  </a:cubicBezTo>
                  <a:cubicBezTo>
                    <a:pt x="3098" y="84"/>
                    <a:pt x="3138" y="73"/>
                    <a:pt x="3142" y="70"/>
                  </a:cubicBezTo>
                  <a:cubicBezTo>
                    <a:pt x="3147" y="66"/>
                    <a:pt x="3173" y="63"/>
                    <a:pt x="3186" y="59"/>
                  </a:cubicBezTo>
                  <a:cubicBezTo>
                    <a:pt x="3199" y="54"/>
                    <a:pt x="3220" y="59"/>
                    <a:pt x="3220" y="59"/>
                  </a:cubicBezTo>
                  <a:cubicBezTo>
                    <a:pt x="3162" y="76"/>
                    <a:pt x="3162" y="76"/>
                    <a:pt x="3162" y="76"/>
                  </a:cubicBezTo>
                  <a:cubicBezTo>
                    <a:pt x="3185" y="77"/>
                    <a:pt x="3185" y="77"/>
                    <a:pt x="3185" y="77"/>
                  </a:cubicBezTo>
                  <a:cubicBezTo>
                    <a:pt x="3153" y="87"/>
                    <a:pt x="3153" y="87"/>
                    <a:pt x="3153" y="87"/>
                  </a:cubicBezTo>
                  <a:cubicBezTo>
                    <a:pt x="3153" y="87"/>
                    <a:pt x="3040" y="92"/>
                    <a:pt x="3027" y="92"/>
                  </a:cubicBezTo>
                  <a:cubicBezTo>
                    <a:pt x="3014" y="92"/>
                    <a:pt x="3014" y="104"/>
                    <a:pt x="3014" y="104"/>
                  </a:cubicBezTo>
                  <a:cubicBezTo>
                    <a:pt x="3065" y="119"/>
                    <a:pt x="3065" y="119"/>
                    <a:pt x="3065" y="119"/>
                  </a:cubicBezTo>
                  <a:cubicBezTo>
                    <a:pt x="3065" y="119"/>
                    <a:pt x="3045" y="125"/>
                    <a:pt x="3033" y="125"/>
                  </a:cubicBezTo>
                  <a:cubicBezTo>
                    <a:pt x="3022" y="125"/>
                    <a:pt x="2974" y="99"/>
                    <a:pt x="2974" y="99"/>
                  </a:cubicBezTo>
                  <a:cubicBezTo>
                    <a:pt x="2974" y="99"/>
                    <a:pt x="2925" y="100"/>
                    <a:pt x="2912" y="100"/>
                  </a:cubicBezTo>
                  <a:cubicBezTo>
                    <a:pt x="2899" y="100"/>
                    <a:pt x="2891" y="115"/>
                    <a:pt x="2891" y="115"/>
                  </a:cubicBezTo>
                  <a:cubicBezTo>
                    <a:pt x="2912" y="126"/>
                    <a:pt x="2912" y="126"/>
                    <a:pt x="2912" y="126"/>
                  </a:cubicBezTo>
                  <a:cubicBezTo>
                    <a:pt x="2912" y="126"/>
                    <a:pt x="2923" y="142"/>
                    <a:pt x="2940" y="145"/>
                  </a:cubicBezTo>
                  <a:cubicBezTo>
                    <a:pt x="2956" y="148"/>
                    <a:pt x="2989" y="144"/>
                    <a:pt x="2989" y="144"/>
                  </a:cubicBezTo>
                  <a:cubicBezTo>
                    <a:pt x="2989" y="144"/>
                    <a:pt x="2981" y="153"/>
                    <a:pt x="2964" y="155"/>
                  </a:cubicBezTo>
                  <a:cubicBezTo>
                    <a:pt x="2948" y="157"/>
                    <a:pt x="2917" y="151"/>
                    <a:pt x="2909" y="149"/>
                  </a:cubicBezTo>
                  <a:cubicBezTo>
                    <a:pt x="2902" y="147"/>
                    <a:pt x="2846" y="157"/>
                    <a:pt x="2828" y="157"/>
                  </a:cubicBezTo>
                  <a:cubicBezTo>
                    <a:pt x="2809" y="157"/>
                    <a:pt x="2774" y="182"/>
                    <a:pt x="2774" y="182"/>
                  </a:cubicBezTo>
                  <a:cubicBezTo>
                    <a:pt x="2823" y="174"/>
                    <a:pt x="2823" y="174"/>
                    <a:pt x="2823" y="174"/>
                  </a:cubicBezTo>
                  <a:cubicBezTo>
                    <a:pt x="2821" y="186"/>
                    <a:pt x="2821" y="186"/>
                    <a:pt x="2821" y="186"/>
                  </a:cubicBezTo>
                  <a:cubicBezTo>
                    <a:pt x="2863" y="174"/>
                    <a:pt x="2863" y="174"/>
                    <a:pt x="2863" y="174"/>
                  </a:cubicBezTo>
                  <a:cubicBezTo>
                    <a:pt x="2816" y="192"/>
                    <a:pt x="2816" y="192"/>
                    <a:pt x="2816" y="192"/>
                  </a:cubicBezTo>
                  <a:cubicBezTo>
                    <a:pt x="2816" y="192"/>
                    <a:pt x="2824" y="203"/>
                    <a:pt x="2840" y="203"/>
                  </a:cubicBezTo>
                  <a:cubicBezTo>
                    <a:pt x="2857" y="203"/>
                    <a:pt x="2902" y="186"/>
                    <a:pt x="2902" y="186"/>
                  </a:cubicBezTo>
                  <a:cubicBezTo>
                    <a:pt x="2834" y="212"/>
                    <a:pt x="2834" y="212"/>
                    <a:pt x="2834" y="212"/>
                  </a:cubicBezTo>
                  <a:cubicBezTo>
                    <a:pt x="2789" y="209"/>
                    <a:pt x="2789" y="209"/>
                    <a:pt x="2789" y="209"/>
                  </a:cubicBezTo>
                  <a:cubicBezTo>
                    <a:pt x="2780" y="192"/>
                    <a:pt x="2780" y="192"/>
                    <a:pt x="2780" y="192"/>
                  </a:cubicBezTo>
                  <a:cubicBezTo>
                    <a:pt x="2780" y="192"/>
                    <a:pt x="2747" y="189"/>
                    <a:pt x="2737" y="191"/>
                  </a:cubicBezTo>
                  <a:cubicBezTo>
                    <a:pt x="2727" y="193"/>
                    <a:pt x="2741" y="218"/>
                    <a:pt x="2741" y="218"/>
                  </a:cubicBezTo>
                  <a:cubicBezTo>
                    <a:pt x="2741" y="218"/>
                    <a:pt x="2697" y="222"/>
                    <a:pt x="2691" y="222"/>
                  </a:cubicBezTo>
                  <a:cubicBezTo>
                    <a:pt x="2684" y="222"/>
                    <a:pt x="2654" y="237"/>
                    <a:pt x="2634" y="239"/>
                  </a:cubicBezTo>
                  <a:cubicBezTo>
                    <a:pt x="2622" y="240"/>
                    <a:pt x="2613" y="241"/>
                    <a:pt x="2610" y="241"/>
                  </a:cubicBezTo>
                  <a:cubicBezTo>
                    <a:pt x="2607" y="241"/>
                    <a:pt x="2626" y="247"/>
                    <a:pt x="2641" y="247"/>
                  </a:cubicBezTo>
                  <a:cubicBezTo>
                    <a:pt x="2656" y="247"/>
                    <a:pt x="2663" y="240"/>
                    <a:pt x="2663" y="240"/>
                  </a:cubicBezTo>
                  <a:cubicBezTo>
                    <a:pt x="2655" y="252"/>
                    <a:pt x="2655" y="252"/>
                    <a:pt x="2655" y="252"/>
                  </a:cubicBezTo>
                  <a:cubicBezTo>
                    <a:pt x="2680" y="247"/>
                    <a:pt x="2680" y="247"/>
                    <a:pt x="2680" y="247"/>
                  </a:cubicBezTo>
                  <a:cubicBezTo>
                    <a:pt x="2695" y="240"/>
                    <a:pt x="2695" y="240"/>
                    <a:pt x="2695" y="240"/>
                  </a:cubicBezTo>
                  <a:cubicBezTo>
                    <a:pt x="2695" y="248"/>
                    <a:pt x="2695" y="248"/>
                    <a:pt x="2695" y="248"/>
                  </a:cubicBezTo>
                  <a:cubicBezTo>
                    <a:pt x="2712" y="246"/>
                    <a:pt x="2712" y="246"/>
                    <a:pt x="2712" y="246"/>
                  </a:cubicBezTo>
                  <a:cubicBezTo>
                    <a:pt x="2728" y="244"/>
                    <a:pt x="2728" y="244"/>
                    <a:pt x="2728" y="244"/>
                  </a:cubicBezTo>
                  <a:cubicBezTo>
                    <a:pt x="2728" y="244"/>
                    <a:pt x="2729" y="253"/>
                    <a:pt x="2740" y="254"/>
                  </a:cubicBezTo>
                  <a:cubicBezTo>
                    <a:pt x="2751" y="255"/>
                    <a:pt x="2773" y="241"/>
                    <a:pt x="2773" y="241"/>
                  </a:cubicBezTo>
                  <a:cubicBezTo>
                    <a:pt x="2778" y="250"/>
                    <a:pt x="2778" y="250"/>
                    <a:pt x="2778" y="250"/>
                  </a:cubicBezTo>
                  <a:cubicBezTo>
                    <a:pt x="2796" y="240"/>
                    <a:pt x="2796" y="240"/>
                    <a:pt x="2796" y="240"/>
                  </a:cubicBezTo>
                  <a:cubicBezTo>
                    <a:pt x="2796" y="240"/>
                    <a:pt x="2802" y="248"/>
                    <a:pt x="2810" y="251"/>
                  </a:cubicBezTo>
                  <a:cubicBezTo>
                    <a:pt x="2819" y="253"/>
                    <a:pt x="2828" y="242"/>
                    <a:pt x="2828" y="242"/>
                  </a:cubicBezTo>
                  <a:cubicBezTo>
                    <a:pt x="2828" y="242"/>
                    <a:pt x="2837" y="250"/>
                    <a:pt x="2850" y="250"/>
                  </a:cubicBezTo>
                  <a:cubicBezTo>
                    <a:pt x="2863" y="250"/>
                    <a:pt x="2853" y="238"/>
                    <a:pt x="2853" y="238"/>
                  </a:cubicBezTo>
                  <a:cubicBezTo>
                    <a:pt x="2891" y="252"/>
                    <a:pt x="2891" y="252"/>
                    <a:pt x="2891" y="252"/>
                  </a:cubicBezTo>
                  <a:cubicBezTo>
                    <a:pt x="2891" y="252"/>
                    <a:pt x="2898" y="261"/>
                    <a:pt x="2902" y="261"/>
                  </a:cubicBezTo>
                  <a:cubicBezTo>
                    <a:pt x="2906" y="261"/>
                    <a:pt x="2964" y="248"/>
                    <a:pt x="2975" y="248"/>
                  </a:cubicBezTo>
                  <a:cubicBezTo>
                    <a:pt x="2986" y="248"/>
                    <a:pt x="3011" y="238"/>
                    <a:pt x="3015" y="231"/>
                  </a:cubicBezTo>
                  <a:cubicBezTo>
                    <a:pt x="3019" y="225"/>
                    <a:pt x="2973" y="230"/>
                    <a:pt x="2973" y="230"/>
                  </a:cubicBezTo>
                  <a:cubicBezTo>
                    <a:pt x="2973" y="230"/>
                    <a:pt x="2982" y="223"/>
                    <a:pt x="2975" y="220"/>
                  </a:cubicBezTo>
                  <a:cubicBezTo>
                    <a:pt x="2969" y="218"/>
                    <a:pt x="2943" y="220"/>
                    <a:pt x="2943" y="220"/>
                  </a:cubicBezTo>
                  <a:cubicBezTo>
                    <a:pt x="2905" y="214"/>
                    <a:pt x="2905" y="214"/>
                    <a:pt x="2905" y="214"/>
                  </a:cubicBezTo>
                  <a:cubicBezTo>
                    <a:pt x="2917" y="201"/>
                    <a:pt x="2917" y="201"/>
                    <a:pt x="2917" y="201"/>
                  </a:cubicBezTo>
                  <a:cubicBezTo>
                    <a:pt x="2959" y="215"/>
                    <a:pt x="2959" y="215"/>
                    <a:pt x="2959" y="215"/>
                  </a:cubicBezTo>
                  <a:cubicBezTo>
                    <a:pt x="2959" y="215"/>
                    <a:pt x="3014" y="212"/>
                    <a:pt x="3034" y="211"/>
                  </a:cubicBezTo>
                  <a:cubicBezTo>
                    <a:pt x="3055" y="210"/>
                    <a:pt x="3050" y="192"/>
                    <a:pt x="3050" y="192"/>
                  </a:cubicBezTo>
                  <a:cubicBezTo>
                    <a:pt x="3050" y="192"/>
                    <a:pt x="3075" y="187"/>
                    <a:pt x="3094" y="187"/>
                  </a:cubicBezTo>
                  <a:cubicBezTo>
                    <a:pt x="3112" y="187"/>
                    <a:pt x="3150" y="178"/>
                    <a:pt x="3150" y="178"/>
                  </a:cubicBezTo>
                  <a:cubicBezTo>
                    <a:pt x="3132" y="167"/>
                    <a:pt x="3132" y="167"/>
                    <a:pt x="3132" y="167"/>
                  </a:cubicBezTo>
                  <a:cubicBezTo>
                    <a:pt x="3132" y="167"/>
                    <a:pt x="3155" y="167"/>
                    <a:pt x="3180" y="161"/>
                  </a:cubicBezTo>
                  <a:cubicBezTo>
                    <a:pt x="3205" y="156"/>
                    <a:pt x="3147" y="146"/>
                    <a:pt x="3147" y="146"/>
                  </a:cubicBezTo>
                  <a:cubicBezTo>
                    <a:pt x="3147" y="146"/>
                    <a:pt x="3115" y="147"/>
                    <a:pt x="3104" y="143"/>
                  </a:cubicBezTo>
                  <a:cubicBezTo>
                    <a:pt x="3094" y="139"/>
                    <a:pt x="3152" y="125"/>
                    <a:pt x="3155" y="126"/>
                  </a:cubicBezTo>
                  <a:cubicBezTo>
                    <a:pt x="3158" y="127"/>
                    <a:pt x="3200" y="131"/>
                    <a:pt x="3200" y="131"/>
                  </a:cubicBezTo>
                  <a:cubicBezTo>
                    <a:pt x="3200" y="131"/>
                    <a:pt x="3248" y="129"/>
                    <a:pt x="3263" y="126"/>
                  </a:cubicBezTo>
                  <a:cubicBezTo>
                    <a:pt x="3278" y="122"/>
                    <a:pt x="3229" y="120"/>
                    <a:pt x="3247" y="113"/>
                  </a:cubicBezTo>
                  <a:cubicBezTo>
                    <a:pt x="3264" y="105"/>
                    <a:pt x="3296" y="119"/>
                    <a:pt x="3316" y="119"/>
                  </a:cubicBezTo>
                  <a:cubicBezTo>
                    <a:pt x="3335" y="119"/>
                    <a:pt x="3328" y="102"/>
                    <a:pt x="3328" y="102"/>
                  </a:cubicBezTo>
                  <a:cubicBezTo>
                    <a:pt x="3376" y="105"/>
                    <a:pt x="3376" y="105"/>
                    <a:pt x="3376" y="105"/>
                  </a:cubicBezTo>
                  <a:cubicBezTo>
                    <a:pt x="3379" y="91"/>
                    <a:pt x="3379" y="91"/>
                    <a:pt x="3379" y="91"/>
                  </a:cubicBezTo>
                  <a:cubicBezTo>
                    <a:pt x="3379" y="91"/>
                    <a:pt x="3392" y="95"/>
                    <a:pt x="3401" y="95"/>
                  </a:cubicBezTo>
                  <a:cubicBezTo>
                    <a:pt x="3409" y="95"/>
                    <a:pt x="3440" y="83"/>
                    <a:pt x="3440" y="83"/>
                  </a:cubicBezTo>
                  <a:cubicBezTo>
                    <a:pt x="3440" y="83"/>
                    <a:pt x="3499" y="73"/>
                    <a:pt x="3531" y="67"/>
                  </a:cubicBezTo>
                  <a:cubicBezTo>
                    <a:pt x="3564" y="62"/>
                    <a:pt x="3567" y="57"/>
                    <a:pt x="3562" y="57"/>
                  </a:cubicBezTo>
                  <a:cubicBezTo>
                    <a:pt x="3558" y="57"/>
                    <a:pt x="3491" y="60"/>
                    <a:pt x="3491" y="60"/>
                  </a:cubicBezTo>
                  <a:cubicBezTo>
                    <a:pt x="3474" y="67"/>
                    <a:pt x="3474" y="67"/>
                    <a:pt x="3474" y="67"/>
                  </a:cubicBezTo>
                  <a:cubicBezTo>
                    <a:pt x="3428" y="64"/>
                    <a:pt x="3428" y="64"/>
                    <a:pt x="3428" y="64"/>
                  </a:cubicBezTo>
                  <a:cubicBezTo>
                    <a:pt x="3481" y="61"/>
                    <a:pt x="3481" y="61"/>
                    <a:pt x="3481" y="61"/>
                  </a:cubicBezTo>
                  <a:cubicBezTo>
                    <a:pt x="3479" y="52"/>
                    <a:pt x="3479" y="52"/>
                    <a:pt x="3479" y="52"/>
                  </a:cubicBezTo>
                  <a:cubicBezTo>
                    <a:pt x="3512" y="57"/>
                    <a:pt x="3512" y="57"/>
                    <a:pt x="3512" y="57"/>
                  </a:cubicBezTo>
                  <a:cubicBezTo>
                    <a:pt x="3512" y="57"/>
                    <a:pt x="3517" y="49"/>
                    <a:pt x="3526" y="49"/>
                  </a:cubicBezTo>
                  <a:cubicBezTo>
                    <a:pt x="3534" y="49"/>
                    <a:pt x="3635" y="45"/>
                    <a:pt x="3653" y="44"/>
                  </a:cubicBezTo>
                  <a:cubicBezTo>
                    <a:pt x="3671" y="43"/>
                    <a:pt x="3718" y="30"/>
                    <a:pt x="3715" y="26"/>
                  </a:cubicBezTo>
                  <a:close/>
                  <a:moveTo>
                    <a:pt x="2687" y="644"/>
                  </a:moveTo>
                  <a:cubicBezTo>
                    <a:pt x="2722" y="650"/>
                    <a:pt x="2732" y="643"/>
                    <a:pt x="2747" y="633"/>
                  </a:cubicBezTo>
                  <a:cubicBezTo>
                    <a:pt x="2763" y="624"/>
                    <a:pt x="2759" y="608"/>
                    <a:pt x="2745" y="604"/>
                  </a:cubicBezTo>
                  <a:cubicBezTo>
                    <a:pt x="2731" y="601"/>
                    <a:pt x="2698" y="610"/>
                    <a:pt x="2698" y="610"/>
                  </a:cubicBezTo>
                  <a:cubicBezTo>
                    <a:pt x="2660" y="634"/>
                    <a:pt x="2652" y="639"/>
                    <a:pt x="2687" y="644"/>
                  </a:cubicBezTo>
                  <a:close/>
                  <a:moveTo>
                    <a:pt x="2674" y="560"/>
                  </a:moveTo>
                  <a:cubicBezTo>
                    <a:pt x="2658" y="565"/>
                    <a:pt x="2633" y="576"/>
                    <a:pt x="2657" y="571"/>
                  </a:cubicBezTo>
                  <a:cubicBezTo>
                    <a:pt x="2680" y="566"/>
                    <a:pt x="2700" y="558"/>
                    <a:pt x="2700" y="558"/>
                  </a:cubicBezTo>
                  <a:cubicBezTo>
                    <a:pt x="2724" y="540"/>
                    <a:pt x="2690" y="555"/>
                    <a:pt x="2674" y="560"/>
                  </a:cubicBezTo>
                  <a:close/>
                  <a:moveTo>
                    <a:pt x="2747" y="549"/>
                  </a:moveTo>
                  <a:cubicBezTo>
                    <a:pt x="2733" y="543"/>
                    <a:pt x="2722" y="562"/>
                    <a:pt x="2735" y="566"/>
                  </a:cubicBezTo>
                  <a:cubicBezTo>
                    <a:pt x="2735" y="566"/>
                    <a:pt x="2761" y="555"/>
                    <a:pt x="2747" y="549"/>
                  </a:cubicBezTo>
                  <a:close/>
                  <a:moveTo>
                    <a:pt x="2349" y="710"/>
                  </a:moveTo>
                  <a:cubicBezTo>
                    <a:pt x="2337" y="712"/>
                    <a:pt x="2327" y="729"/>
                    <a:pt x="2346" y="729"/>
                  </a:cubicBezTo>
                  <a:cubicBezTo>
                    <a:pt x="2357" y="729"/>
                    <a:pt x="2362" y="708"/>
                    <a:pt x="2349" y="710"/>
                  </a:cubicBezTo>
                  <a:close/>
                  <a:moveTo>
                    <a:pt x="2390" y="712"/>
                  </a:moveTo>
                  <a:cubicBezTo>
                    <a:pt x="2374" y="710"/>
                    <a:pt x="2385" y="727"/>
                    <a:pt x="2385" y="727"/>
                  </a:cubicBezTo>
                  <a:cubicBezTo>
                    <a:pt x="2396" y="726"/>
                    <a:pt x="2405" y="713"/>
                    <a:pt x="2390" y="712"/>
                  </a:cubicBezTo>
                  <a:close/>
                  <a:moveTo>
                    <a:pt x="2500" y="829"/>
                  </a:moveTo>
                  <a:cubicBezTo>
                    <a:pt x="2477" y="841"/>
                    <a:pt x="2509" y="849"/>
                    <a:pt x="2509" y="849"/>
                  </a:cubicBezTo>
                  <a:cubicBezTo>
                    <a:pt x="2532" y="836"/>
                    <a:pt x="2524" y="816"/>
                    <a:pt x="2500" y="829"/>
                  </a:cubicBezTo>
                  <a:close/>
                  <a:moveTo>
                    <a:pt x="2653" y="1691"/>
                  </a:moveTo>
                  <a:cubicBezTo>
                    <a:pt x="2633" y="1687"/>
                    <a:pt x="2622" y="1678"/>
                    <a:pt x="2622" y="1678"/>
                  </a:cubicBezTo>
                  <a:cubicBezTo>
                    <a:pt x="2612" y="1687"/>
                    <a:pt x="2612" y="1687"/>
                    <a:pt x="2612" y="1687"/>
                  </a:cubicBezTo>
                  <a:cubicBezTo>
                    <a:pt x="2612" y="1687"/>
                    <a:pt x="2629" y="1696"/>
                    <a:pt x="2633" y="1699"/>
                  </a:cubicBezTo>
                  <a:cubicBezTo>
                    <a:pt x="2637" y="1702"/>
                    <a:pt x="2656" y="1701"/>
                    <a:pt x="2656" y="1701"/>
                  </a:cubicBezTo>
                  <a:cubicBezTo>
                    <a:pt x="2656" y="1701"/>
                    <a:pt x="2666" y="1706"/>
                    <a:pt x="2676" y="1705"/>
                  </a:cubicBezTo>
                  <a:cubicBezTo>
                    <a:pt x="2687" y="1704"/>
                    <a:pt x="2691" y="1693"/>
                    <a:pt x="2691" y="1693"/>
                  </a:cubicBezTo>
                  <a:cubicBezTo>
                    <a:pt x="2691" y="1693"/>
                    <a:pt x="2674" y="1695"/>
                    <a:pt x="2653" y="1691"/>
                  </a:cubicBezTo>
                  <a:close/>
                  <a:moveTo>
                    <a:pt x="2731" y="1524"/>
                  </a:moveTo>
                  <a:cubicBezTo>
                    <a:pt x="2731" y="1524"/>
                    <a:pt x="2698" y="1516"/>
                    <a:pt x="2671" y="1515"/>
                  </a:cubicBezTo>
                  <a:cubicBezTo>
                    <a:pt x="2644" y="1514"/>
                    <a:pt x="2686" y="1526"/>
                    <a:pt x="2686" y="1526"/>
                  </a:cubicBezTo>
                  <a:cubicBezTo>
                    <a:pt x="2686" y="1536"/>
                    <a:pt x="2686" y="1536"/>
                    <a:pt x="2686" y="1536"/>
                  </a:cubicBezTo>
                  <a:cubicBezTo>
                    <a:pt x="2686" y="1536"/>
                    <a:pt x="2719" y="1541"/>
                    <a:pt x="2748" y="1546"/>
                  </a:cubicBezTo>
                  <a:cubicBezTo>
                    <a:pt x="2777" y="1551"/>
                    <a:pt x="2804" y="1540"/>
                    <a:pt x="2731" y="1524"/>
                  </a:cubicBezTo>
                  <a:close/>
                  <a:moveTo>
                    <a:pt x="2793" y="1702"/>
                  </a:moveTo>
                  <a:cubicBezTo>
                    <a:pt x="2780" y="1699"/>
                    <a:pt x="2766" y="1706"/>
                    <a:pt x="2761" y="1709"/>
                  </a:cubicBezTo>
                  <a:cubicBezTo>
                    <a:pt x="2765" y="1706"/>
                    <a:pt x="2774" y="1700"/>
                    <a:pt x="2783" y="1690"/>
                  </a:cubicBezTo>
                  <a:cubicBezTo>
                    <a:pt x="2795" y="1677"/>
                    <a:pt x="2764" y="1676"/>
                    <a:pt x="2750" y="1692"/>
                  </a:cubicBezTo>
                  <a:cubicBezTo>
                    <a:pt x="2744" y="1706"/>
                    <a:pt x="2744" y="1706"/>
                    <a:pt x="2744" y="1706"/>
                  </a:cubicBezTo>
                  <a:cubicBezTo>
                    <a:pt x="2736" y="1720"/>
                    <a:pt x="2736" y="1720"/>
                    <a:pt x="2736" y="1720"/>
                  </a:cubicBezTo>
                  <a:cubicBezTo>
                    <a:pt x="2773" y="1715"/>
                    <a:pt x="2773" y="1715"/>
                    <a:pt x="2773" y="1715"/>
                  </a:cubicBezTo>
                  <a:cubicBezTo>
                    <a:pt x="2773" y="1715"/>
                    <a:pt x="2810" y="1706"/>
                    <a:pt x="2793" y="1702"/>
                  </a:cubicBezTo>
                  <a:close/>
                  <a:moveTo>
                    <a:pt x="3058" y="1312"/>
                  </a:moveTo>
                  <a:cubicBezTo>
                    <a:pt x="3051" y="1320"/>
                    <a:pt x="3052" y="1335"/>
                    <a:pt x="3037" y="1324"/>
                  </a:cubicBezTo>
                  <a:cubicBezTo>
                    <a:pt x="3022" y="1313"/>
                    <a:pt x="3046" y="1306"/>
                    <a:pt x="3046" y="1306"/>
                  </a:cubicBezTo>
                  <a:cubicBezTo>
                    <a:pt x="3043" y="1289"/>
                    <a:pt x="3043" y="1289"/>
                    <a:pt x="3043" y="1289"/>
                  </a:cubicBezTo>
                  <a:cubicBezTo>
                    <a:pt x="3023" y="1288"/>
                    <a:pt x="3023" y="1288"/>
                    <a:pt x="3023" y="1288"/>
                  </a:cubicBezTo>
                  <a:cubicBezTo>
                    <a:pt x="3023" y="1288"/>
                    <a:pt x="2977" y="1308"/>
                    <a:pt x="2974" y="1312"/>
                  </a:cubicBezTo>
                  <a:cubicBezTo>
                    <a:pt x="2971" y="1316"/>
                    <a:pt x="2935" y="1320"/>
                    <a:pt x="2935" y="1320"/>
                  </a:cubicBezTo>
                  <a:cubicBezTo>
                    <a:pt x="2914" y="1334"/>
                    <a:pt x="2914" y="1334"/>
                    <a:pt x="2914" y="1334"/>
                  </a:cubicBezTo>
                  <a:cubicBezTo>
                    <a:pt x="2922" y="1319"/>
                    <a:pt x="2922" y="1319"/>
                    <a:pt x="2922" y="1319"/>
                  </a:cubicBezTo>
                  <a:cubicBezTo>
                    <a:pt x="2907" y="1308"/>
                    <a:pt x="2907" y="1308"/>
                    <a:pt x="2907" y="1308"/>
                  </a:cubicBezTo>
                  <a:cubicBezTo>
                    <a:pt x="2930" y="1313"/>
                    <a:pt x="2930" y="1313"/>
                    <a:pt x="2930" y="1313"/>
                  </a:cubicBezTo>
                  <a:cubicBezTo>
                    <a:pt x="2940" y="1305"/>
                    <a:pt x="2940" y="1305"/>
                    <a:pt x="2940" y="1305"/>
                  </a:cubicBezTo>
                  <a:cubicBezTo>
                    <a:pt x="2958" y="1304"/>
                    <a:pt x="2958" y="1304"/>
                    <a:pt x="2958" y="1304"/>
                  </a:cubicBezTo>
                  <a:cubicBezTo>
                    <a:pt x="2960" y="1291"/>
                    <a:pt x="2960" y="1291"/>
                    <a:pt x="2960" y="1291"/>
                  </a:cubicBezTo>
                  <a:cubicBezTo>
                    <a:pt x="2960" y="1291"/>
                    <a:pt x="2981" y="1294"/>
                    <a:pt x="2993" y="1289"/>
                  </a:cubicBezTo>
                  <a:cubicBezTo>
                    <a:pt x="3005" y="1284"/>
                    <a:pt x="3022" y="1275"/>
                    <a:pt x="3022" y="1275"/>
                  </a:cubicBezTo>
                  <a:cubicBezTo>
                    <a:pt x="3022" y="1275"/>
                    <a:pt x="3070" y="1280"/>
                    <a:pt x="3069" y="1275"/>
                  </a:cubicBezTo>
                  <a:cubicBezTo>
                    <a:pt x="3068" y="1270"/>
                    <a:pt x="3050" y="1262"/>
                    <a:pt x="3050" y="1262"/>
                  </a:cubicBezTo>
                  <a:cubicBezTo>
                    <a:pt x="3049" y="1246"/>
                    <a:pt x="3049" y="1246"/>
                    <a:pt x="3049" y="1246"/>
                  </a:cubicBezTo>
                  <a:cubicBezTo>
                    <a:pt x="3049" y="1246"/>
                    <a:pt x="3021" y="1255"/>
                    <a:pt x="3015" y="1254"/>
                  </a:cubicBezTo>
                  <a:cubicBezTo>
                    <a:pt x="3009" y="1253"/>
                    <a:pt x="3007" y="1241"/>
                    <a:pt x="3007" y="1241"/>
                  </a:cubicBezTo>
                  <a:cubicBezTo>
                    <a:pt x="2967" y="1253"/>
                    <a:pt x="2967" y="1253"/>
                    <a:pt x="2967" y="1253"/>
                  </a:cubicBezTo>
                  <a:cubicBezTo>
                    <a:pt x="2969" y="1233"/>
                    <a:pt x="2969" y="1233"/>
                    <a:pt x="2969" y="1233"/>
                  </a:cubicBezTo>
                  <a:cubicBezTo>
                    <a:pt x="2940" y="1243"/>
                    <a:pt x="2940" y="1243"/>
                    <a:pt x="2940" y="1243"/>
                  </a:cubicBezTo>
                  <a:cubicBezTo>
                    <a:pt x="2940" y="1243"/>
                    <a:pt x="2971" y="1208"/>
                    <a:pt x="2963" y="1204"/>
                  </a:cubicBezTo>
                  <a:cubicBezTo>
                    <a:pt x="2955" y="1200"/>
                    <a:pt x="2930" y="1200"/>
                    <a:pt x="2930" y="1200"/>
                  </a:cubicBezTo>
                  <a:cubicBezTo>
                    <a:pt x="2933" y="1184"/>
                    <a:pt x="2933" y="1184"/>
                    <a:pt x="2933" y="1184"/>
                  </a:cubicBezTo>
                  <a:cubicBezTo>
                    <a:pt x="2911" y="1184"/>
                    <a:pt x="2911" y="1184"/>
                    <a:pt x="2911" y="1184"/>
                  </a:cubicBezTo>
                  <a:cubicBezTo>
                    <a:pt x="2920" y="1170"/>
                    <a:pt x="2920" y="1170"/>
                    <a:pt x="2920" y="1170"/>
                  </a:cubicBezTo>
                  <a:cubicBezTo>
                    <a:pt x="2902" y="1154"/>
                    <a:pt x="2902" y="1154"/>
                    <a:pt x="2902" y="1154"/>
                  </a:cubicBezTo>
                  <a:cubicBezTo>
                    <a:pt x="2902" y="1154"/>
                    <a:pt x="2932" y="1161"/>
                    <a:pt x="2940" y="1155"/>
                  </a:cubicBezTo>
                  <a:cubicBezTo>
                    <a:pt x="2948" y="1149"/>
                    <a:pt x="2959" y="1144"/>
                    <a:pt x="2959" y="1144"/>
                  </a:cubicBezTo>
                  <a:cubicBezTo>
                    <a:pt x="2929" y="1126"/>
                    <a:pt x="2929" y="1126"/>
                    <a:pt x="2929" y="1126"/>
                  </a:cubicBezTo>
                  <a:cubicBezTo>
                    <a:pt x="2962" y="1107"/>
                    <a:pt x="2962" y="1107"/>
                    <a:pt x="2962" y="1107"/>
                  </a:cubicBezTo>
                  <a:cubicBezTo>
                    <a:pt x="2929" y="1092"/>
                    <a:pt x="2929" y="1092"/>
                    <a:pt x="2929" y="1092"/>
                  </a:cubicBezTo>
                  <a:cubicBezTo>
                    <a:pt x="2899" y="1093"/>
                    <a:pt x="2899" y="1093"/>
                    <a:pt x="2899" y="1093"/>
                  </a:cubicBezTo>
                  <a:cubicBezTo>
                    <a:pt x="2935" y="1080"/>
                    <a:pt x="2935" y="1080"/>
                    <a:pt x="2935" y="1080"/>
                  </a:cubicBezTo>
                  <a:cubicBezTo>
                    <a:pt x="2910" y="1074"/>
                    <a:pt x="2910" y="1074"/>
                    <a:pt x="2910" y="1074"/>
                  </a:cubicBezTo>
                  <a:cubicBezTo>
                    <a:pt x="2940" y="1060"/>
                    <a:pt x="2940" y="1060"/>
                    <a:pt x="2940" y="1060"/>
                  </a:cubicBezTo>
                  <a:cubicBezTo>
                    <a:pt x="2935" y="1044"/>
                    <a:pt x="2935" y="1044"/>
                    <a:pt x="2935" y="1044"/>
                  </a:cubicBezTo>
                  <a:cubicBezTo>
                    <a:pt x="2913" y="1042"/>
                    <a:pt x="2913" y="1042"/>
                    <a:pt x="2913" y="1042"/>
                  </a:cubicBezTo>
                  <a:cubicBezTo>
                    <a:pt x="2913" y="1042"/>
                    <a:pt x="2931" y="1032"/>
                    <a:pt x="2923" y="1013"/>
                  </a:cubicBezTo>
                  <a:cubicBezTo>
                    <a:pt x="2915" y="994"/>
                    <a:pt x="2907" y="997"/>
                    <a:pt x="2907" y="997"/>
                  </a:cubicBezTo>
                  <a:cubicBezTo>
                    <a:pt x="2916" y="983"/>
                    <a:pt x="2916" y="983"/>
                    <a:pt x="2916" y="983"/>
                  </a:cubicBezTo>
                  <a:cubicBezTo>
                    <a:pt x="2916" y="983"/>
                    <a:pt x="2892" y="994"/>
                    <a:pt x="2887" y="1001"/>
                  </a:cubicBezTo>
                  <a:cubicBezTo>
                    <a:pt x="2882" y="1008"/>
                    <a:pt x="2886" y="1014"/>
                    <a:pt x="2886" y="1014"/>
                  </a:cubicBezTo>
                  <a:cubicBezTo>
                    <a:pt x="2867" y="1008"/>
                    <a:pt x="2867" y="1008"/>
                    <a:pt x="2867" y="1008"/>
                  </a:cubicBezTo>
                  <a:cubicBezTo>
                    <a:pt x="2871" y="1030"/>
                    <a:pt x="2871" y="1030"/>
                    <a:pt x="2871" y="1030"/>
                  </a:cubicBezTo>
                  <a:cubicBezTo>
                    <a:pt x="2853" y="1029"/>
                    <a:pt x="2853" y="1029"/>
                    <a:pt x="2853" y="1029"/>
                  </a:cubicBezTo>
                  <a:cubicBezTo>
                    <a:pt x="2845" y="1043"/>
                    <a:pt x="2845" y="1043"/>
                    <a:pt x="2845" y="1043"/>
                  </a:cubicBezTo>
                  <a:cubicBezTo>
                    <a:pt x="2850" y="1049"/>
                    <a:pt x="2850" y="1049"/>
                    <a:pt x="2850" y="1049"/>
                  </a:cubicBezTo>
                  <a:cubicBezTo>
                    <a:pt x="2834" y="1050"/>
                    <a:pt x="2834" y="1050"/>
                    <a:pt x="2834" y="1050"/>
                  </a:cubicBezTo>
                  <a:cubicBezTo>
                    <a:pt x="2819" y="1080"/>
                    <a:pt x="2819" y="1080"/>
                    <a:pt x="2819" y="1080"/>
                  </a:cubicBezTo>
                  <a:cubicBezTo>
                    <a:pt x="2811" y="1080"/>
                    <a:pt x="2811" y="1080"/>
                    <a:pt x="2811" y="1080"/>
                  </a:cubicBezTo>
                  <a:cubicBezTo>
                    <a:pt x="2821" y="1055"/>
                    <a:pt x="2821" y="1055"/>
                    <a:pt x="2821" y="1055"/>
                  </a:cubicBezTo>
                  <a:cubicBezTo>
                    <a:pt x="2821" y="1055"/>
                    <a:pt x="2811" y="1040"/>
                    <a:pt x="2802" y="1049"/>
                  </a:cubicBezTo>
                  <a:cubicBezTo>
                    <a:pt x="2793" y="1058"/>
                    <a:pt x="2781" y="1071"/>
                    <a:pt x="2774" y="1072"/>
                  </a:cubicBezTo>
                  <a:cubicBezTo>
                    <a:pt x="2767" y="1073"/>
                    <a:pt x="2739" y="1094"/>
                    <a:pt x="2739" y="1094"/>
                  </a:cubicBezTo>
                  <a:cubicBezTo>
                    <a:pt x="2744" y="1079"/>
                    <a:pt x="2744" y="1079"/>
                    <a:pt x="2744" y="1079"/>
                  </a:cubicBezTo>
                  <a:cubicBezTo>
                    <a:pt x="2743" y="1068"/>
                    <a:pt x="2743" y="1068"/>
                    <a:pt x="2743" y="1068"/>
                  </a:cubicBezTo>
                  <a:cubicBezTo>
                    <a:pt x="2718" y="1089"/>
                    <a:pt x="2718" y="1089"/>
                    <a:pt x="2718" y="1089"/>
                  </a:cubicBezTo>
                  <a:cubicBezTo>
                    <a:pt x="2674" y="1099"/>
                    <a:pt x="2674" y="1099"/>
                    <a:pt x="2674" y="1099"/>
                  </a:cubicBezTo>
                  <a:cubicBezTo>
                    <a:pt x="2715" y="1085"/>
                    <a:pt x="2715" y="1085"/>
                    <a:pt x="2715" y="1085"/>
                  </a:cubicBezTo>
                  <a:cubicBezTo>
                    <a:pt x="2715" y="1085"/>
                    <a:pt x="2739" y="1058"/>
                    <a:pt x="2726" y="1052"/>
                  </a:cubicBezTo>
                  <a:cubicBezTo>
                    <a:pt x="2713" y="1046"/>
                    <a:pt x="2698" y="1052"/>
                    <a:pt x="2698" y="1052"/>
                  </a:cubicBezTo>
                  <a:cubicBezTo>
                    <a:pt x="2698" y="1052"/>
                    <a:pt x="2665" y="1067"/>
                    <a:pt x="2667" y="1056"/>
                  </a:cubicBezTo>
                  <a:cubicBezTo>
                    <a:pt x="2669" y="1045"/>
                    <a:pt x="2686" y="1042"/>
                    <a:pt x="2686" y="1042"/>
                  </a:cubicBezTo>
                  <a:cubicBezTo>
                    <a:pt x="2685" y="1049"/>
                    <a:pt x="2685" y="1049"/>
                    <a:pt x="2685" y="1049"/>
                  </a:cubicBezTo>
                  <a:cubicBezTo>
                    <a:pt x="2699" y="1044"/>
                    <a:pt x="2699" y="1044"/>
                    <a:pt x="2699" y="1044"/>
                  </a:cubicBezTo>
                  <a:cubicBezTo>
                    <a:pt x="2696" y="1025"/>
                    <a:pt x="2696" y="1025"/>
                    <a:pt x="2696" y="1025"/>
                  </a:cubicBezTo>
                  <a:cubicBezTo>
                    <a:pt x="2696" y="1025"/>
                    <a:pt x="2721" y="1011"/>
                    <a:pt x="2712" y="1004"/>
                  </a:cubicBezTo>
                  <a:cubicBezTo>
                    <a:pt x="2703" y="997"/>
                    <a:pt x="2676" y="993"/>
                    <a:pt x="2676" y="993"/>
                  </a:cubicBezTo>
                  <a:cubicBezTo>
                    <a:pt x="2676" y="993"/>
                    <a:pt x="2721" y="995"/>
                    <a:pt x="2724" y="983"/>
                  </a:cubicBezTo>
                  <a:cubicBezTo>
                    <a:pt x="2727" y="971"/>
                    <a:pt x="2730" y="968"/>
                    <a:pt x="2736" y="964"/>
                  </a:cubicBezTo>
                  <a:cubicBezTo>
                    <a:pt x="2742" y="960"/>
                    <a:pt x="2762" y="959"/>
                    <a:pt x="2752" y="950"/>
                  </a:cubicBezTo>
                  <a:cubicBezTo>
                    <a:pt x="2742" y="941"/>
                    <a:pt x="2732" y="957"/>
                    <a:pt x="2732" y="957"/>
                  </a:cubicBezTo>
                  <a:cubicBezTo>
                    <a:pt x="2726" y="940"/>
                    <a:pt x="2726" y="940"/>
                    <a:pt x="2726" y="940"/>
                  </a:cubicBezTo>
                  <a:cubicBezTo>
                    <a:pt x="2726" y="940"/>
                    <a:pt x="2695" y="941"/>
                    <a:pt x="2686" y="941"/>
                  </a:cubicBezTo>
                  <a:cubicBezTo>
                    <a:pt x="2677" y="941"/>
                    <a:pt x="2675" y="926"/>
                    <a:pt x="2683" y="923"/>
                  </a:cubicBezTo>
                  <a:cubicBezTo>
                    <a:pt x="2691" y="920"/>
                    <a:pt x="2692" y="913"/>
                    <a:pt x="2685" y="911"/>
                  </a:cubicBezTo>
                  <a:cubicBezTo>
                    <a:pt x="2678" y="909"/>
                    <a:pt x="2672" y="916"/>
                    <a:pt x="2672" y="916"/>
                  </a:cubicBezTo>
                  <a:cubicBezTo>
                    <a:pt x="2677" y="900"/>
                    <a:pt x="2677" y="900"/>
                    <a:pt x="2677" y="900"/>
                  </a:cubicBezTo>
                  <a:cubicBezTo>
                    <a:pt x="2653" y="904"/>
                    <a:pt x="2653" y="904"/>
                    <a:pt x="2653" y="904"/>
                  </a:cubicBezTo>
                  <a:cubicBezTo>
                    <a:pt x="2653" y="904"/>
                    <a:pt x="2657" y="875"/>
                    <a:pt x="2640" y="875"/>
                  </a:cubicBezTo>
                  <a:cubicBezTo>
                    <a:pt x="2623" y="875"/>
                    <a:pt x="2595" y="892"/>
                    <a:pt x="2595" y="892"/>
                  </a:cubicBezTo>
                  <a:cubicBezTo>
                    <a:pt x="2595" y="892"/>
                    <a:pt x="2587" y="881"/>
                    <a:pt x="2579" y="881"/>
                  </a:cubicBezTo>
                  <a:cubicBezTo>
                    <a:pt x="2571" y="881"/>
                    <a:pt x="2554" y="890"/>
                    <a:pt x="2554" y="890"/>
                  </a:cubicBezTo>
                  <a:cubicBezTo>
                    <a:pt x="2554" y="890"/>
                    <a:pt x="2508" y="868"/>
                    <a:pt x="2492" y="871"/>
                  </a:cubicBezTo>
                  <a:cubicBezTo>
                    <a:pt x="2476" y="874"/>
                    <a:pt x="2470" y="886"/>
                    <a:pt x="2470" y="886"/>
                  </a:cubicBezTo>
                  <a:cubicBezTo>
                    <a:pt x="2470" y="886"/>
                    <a:pt x="2449" y="896"/>
                    <a:pt x="2456" y="904"/>
                  </a:cubicBezTo>
                  <a:cubicBezTo>
                    <a:pt x="2463" y="912"/>
                    <a:pt x="2476" y="913"/>
                    <a:pt x="2470" y="921"/>
                  </a:cubicBezTo>
                  <a:cubicBezTo>
                    <a:pt x="2464" y="929"/>
                    <a:pt x="2439" y="945"/>
                    <a:pt x="2439" y="945"/>
                  </a:cubicBezTo>
                  <a:cubicBezTo>
                    <a:pt x="2421" y="952"/>
                    <a:pt x="2421" y="952"/>
                    <a:pt x="2421" y="952"/>
                  </a:cubicBezTo>
                  <a:cubicBezTo>
                    <a:pt x="2438" y="961"/>
                    <a:pt x="2438" y="961"/>
                    <a:pt x="2438" y="961"/>
                  </a:cubicBezTo>
                  <a:cubicBezTo>
                    <a:pt x="2438" y="961"/>
                    <a:pt x="2423" y="968"/>
                    <a:pt x="2422" y="977"/>
                  </a:cubicBezTo>
                  <a:cubicBezTo>
                    <a:pt x="2421" y="986"/>
                    <a:pt x="2429" y="993"/>
                    <a:pt x="2421" y="1003"/>
                  </a:cubicBezTo>
                  <a:cubicBezTo>
                    <a:pt x="2413" y="1013"/>
                    <a:pt x="2406" y="1005"/>
                    <a:pt x="2393" y="1013"/>
                  </a:cubicBezTo>
                  <a:cubicBezTo>
                    <a:pt x="2380" y="1021"/>
                    <a:pt x="2382" y="1034"/>
                    <a:pt x="2382" y="1034"/>
                  </a:cubicBezTo>
                  <a:cubicBezTo>
                    <a:pt x="2382" y="1034"/>
                    <a:pt x="2366" y="1037"/>
                    <a:pt x="2360" y="1043"/>
                  </a:cubicBezTo>
                  <a:cubicBezTo>
                    <a:pt x="2354" y="1049"/>
                    <a:pt x="2334" y="1054"/>
                    <a:pt x="2336" y="1062"/>
                  </a:cubicBezTo>
                  <a:cubicBezTo>
                    <a:pt x="2338" y="1070"/>
                    <a:pt x="2375" y="1084"/>
                    <a:pt x="2375" y="1093"/>
                  </a:cubicBezTo>
                  <a:cubicBezTo>
                    <a:pt x="2375" y="1102"/>
                    <a:pt x="2374" y="1167"/>
                    <a:pt x="2339" y="1187"/>
                  </a:cubicBezTo>
                  <a:cubicBezTo>
                    <a:pt x="2304" y="1207"/>
                    <a:pt x="2259" y="1242"/>
                    <a:pt x="2241" y="1243"/>
                  </a:cubicBezTo>
                  <a:cubicBezTo>
                    <a:pt x="2223" y="1244"/>
                    <a:pt x="2174" y="1247"/>
                    <a:pt x="2171" y="1256"/>
                  </a:cubicBezTo>
                  <a:cubicBezTo>
                    <a:pt x="2168" y="1265"/>
                    <a:pt x="2180" y="1293"/>
                    <a:pt x="2180" y="1298"/>
                  </a:cubicBezTo>
                  <a:cubicBezTo>
                    <a:pt x="2180" y="1303"/>
                    <a:pt x="2159" y="1324"/>
                    <a:pt x="2155" y="1339"/>
                  </a:cubicBezTo>
                  <a:cubicBezTo>
                    <a:pt x="2151" y="1354"/>
                    <a:pt x="2154" y="1387"/>
                    <a:pt x="2154" y="1387"/>
                  </a:cubicBezTo>
                  <a:cubicBezTo>
                    <a:pt x="2154" y="1387"/>
                    <a:pt x="2120" y="1404"/>
                    <a:pt x="2119" y="1409"/>
                  </a:cubicBezTo>
                  <a:cubicBezTo>
                    <a:pt x="2118" y="1414"/>
                    <a:pt x="2117" y="1431"/>
                    <a:pt x="2117" y="1431"/>
                  </a:cubicBezTo>
                  <a:cubicBezTo>
                    <a:pt x="2104" y="1447"/>
                    <a:pt x="2104" y="1447"/>
                    <a:pt x="2104" y="1447"/>
                  </a:cubicBezTo>
                  <a:cubicBezTo>
                    <a:pt x="2104" y="1447"/>
                    <a:pt x="2111" y="1423"/>
                    <a:pt x="2100" y="1422"/>
                  </a:cubicBezTo>
                  <a:cubicBezTo>
                    <a:pt x="2089" y="1421"/>
                    <a:pt x="2067" y="1435"/>
                    <a:pt x="2072" y="1446"/>
                  </a:cubicBezTo>
                  <a:cubicBezTo>
                    <a:pt x="2077" y="1457"/>
                    <a:pt x="2071" y="1466"/>
                    <a:pt x="2071" y="1466"/>
                  </a:cubicBezTo>
                  <a:cubicBezTo>
                    <a:pt x="2071" y="1466"/>
                    <a:pt x="2069" y="1446"/>
                    <a:pt x="2063" y="1441"/>
                  </a:cubicBezTo>
                  <a:cubicBezTo>
                    <a:pt x="2057" y="1436"/>
                    <a:pt x="2019" y="1447"/>
                    <a:pt x="2019" y="1447"/>
                  </a:cubicBezTo>
                  <a:cubicBezTo>
                    <a:pt x="2019" y="1447"/>
                    <a:pt x="2055" y="1426"/>
                    <a:pt x="2051" y="1413"/>
                  </a:cubicBezTo>
                  <a:cubicBezTo>
                    <a:pt x="2047" y="1400"/>
                    <a:pt x="2011" y="1389"/>
                    <a:pt x="2011" y="1389"/>
                  </a:cubicBezTo>
                  <a:cubicBezTo>
                    <a:pt x="2011" y="1389"/>
                    <a:pt x="2028" y="1386"/>
                    <a:pt x="2028" y="1379"/>
                  </a:cubicBezTo>
                  <a:cubicBezTo>
                    <a:pt x="2028" y="1372"/>
                    <a:pt x="2016" y="1346"/>
                    <a:pt x="2016" y="1346"/>
                  </a:cubicBezTo>
                  <a:cubicBezTo>
                    <a:pt x="2038" y="1331"/>
                    <a:pt x="2038" y="1331"/>
                    <a:pt x="2038" y="1331"/>
                  </a:cubicBezTo>
                  <a:cubicBezTo>
                    <a:pt x="2037" y="1316"/>
                    <a:pt x="2037" y="1316"/>
                    <a:pt x="2037" y="1316"/>
                  </a:cubicBezTo>
                  <a:cubicBezTo>
                    <a:pt x="2054" y="1305"/>
                    <a:pt x="2054" y="1305"/>
                    <a:pt x="2054" y="1305"/>
                  </a:cubicBezTo>
                  <a:cubicBezTo>
                    <a:pt x="2053" y="1280"/>
                    <a:pt x="2053" y="1280"/>
                    <a:pt x="2053" y="1280"/>
                  </a:cubicBezTo>
                  <a:cubicBezTo>
                    <a:pt x="2053" y="1280"/>
                    <a:pt x="2102" y="1253"/>
                    <a:pt x="2078" y="1241"/>
                  </a:cubicBezTo>
                  <a:cubicBezTo>
                    <a:pt x="2054" y="1229"/>
                    <a:pt x="1982" y="1233"/>
                    <a:pt x="1982" y="1233"/>
                  </a:cubicBezTo>
                  <a:cubicBezTo>
                    <a:pt x="1958" y="1241"/>
                    <a:pt x="1958" y="1241"/>
                    <a:pt x="1958" y="1241"/>
                  </a:cubicBezTo>
                  <a:cubicBezTo>
                    <a:pt x="1958" y="1241"/>
                    <a:pt x="1976" y="1220"/>
                    <a:pt x="1966" y="1215"/>
                  </a:cubicBezTo>
                  <a:cubicBezTo>
                    <a:pt x="1956" y="1210"/>
                    <a:pt x="1908" y="1200"/>
                    <a:pt x="1908" y="1200"/>
                  </a:cubicBezTo>
                  <a:cubicBezTo>
                    <a:pt x="1908" y="1200"/>
                    <a:pt x="1913" y="1178"/>
                    <a:pt x="1894" y="1164"/>
                  </a:cubicBezTo>
                  <a:cubicBezTo>
                    <a:pt x="1875" y="1150"/>
                    <a:pt x="1850" y="1149"/>
                    <a:pt x="1850" y="1149"/>
                  </a:cubicBezTo>
                  <a:cubicBezTo>
                    <a:pt x="1850" y="1149"/>
                    <a:pt x="1851" y="1137"/>
                    <a:pt x="1823" y="1136"/>
                  </a:cubicBezTo>
                  <a:cubicBezTo>
                    <a:pt x="1795" y="1135"/>
                    <a:pt x="1726" y="1147"/>
                    <a:pt x="1726" y="1147"/>
                  </a:cubicBezTo>
                  <a:cubicBezTo>
                    <a:pt x="1726" y="1147"/>
                    <a:pt x="1759" y="1137"/>
                    <a:pt x="1760" y="1125"/>
                  </a:cubicBezTo>
                  <a:cubicBezTo>
                    <a:pt x="1761" y="1113"/>
                    <a:pt x="1779" y="1061"/>
                    <a:pt x="1779" y="1061"/>
                  </a:cubicBezTo>
                  <a:cubicBezTo>
                    <a:pt x="1779" y="1061"/>
                    <a:pt x="1749" y="1055"/>
                    <a:pt x="1746" y="1057"/>
                  </a:cubicBezTo>
                  <a:cubicBezTo>
                    <a:pt x="1743" y="1059"/>
                    <a:pt x="1720" y="1075"/>
                    <a:pt x="1720" y="1075"/>
                  </a:cubicBezTo>
                  <a:cubicBezTo>
                    <a:pt x="1730" y="1056"/>
                    <a:pt x="1730" y="1056"/>
                    <a:pt x="1730" y="1056"/>
                  </a:cubicBezTo>
                  <a:cubicBezTo>
                    <a:pt x="1726" y="1041"/>
                    <a:pt x="1726" y="1041"/>
                    <a:pt x="1726" y="1041"/>
                  </a:cubicBezTo>
                  <a:cubicBezTo>
                    <a:pt x="1726" y="1041"/>
                    <a:pt x="1752" y="1019"/>
                    <a:pt x="1764" y="998"/>
                  </a:cubicBezTo>
                  <a:cubicBezTo>
                    <a:pt x="1776" y="977"/>
                    <a:pt x="1844" y="940"/>
                    <a:pt x="1844" y="940"/>
                  </a:cubicBezTo>
                  <a:cubicBezTo>
                    <a:pt x="1838" y="929"/>
                    <a:pt x="1838" y="929"/>
                    <a:pt x="1838" y="929"/>
                  </a:cubicBezTo>
                  <a:cubicBezTo>
                    <a:pt x="1881" y="915"/>
                    <a:pt x="1881" y="915"/>
                    <a:pt x="1881" y="915"/>
                  </a:cubicBezTo>
                  <a:cubicBezTo>
                    <a:pt x="1882" y="904"/>
                    <a:pt x="1882" y="904"/>
                    <a:pt x="1882" y="904"/>
                  </a:cubicBezTo>
                  <a:cubicBezTo>
                    <a:pt x="1909" y="900"/>
                    <a:pt x="1909" y="900"/>
                    <a:pt x="1909" y="900"/>
                  </a:cubicBezTo>
                  <a:cubicBezTo>
                    <a:pt x="1911" y="887"/>
                    <a:pt x="1911" y="887"/>
                    <a:pt x="1911" y="887"/>
                  </a:cubicBezTo>
                  <a:cubicBezTo>
                    <a:pt x="1932" y="884"/>
                    <a:pt x="1932" y="884"/>
                    <a:pt x="1932" y="884"/>
                  </a:cubicBezTo>
                  <a:cubicBezTo>
                    <a:pt x="1966" y="857"/>
                    <a:pt x="1966" y="857"/>
                    <a:pt x="1966" y="857"/>
                  </a:cubicBezTo>
                  <a:cubicBezTo>
                    <a:pt x="1966" y="857"/>
                    <a:pt x="2040" y="860"/>
                    <a:pt x="2040" y="847"/>
                  </a:cubicBezTo>
                  <a:cubicBezTo>
                    <a:pt x="2040" y="834"/>
                    <a:pt x="2020" y="819"/>
                    <a:pt x="2020" y="819"/>
                  </a:cubicBezTo>
                  <a:cubicBezTo>
                    <a:pt x="1980" y="824"/>
                    <a:pt x="1980" y="824"/>
                    <a:pt x="1980" y="824"/>
                  </a:cubicBezTo>
                  <a:cubicBezTo>
                    <a:pt x="1986" y="814"/>
                    <a:pt x="1986" y="814"/>
                    <a:pt x="1986" y="814"/>
                  </a:cubicBezTo>
                  <a:cubicBezTo>
                    <a:pt x="1950" y="800"/>
                    <a:pt x="1950" y="800"/>
                    <a:pt x="1950" y="800"/>
                  </a:cubicBezTo>
                  <a:cubicBezTo>
                    <a:pt x="1966" y="795"/>
                    <a:pt x="1966" y="795"/>
                    <a:pt x="1966" y="795"/>
                  </a:cubicBezTo>
                  <a:cubicBezTo>
                    <a:pt x="2021" y="811"/>
                    <a:pt x="2021" y="811"/>
                    <a:pt x="2021" y="811"/>
                  </a:cubicBezTo>
                  <a:cubicBezTo>
                    <a:pt x="2021" y="811"/>
                    <a:pt x="2042" y="833"/>
                    <a:pt x="2061" y="825"/>
                  </a:cubicBezTo>
                  <a:cubicBezTo>
                    <a:pt x="2080" y="817"/>
                    <a:pt x="2096" y="784"/>
                    <a:pt x="2103" y="789"/>
                  </a:cubicBezTo>
                  <a:cubicBezTo>
                    <a:pt x="2110" y="794"/>
                    <a:pt x="2131" y="804"/>
                    <a:pt x="2140" y="802"/>
                  </a:cubicBezTo>
                  <a:cubicBezTo>
                    <a:pt x="2140" y="802"/>
                    <a:pt x="2185" y="783"/>
                    <a:pt x="2203" y="776"/>
                  </a:cubicBezTo>
                  <a:cubicBezTo>
                    <a:pt x="2221" y="769"/>
                    <a:pt x="2255" y="750"/>
                    <a:pt x="2243" y="747"/>
                  </a:cubicBezTo>
                  <a:cubicBezTo>
                    <a:pt x="2231" y="744"/>
                    <a:pt x="2175" y="744"/>
                    <a:pt x="2175" y="744"/>
                  </a:cubicBezTo>
                  <a:cubicBezTo>
                    <a:pt x="2171" y="728"/>
                    <a:pt x="2171" y="728"/>
                    <a:pt x="2171" y="728"/>
                  </a:cubicBezTo>
                  <a:cubicBezTo>
                    <a:pt x="2115" y="708"/>
                    <a:pt x="2115" y="708"/>
                    <a:pt x="2115" y="708"/>
                  </a:cubicBezTo>
                  <a:cubicBezTo>
                    <a:pt x="2115" y="708"/>
                    <a:pt x="2171" y="700"/>
                    <a:pt x="2186" y="706"/>
                  </a:cubicBezTo>
                  <a:cubicBezTo>
                    <a:pt x="2201" y="712"/>
                    <a:pt x="2215" y="738"/>
                    <a:pt x="2230" y="738"/>
                  </a:cubicBezTo>
                  <a:cubicBezTo>
                    <a:pt x="2245" y="738"/>
                    <a:pt x="2324" y="700"/>
                    <a:pt x="2324" y="700"/>
                  </a:cubicBezTo>
                  <a:cubicBezTo>
                    <a:pt x="2305" y="692"/>
                    <a:pt x="2305" y="692"/>
                    <a:pt x="2305" y="692"/>
                  </a:cubicBezTo>
                  <a:cubicBezTo>
                    <a:pt x="2305" y="692"/>
                    <a:pt x="2319" y="680"/>
                    <a:pt x="2337" y="680"/>
                  </a:cubicBezTo>
                  <a:cubicBezTo>
                    <a:pt x="2355" y="680"/>
                    <a:pt x="2360" y="694"/>
                    <a:pt x="2360" y="694"/>
                  </a:cubicBezTo>
                  <a:cubicBezTo>
                    <a:pt x="2380" y="701"/>
                    <a:pt x="2380" y="701"/>
                    <a:pt x="2380" y="701"/>
                  </a:cubicBezTo>
                  <a:cubicBezTo>
                    <a:pt x="2381" y="688"/>
                    <a:pt x="2381" y="688"/>
                    <a:pt x="2381" y="688"/>
                  </a:cubicBezTo>
                  <a:cubicBezTo>
                    <a:pt x="2381" y="688"/>
                    <a:pt x="2395" y="705"/>
                    <a:pt x="2400" y="696"/>
                  </a:cubicBezTo>
                  <a:cubicBezTo>
                    <a:pt x="2405" y="687"/>
                    <a:pt x="2388" y="669"/>
                    <a:pt x="2388" y="669"/>
                  </a:cubicBezTo>
                  <a:cubicBezTo>
                    <a:pt x="2374" y="663"/>
                    <a:pt x="2374" y="663"/>
                    <a:pt x="2374" y="663"/>
                  </a:cubicBezTo>
                  <a:cubicBezTo>
                    <a:pt x="2401" y="658"/>
                    <a:pt x="2401" y="658"/>
                    <a:pt x="2401" y="658"/>
                  </a:cubicBezTo>
                  <a:cubicBezTo>
                    <a:pt x="2401" y="658"/>
                    <a:pt x="2415" y="697"/>
                    <a:pt x="2424" y="695"/>
                  </a:cubicBezTo>
                  <a:cubicBezTo>
                    <a:pt x="2433" y="693"/>
                    <a:pt x="2546" y="660"/>
                    <a:pt x="2532" y="641"/>
                  </a:cubicBezTo>
                  <a:cubicBezTo>
                    <a:pt x="2518" y="622"/>
                    <a:pt x="2507" y="607"/>
                    <a:pt x="2518" y="600"/>
                  </a:cubicBezTo>
                  <a:cubicBezTo>
                    <a:pt x="2529" y="593"/>
                    <a:pt x="2579" y="591"/>
                    <a:pt x="2580" y="585"/>
                  </a:cubicBezTo>
                  <a:cubicBezTo>
                    <a:pt x="2581" y="579"/>
                    <a:pt x="2570" y="553"/>
                    <a:pt x="2570" y="553"/>
                  </a:cubicBezTo>
                  <a:cubicBezTo>
                    <a:pt x="2558" y="538"/>
                    <a:pt x="2558" y="538"/>
                    <a:pt x="2558" y="538"/>
                  </a:cubicBezTo>
                  <a:cubicBezTo>
                    <a:pt x="2558" y="538"/>
                    <a:pt x="2496" y="520"/>
                    <a:pt x="2470" y="538"/>
                  </a:cubicBezTo>
                  <a:cubicBezTo>
                    <a:pt x="2444" y="556"/>
                    <a:pt x="2466" y="568"/>
                    <a:pt x="2466" y="568"/>
                  </a:cubicBezTo>
                  <a:cubicBezTo>
                    <a:pt x="2442" y="583"/>
                    <a:pt x="2442" y="583"/>
                    <a:pt x="2442" y="583"/>
                  </a:cubicBezTo>
                  <a:cubicBezTo>
                    <a:pt x="2428" y="583"/>
                    <a:pt x="2428" y="583"/>
                    <a:pt x="2428" y="583"/>
                  </a:cubicBezTo>
                  <a:cubicBezTo>
                    <a:pt x="2383" y="614"/>
                    <a:pt x="2383" y="614"/>
                    <a:pt x="2383" y="614"/>
                  </a:cubicBezTo>
                  <a:cubicBezTo>
                    <a:pt x="2366" y="621"/>
                    <a:pt x="2366" y="621"/>
                    <a:pt x="2366" y="621"/>
                  </a:cubicBezTo>
                  <a:cubicBezTo>
                    <a:pt x="2366" y="621"/>
                    <a:pt x="2354" y="639"/>
                    <a:pt x="2350" y="642"/>
                  </a:cubicBezTo>
                  <a:cubicBezTo>
                    <a:pt x="2346" y="645"/>
                    <a:pt x="2327" y="646"/>
                    <a:pt x="2327" y="646"/>
                  </a:cubicBezTo>
                  <a:cubicBezTo>
                    <a:pt x="2304" y="658"/>
                    <a:pt x="2304" y="658"/>
                    <a:pt x="2304" y="658"/>
                  </a:cubicBezTo>
                  <a:cubicBezTo>
                    <a:pt x="2304" y="658"/>
                    <a:pt x="2293" y="624"/>
                    <a:pt x="2299" y="613"/>
                  </a:cubicBezTo>
                  <a:cubicBezTo>
                    <a:pt x="2305" y="602"/>
                    <a:pt x="2336" y="607"/>
                    <a:pt x="2341" y="591"/>
                  </a:cubicBezTo>
                  <a:cubicBezTo>
                    <a:pt x="2346" y="575"/>
                    <a:pt x="2330" y="558"/>
                    <a:pt x="2327" y="558"/>
                  </a:cubicBezTo>
                  <a:cubicBezTo>
                    <a:pt x="2324" y="558"/>
                    <a:pt x="2271" y="582"/>
                    <a:pt x="2271" y="582"/>
                  </a:cubicBezTo>
                  <a:cubicBezTo>
                    <a:pt x="2252" y="603"/>
                    <a:pt x="2252" y="603"/>
                    <a:pt x="2252" y="603"/>
                  </a:cubicBezTo>
                  <a:cubicBezTo>
                    <a:pt x="2246" y="594"/>
                    <a:pt x="2246" y="594"/>
                    <a:pt x="2246" y="594"/>
                  </a:cubicBezTo>
                  <a:cubicBezTo>
                    <a:pt x="2264" y="576"/>
                    <a:pt x="2264" y="576"/>
                    <a:pt x="2264" y="576"/>
                  </a:cubicBezTo>
                  <a:cubicBezTo>
                    <a:pt x="2262" y="563"/>
                    <a:pt x="2262" y="563"/>
                    <a:pt x="2262" y="563"/>
                  </a:cubicBezTo>
                  <a:cubicBezTo>
                    <a:pt x="2292" y="552"/>
                    <a:pt x="2292" y="552"/>
                    <a:pt x="2292" y="552"/>
                  </a:cubicBezTo>
                  <a:cubicBezTo>
                    <a:pt x="2265" y="547"/>
                    <a:pt x="2265" y="547"/>
                    <a:pt x="2265" y="547"/>
                  </a:cubicBezTo>
                  <a:cubicBezTo>
                    <a:pt x="2270" y="537"/>
                    <a:pt x="2270" y="537"/>
                    <a:pt x="2270" y="537"/>
                  </a:cubicBezTo>
                  <a:cubicBezTo>
                    <a:pt x="2238" y="547"/>
                    <a:pt x="2238" y="547"/>
                    <a:pt x="2238" y="547"/>
                  </a:cubicBezTo>
                  <a:cubicBezTo>
                    <a:pt x="2224" y="539"/>
                    <a:pt x="2224" y="539"/>
                    <a:pt x="2224" y="539"/>
                  </a:cubicBezTo>
                  <a:cubicBezTo>
                    <a:pt x="2249" y="530"/>
                    <a:pt x="2249" y="530"/>
                    <a:pt x="2249" y="530"/>
                  </a:cubicBezTo>
                  <a:cubicBezTo>
                    <a:pt x="2250" y="520"/>
                    <a:pt x="2250" y="520"/>
                    <a:pt x="2250" y="520"/>
                  </a:cubicBezTo>
                  <a:cubicBezTo>
                    <a:pt x="2250" y="520"/>
                    <a:pt x="2286" y="528"/>
                    <a:pt x="2284" y="515"/>
                  </a:cubicBezTo>
                  <a:cubicBezTo>
                    <a:pt x="2282" y="502"/>
                    <a:pt x="2254" y="505"/>
                    <a:pt x="2266" y="488"/>
                  </a:cubicBezTo>
                  <a:cubicBezTo>
                    <a:pt x="2278" y="471"/>
                    <a:pt x="2289" y="446"/>
                    <a:pt x="2273" y="445"/>
                  </a:cubicBezTo>
                  <a:cubicBezTo>
                    <a:pt x="2248" y="435"/>
                    <a:pt x="2248" y="435"/>
                    <a:pt x="2248" y="435"/>
                  </a:cubicBezTo>
                  <a:cubicBezTo>
                    <a:pt x="2229" y="443"/>
                    <a:pt x="2229" y="443"/>
                    <a:pt x="2229" y="443"/>
                  </a:cubicBezTo>
                  <a:cubicBezTo>
                    <a:pt x="2229" y="443"/>
                    <a:pt x="2202" y="445"/>
                    <a:pt x="2201" y="449"/>
                  </a:cubicBezTo>
                  <a:cubicBezTo>
                    <a:pt x="2200" y="453"/>
                    <a:pt x="2208" y="462"/>
                    <a:pt x="2202" y="463"/>
                  </a:cubicBezTo>
                  <a:cubicBezTo>
                    <a:pt x="2196" y="464"/>
                    <a:pt x="2160" y="457"/>
                    <a:pt x="2152" y="466"/>
                  </a:cubicBezTo>
                  <a:cubicBezTo>
                    <a:pt x="2144" y="475"/>
                    <a:pt x="2127" y="484"/>
                    <a:pt x="2136" y="488"/>
                  </a:cubicBezTo>
                  <a:cubicBezTo>
                    <a:pt x="2145" y="492"/>
                    <a:pt x="2156" y="494"/>
                    <a:pt x="2156" y="494"/>
                  </a:cubicBezTo>
                  <a:cubicBezTo>
                    <a:pt x="2156" y="494"/>
                    <a:pt x="2107" y="507"/>
                    <a:pt x="2109" y="520"/>
                  </a:cubicBezTo>
                  <a:cubicBezTo>
                    <a:pt x="2111" y="533"/>
                    <a:pt x="2138" y="543"/>
                    <a:pt x="2138" y="543"/>
                  </a:cubicBezTo>
                  <a:cubicBezTo>
                    <a:pt x="2154" y="536"/>
                    <a:pt x="2154" y="536"/>
                    <a:pt x="2154" y="536"/>
                  </a:cubicBezTo>
                  <a:cubicBezTo>
                    <a:pt x="2154" y="536"/>
                    <a:pt x="2153" y="557"/>
                    <a:pt x="2159" y="554"/>
                  </a:cubicBezTo>
                  <a:cubicBezTo>
                    <a:pt x="2165" y="551"/>
                    <a:pt x="2194" y="546"/>
                    <a:pt x="2183" y="554"/>
                  </a:cubicBezTo>
                  <a:cubicBezTo>
                    <a:pt x="2172" y="562"/>
                    <a:pt x="2163" y="561"/>
                    <a:pt x="2163" y="561"/>
                  </a:cubicBezTo>
                  <a:cubicBezTo>
                    <a:pt x="2150" y="556"/>
                    <a:pt x="2150" y="556"/>
                    <a:pt x="2150" y="556"/>
                  </a:cubicBezTo>
                  <a:cubicBezTo>
                    <a:pt x="2148" y="565"/>
                    <a:pt x="2148" y="565"/>
                    <a:pt x="2148" y="565"/>
                  </a:cubicBezTo>
                  <a:cubicBezTo>
                    <a:pt x="2148" y="565"/>
                    <a:pt x="2112" y="571"/>
                    <a:pt x="2124" y="575"/>
                  </a:cubicBezTo>
                  <a:cubicBezTo>
                    <a:pt x="2136" y="579"/>
                    <a:pt x="2163" y="559"/>
                    <a:pt x="2157" y="572"/>
                  </a:cubicBezTo>
                  <a:cubicBezTo>
                    <a:pt x="2151" y="585"/>
                    <a:pt x="2132" y="594"/>
                    <a:pt x="2119" y="598"/>
                  </a:cubicBezTo>
                  <a:cubicBezTo>
                    <a:pt x="2106" y="602"/>
                    <a:pt x="2086" y="617"/>
                    <a:pt x="2086" y="617"/>
                  </a:cubicBezTo>
                  <a:cubicBezTo>
                    <a:pt x="2086" y="617"/>
                    <a:pt x="2064" y="605"/>
                    <a:pt x="2060" y="612"/>
                  </a:cubicBezTo>
                  <a:cubicBezTo>
                    <a:pt x="2056" y="619"/>
                    <a:pt x="2035" y="625"/>
                    <a:pt x="2036" y="635"/>
                  </a:cubicBezTo>
                  <a:cubicBezTo>
                    <a:pt x="2037" y="645"/>
                    <a:pt x="2030" y="654"/>
                    <a:pt x="2030" y="654"/>
                  </a:cubicBezTo>
                  <a:cubicBezTo>
                    <a:pt x="2026" y="645"/>
                    <a:pt x="2026" y="645"/>
                    <a:pt x="2026" y="645"/>
                  </a:cubicBezTo>
                  <a:cubicBezTo>
                    <a:pt x="2026" y="645"/>
                    <a:pt x="2001" y="644"/>
                    <a:pt x="2003" y="638"/>
                  </a:cubicBezTo>
                  <a:cubicBezTo>
                    <a:pt x="2005" y="632"/>
                    <a:pt x="2047" y="604"/>
                    <a:pt x="2047" y="604"/>
                  </a:cubicBezTo>
                  <a:cubicBezTo>
                    <a:pt x="2022" y="604"/>
                    <a:pt x="2022" y="604"/>
                    <a:pt x="2022" y="604"/>
                  </a:cubicBezTo>
                  <a:cubicBezTo>
                    <a:pt x="2022" y="604"/>
                    <a:pt x="2015" y="590"/>
                    <a:pt x="2008" y="590"/>
                  </a:cubicBezTo>
                  <a:cubicBezTo>
                    <a:pt x="2001" y="590"/>
                    <a:pt x="1985" y="596"/>
                    <a:pt x="1985" y="596"/>
                  </a:cubicBezTo>
                  <a:cubicBezTo>
                    <a:pt x="1985" y="596"/>
                    <a:pt x="1964" y="589"/>
                    <a:pt x="1961" y="597"/>
                  </a:cubicBezTo>
                  <a:cubicBezTo>
                    <a:pt x="1958" y="605"/>
                    <a:pt x="1956" y="612"/>
                    <a:pt x="1960" y="613"/>
                  </a:cubicBezTo>
                  <a:cubicBezTo>
                    <a:pt x="1964" y="614"/>
                    <a:pt x="1993" y="627"/>
                    <a:pt x="1983" y="630"/>
                  </a:cubicBezTo>
                  <a:cubicBezTo>
                    <a:pt x="1973" y="633"/>
                    <a:pt x="1955" y="618"/>
                    <a:pt x="1955" y="618"/>
                  </a:cubicBezTo>
                  <a:cubicBezTo>
                    <a:pt x="1941" y="609"/>
                    <a:pt x="1941" y="609"/>
                    <a:pt x="1941" y="609"/>
                  </a:cubicBezTo>
                  <a:cubicBezTo>
                    <a:pt x="1940" y="629"/>
                    <a:pt x="1940" y="629"/>
                    <a:pt x="1940" y="629"/>
                  </a:cubicBezTo>
                  <a:cubicBezTo>
                    <a:pt x="1940" y="629"/>
                    <a:pt x="1925" y="638"/>
                    <a:pt x="1916" y="636"/>
                  </a:cubicBezTo>
                  <a:cubicBezTo>
                    <a:pt x="1907" y="634"/>
                    <a:pt x="1874" y="625"/>
                    <a:pt x="1863" y="625"/>
                  </a:cubicBezTo>
                  <a:cubicBezTo>
                    <a:pt x="1852" y="625"/>
                    <a:pt x="1830" y="629"/>
                    <a:pt x="1819" y="628"/>
                  </a:cubicBezTo>
                  <a:cubicBezTo>
                    <a:pt x="1808" y="627"/>
                    <a:pt x="1791" y="610"/>
                    <a:pt x="1791" y="610"/>
                  </a:cubicBezTo>
                  <a:cubicBezTo>
                    <a:pt x="1752" y="613"/>
                    <a:pt x="1752" y="613"/>
                    <a:pt x="1752" y="613"/>
                  </a:cubicBezTo>
                  <a:cubicBezTo>
                    <a:pt x="1752" y="613"/>
                    <a:pt x="1737" y="599"/>
                    <a:pt x="1729" y="597"/>
                  </a:cubicBezTo>
                  <a:cubicBezTo>
                    <a:pt x="1721" y="595"/>
                    <a:pt x="1704" y="595"/>
                    <a:pt x="1692" y="601"/>
                  </a:cubicBezTo>
                  <a:cubicBezTo>
                    <a:pt x="1680" y="607"/>
                    <a:pt x="1685" y="609"/>
                    <a:pt x="1672" y="609"/>
                  </a:cubicBezTo>
                  <a:cubicBezTo>
                    <a:pt x="1659" y="609"/>
                    <a:pt x="1631" y="602"/>
                    <a:pt x="1624" y="611"/>
                  </a:cubicBezTo>
                  <a:cubicBezTo>
                    <a:pt x="1617" y="620"/>
                    <a:pt x="1605" y="646"/>
                    <a:pt x="1605" y="646"/>
                  </a:cubicBezTo>
                  <a:cubicBezTo>
                    <a:pt x="1597" y="666"/>
                    <a:pt x="1597" y="666"/>
                    <a:pt x="1597" y="666"/>
                  </a:cubicBezTo>
                  <a:cubicBezTo>
                    <a:pt x="1576" y="668"/>
                    <a:pt x="1576" y="668"/>
                    <a:pt x="1576" y="668"/>
                  </a:cubicBezTo>
                  <a:cubicBezTo>
                    <a:pt x="1571" y="687"/>
                    <a:pt x="1571" y="687"/>
                    <a:pt x="1571" y="687"/>
                  </a:cubicBezTo>
                  <a:cubicBezTo>
                    <a:pt x="1556" y="654"/>
                    <a:pt x="1556" y="654"/>
                    <a:pt x="1556" y="654"/>
                  </a:cubicBezTo>
                  <a:cubicBezTo>
                    <a:pt x="1556" y="654"/>
                    <a:pt x="1598" y="665"/>
                    <a:pt x="1587" y="646"/>
                  </a:cubicBezTo>
                  <a:cubicBezTo>
                    <a:pt x="1576" y="627"/>
                    <a:pt x="1544" y="625"/>
                    <a:pt x="1544" y="625"/>
                  </a:cubicBezTo>
                  <a:cubicBezTo>
                    <a:pt x="1546" y="616"/>
                    <a:pt x="1546" y="616"/>
                    <a:pt x="1546" y="616"/>
                  </a:cubicBezTo>
                  <a:cubicBezTo>
                    <a:pt x="1546" y="616"/>
                    <a:pt x="1477" y="629"/>
                    <a:pt x="1440" y="629"/>
                  </a:cubicBezTo>
                  <a:cubicBezTo>
                    <a:pt x="1403" y="629"/>
                    <a:pt x="1337" y="625"/>
                    <a:pt x="1350" y="619"/>
                  </a:cubicBezTo>
                  <a:cubicBezTo>
                    <a:pt x="1363" y="613"/>
                    <a:pt x="1447" y="616"/>
                    <a:pt x="1427" y="594"/>
                  </a:cubicBezTo>
                  <a:cubicBezTo>
                    <a:pt x="1407" y="572"/>
                    <a:pt x="1388" y="570"/>
                    <a:pt x="1364" y="572"/>
                  </a:cubicBezTo>
                  <a:cubicBezTo>
                    <a:pt x="1340" y="574"/>
                    <a:pt x="1301" y="560"/>
                    <a:pt x="1295" y="557"/>
                  </a:cubicBezTo>
                  <a:cubicBezTo>
                    <a:pt x="1289" y="554"/>
                    <a:pt x="1271" y="554"/>
                    <a:pt x="1271" y="554"/>
                  </a:cubicBezTo>
                  <a:cubicBezTo>
                    <a:pt x="1271" y="554"/>
                    <a:pt x="1223" y="527"/>
                    <a:pt x="1205" y="528"/>
                  </a:cubicBezTo>
                  <a:cubicBezTo>
                    <a:pt x="1187" y="529"/>
                    <a:pt x="1155" y="554"/>
                    <a:pt x="1155" y="554"/>
                  </a:cubicBezTo>
                  <a:cubicBezTo>
                    <a:pt x="1119" y="554"/>
                    <a:pt x="1119" y="554"/>
                    <a:pt x="1119" y="554"/>
                  </a:cubicBezTo>
                  <a:cubicBezTo>
                    <a:pt x="1139" y="542"/>
                    <a:pt x="1139" y="542"/>
                    <a:pt x="1139" y="542"/>
                  </a:cubicBezTo>
                  <a:cubicBezTo>
                    <a:pt x="1139" y="534"/>
                    <a:pt x="1139" y="534"/>
                    <a:pt x="1139" y="534"/>
                  </a:cubicBezTo>
                  <a:cubicBezTo>
                    <a:pt x="1156" y="514"/>
                    <a:pt x="1156" y="514"/>
                    <a:pt x="1156" y="514"/>
                  </a:cubicBezTo>
                  <a:cubicBezTo>
                    <a:pt x="1156" y="514"/>
                    <a:pt x="1117" y="532"/>
                    <a:pt x="1110" y="539"/>
                  </a:cubicBezTo>
                  <a:cubicBezTo>
                    <a:pt x="1103" y="546"/>
                    <a:pt x="1087" y="568"/>
                    <a:pt x="1072" y="553"/>
                  </a:cubicBezTo>
                  <a:cubicBezTo>
                    <a:pt x="1057" y="538"/>
                    <a:pt x="1078" y="522"/>
                    <a:pt x="1075" y="511"/>
                  </a:cubicBezTo>
                  <a:cubicBezTo>
                    <a:pt x="1072" y="500"/>
                    <a:pt x="1049" y="489"/>
                    <a:pt x="1046" y="498"/>
                  </a:cubicBezTo>
                  <a:cubicBezTo>
                    <a:pt x="1043" y="507"/>
                    <a:pt x="1056" y="513"/>
                    <a:pt x="1056" y="513"/>
                  </a:cubicBezTo>
                  <a:cubicBezTo>
                    <a:pt x="1056" y="513"/>
                    <a:pt x="1036" y="511"/>
                    <a:pt x="1025" y="515"/>
                  </a:cubicBezTo>
                  <a:cubicBezTo>
                    <a:pt x="1014" y="519"/>
                    <a:pt x="998" y="530"/>
                    <a:pt x="993" y="534"/>
                  </a:cubicBezTo>
                  <a:cubicBezTo>
                    <a:pt x="988" y="538"/>
                    <a:pt x="970" y="533"/>
                    <a:pt x="970" y="533"/>
                  </a:cubicBezTo>
                  <a:cubicBezTo>
                    <a:pt x="970" y="533"/>
                    <a:pt x="923" y="543"/>
                    <a:pt x="919" y="544"/>
                  </a:cubicBezTo>
                  <a:cubicBezTo>
                    <a:pt x="915" y="545"/>
                    <a:pt x="890" y="560"/>
                    <a:pt x="890" y="560"/>
                  </a:cubicBezTo>
                  <a:cubicBezTo>
                    <a:pt x="876" y="547"/>
                    <a:pt x="876" y="547"/>
                    <a:pt x="876" y="547"/>
                  </a:cubicBezTo>
                  <a:cubicBezTo>
                    <a:pt x="876" y="547"/>
                    <a:pt x="843" y="564"/>
                    <a:pt x="833" y="565"/>
                  </a:cubicBezTo>
                  <a:cubicBezTo>
                    <a:pt x="823" y="566"/>
                    <a:pt x="805" y="578"/>
                    <a:pt x="805" y="578"/>
                  </a:cubicBezTo>
                  <a:cubicBezTo>
                    <a:pt x="783" y="580"/>
                    <a:pt x="783" y="580"/>
                    <a:pt x="783" y="580"/>
                  </a:cubicBezTo>
                  <a:cubicBezTo>
                    <a:pt x="783" y="580"/>
                    <a:pt x="800" y="562"/>
                    <a:pt x="815" y="559"/>
                  </a:cubicBezTo>
                  <a:cubicBezTo>
                    <a:pt x="830" y="556"/>
                    <a:pt x="864" y="543"/>
                    <a:pt x="864" y="543"/>
                  </a:cubicBezTo>
                  <a:cubicBezTo>
                    <a:pt x="864" y="543"/>
                    <a:pt x="895" y="546"/>
                    <a:pt x="906" y="541"/>
                  </a:cubicBezTo>
                  <a:cubicBezTo>
                    <a:pt x="917" y="536"/>
                    <a:pt x="978" y="522"/>
                    <a:pt x="978" y="522"/>
                  </a:cubicBezTo>
                  <a:cubicBezTo>
                    <a:pt x="978" y="522"/>
                    <a:pt x="990" y="519"/>
                    <a:pt x="983" y="514"/>
                  </a:cubicBezTo>
                  <a:cubicBezTo>
                    <a:pt x="976" y="509"/>
                    <a:pt x="955" y="516"/>
                    <a:pt x="955" y="516"/>
                  </a:cubicBezTo>
                  <a:cubicBezTo>
                    <a:pt x="955" y="516"/>
                    <a:pt x="937" y="515"/>
                    <a:pt x="930" y="517"/>
                  </a:cubicBezTo>
                  <a:cubicBezTo>
                    <a:pt x="923" y="519"/>
                    <a:pt x="916" y="527"/>
                    <a:pt x="911" y="528"/>
                  </a:cubicBezTo>
                  <a:cubicBezTo>
                    <a:pt x="906" y="529"/>
                    <a:pt x="887" y="529"/>
                    <a:pt x="887" y="529"/>
                  </a:cubicBezTo>
                  <a:cubicBezTo>
                    <a:pt x="872" y="532"/>
                    <a:pt x="872" y="532"/>
                    <a:pt x="872" y="532"/>
                  </a:cubicBezTo>
                  <a:cubicBezTo>
                    <a:pt x="872" y="532"/>
                    <a:pt x="855" y="532"/>
                    <a:pt x="843" y="535"/>
                  </a:cubicBezTo>
                  <a:cubicBezTo>
                    <a:pt x="831" y="538"/>
                    <a:pt x="820" y="550"/>
                    <a:pt x="820" y="550"/>
                  </a:cubicBezTo>
                  <a:cubicBezTo>
                    <a:pt x="806" y="552"/>
                    <a:pt x="806" y="552"/>
                    <a:pt x="806" y="552"/>
                  </a:cubicBezTo>
                  <a:cubicBezTo>
                    <a:pt x="771" y="565"/>
                    <a:pt x="771" y="565"/>
                    <a:pt x="771" y="565"/>
                  </a:cubicBezTo>
                  <a:cubicBezTo>
                    <a:pt x="771" y="565"/>
                    <a:pt x="756" y="568"/>
                    <a:pt x="753" y="571"/>
                  </a:cubicBezTo>
                  <a:cubicBezTo>
                    <a:pt x="750" y="574"/>
                    <a:pt x="748" y="590"/>
                    <a:pt x="741" y="586"/>
                  </a:cubicBezTo>
                  <a:cubicBezTo>
                    <a:pt x="734" y="582"/>
                    <a:pt x="733" y="567"/>
                    <a:pt x="744" y="565"/>
                  </a:cubicBezTo>
                  <a:cubicBezTo>
                    <a:pt x="755" y="563"/>
                    <a:pt x="784" y="553"/>
                    <a:pt x="793" y="547"/>
                  </a:cubicBezTo>
                  <a:cubicBezTo>
                    <a:pt x="802" y="541"/>
                    <a:pt x="760" y="535"/>
                    <a:pt x="753" y="544"/>
                  </a:cubicBezTo>
                  <a:cubicBezTo>
                    <a:pt x="746" y="553"/>
                    <a:pt x="719" y="558"/>
                    <a:pt x="712" y="558"/>
                  </a:cubicBezTo>
                  <a:cubicBezTo>
                    <a:pt x="705" y="558"/>
                    <a:pt x="705" y="585"/>
                    <a:pt x="705" y="585"/>
                  </a:cubicBezTo>
                  <a:cubicBezTo>
                    <a:pt x="689" y="576"/>
                    <a:pt x="689" y="576"/>
                    <a:pt x="689" y="576"/>
                  </a:cubicBezTo>
                  <a:cubicBezTo>
                    <a:pt x="647" y="570"/>
                    <a:pt x="647" y="570"/>
                    <a:pt x="647" y="570"/>
                  </a:cubicBezTo>
                  <a:cubicBezTo>
                    <a:pt x="647" y="570"/>
                    <a:pt x="621" y="558"/>
                    <a:pt x="623" y="553"/>
                  </a:cubicBezTo>
                  <a:cubicBezTo>
                    <a:pt x="625" y="548"/>
                    <a:pt x="629" y="539"/>
                    <a:pt x="629" y="539"/>
                  </a:cubicBezTo>
                  <a:cubicBezTo>
                    <a:pt x="555" y="540"/>
                    <a:pt x="555" y="540"/>
                    <a:pt x="555" y="540"/>
                  </a:cubicBezTo>
                  <a:cubicBezTo>
                    <a:pt x="567" y="540"/>
                    <a:pt x="567" y="540"/>
                    <a:pt x="567" y="540"/>
                  </a:cubicBezTo>
                  <a:cubicBezTo>
                    <a:pt x="52" y="964"/>
                    <a:pt x="52" y="964"/>
                    <a:pt x="52" y="964"/>
                  </a:cubicBezTo>
                  <a:cubicBezTo>
                    <a:pt x="52" y="964"/>
                    <a:pt x="26" y="978"/>
                    <a:pt x="32" y="984"/>
                  </a:cubicBezTo>
                  <a:cubicBezTo>
                    <a:pt x="38" y="990"/>
                    <a:pt x="67" y="984"/>
                    <a:pt x="67" y="984"/>
                  </a:cubicBezTo>
                  <a:cubicBezTo>
                    <a:pt x="70" y="984"/>
                    <a:pt x="79" y="979"/>
                    <a:pt x="79" y="979"/>
                  </a:cubicBezTo>
                  <a:cubicBezTo>
                    <a:pt x="103" y="979"/>
                    <a:pt x="103" y="979"/>
                    <a:pt x="103" y="979"/>
                  </a:cubicBezTo>
                  <a:cubicBezTo>
                    <a:pt x="88" y="994"/>
                    <a:pt x="88" y="994"/>
                    <a:pt x="88" y="994"/>
                  </a:cubicBezTo>
                  <a:cubicBezTo>
                    <a:pt x="88" y="994"/>
                    <a:pt x="88" y="1003"/>
                    <a:pt x="88" y="1013"/>
                  </a:cubicBezTo>
                  <a:cubicBezTo>
                    <a:pt x="88" y="1024"/>
                    <a:pt x="107" y="1032"/>
                    <a:pt x="107" y="1032"/>
                  </a:cubicBezTo>
                  <a:cubicBezTo>
                    <a:pt x="107" y="1032"/>
                    <a:pt x="88" y="1051"/>
                    <a:pt x="93" y="1051"/>
                  </a:cubicBezTo>
                  <a:cubicBezTo>
                    <a:pt x="99" y="1051"/>
                    <a:pt x="115" y="1038"/>
                    <a:pt x="115" y="1038"/>
                  </a:cubicBezTo>
                  <a:cubicBezTo>
                    <a:pt x="115" y="1038"/>
                    <a:pt x="136" y="1031"/>
                    <a:pt x="143" y="1031"/>
                  </a:cubicBezTo>
                  <a:cubicBezTo>
                    <a:pt x="151" y="1031"/>
                    <a:pt x="157" y="1021"/>
                    <a:pt x="157" y="1021"/>
                  </a:cubicBezTo>
                  <a:cubicBezTo>
                    <a:pt x="169" y="1021"/>
                    <a:pt x="169" y="1021"/>
                    <a:pt x="169" y="1021"/>
                  </a:cubicBezTo>
                  <a:cubicBezTo>
                    <a:pt x="171" y="1013"/>
                    <a:pt x="171" y="1013"/>
                    <a:pt x="171" y="1013"/>
                  </a:cubicBezTo>
                  <a:cubicBezTo>
                    <a:pt x="171" y="1013"/>
                    <a:pt x="199" y="1003"/>
                    <a:pt x="217" y="1008"/>
                  </a:cubicBezTo>
                  <a:cubicBezTo>
                    <a:pt x="236" y="1014"/>
                    <a:pt x="209" y="1024"/>
                    <a:pt x="209" y="1024"/>
                  </a:cubicBezTo>
                  <a:cubicBezTo>
                    <a:pt x="209" y="1041"/>
                    <a:pt x="209" y="1041"/>
                    <a:pt x="209" y="1041"/>
                  </a:cubicBezTo>
                  <a:cubicBezTo>
                    <a:pt x="203" y="1052"/>
                    <a:pt x="203" y="1052"/>
                    <a:pt x="203" y="1052"/>
                  </a:cubicBezTo>
                  <a:cubicBezTo>
                    <a:pt x="203" y="1052"/>
                    <a:pt x="210" y="1054"/>
                    <a:pt x="216" y="1072"/>
                  </a:cubicBezTo>
                  <a:cubicBezTo>
                    <a:pt x="223" y="1089"/>
                    <a:pt x="206" y="1108"/>
                    <a:pt x="206" y="1108"/>
                  </a:cubicBezTo>
                  <a:cubicBezTo>
                    <a:pt x="206" y="1132"/>
                    <a:pt x="206" y="1132"/>
                    <a:pt x="206" y="1132"/>
                  </a:cubicBezTo>
                  <a:cubicBezTo>
                    <a:pt x="206" y="1132"/>
                    <a:pt x="200" y="1149"/>
                    <a:pt x="195" y="1162"/>
                  </a:cubicBezTo>
                  <a:cubicBezTo>
                    <a:pt x="190" y="1175"/>
                    <a:pt x="218" y="1176"/>
                    <a:pt x="218" y="1180"/>
                  </a:cubicBezTo>
                  <a:cubicBezTo>
                    <a:pt x="218" y="1185"/>
                    <a:pt x="225" y="1187"/>
                    <a:pt x="225" y="1187"/>
                  </a:cubicBezTo>
                  <a:cubicBezTo>
                    <a:pt x="225" y="1187"/>
                    <a:pt x="235" y="1186"/>
                    <a:pt x="235" y="1194"/>
                  </a:cubicBezTo>
                  <a:cubicBezTo>
                    <a:pt x="235" y="1202"/>
                    <a:pt x="208" y="1213"/>
                    <a:pt x="208" y="1213"/>
                  </a:cubicBezTo>
                  <a:cubicBezTo>
                    <a:pt x="208" y="1213"/>
                    <a:pt x="208" y="1229"/>
                    <a:pt x="198" y="1239"/>
                  </a:cubicBezTo>
                  <a:cubicBezTo>
                    <a:pt x="194" y="1243"/>
                    <a:pt x="173" y="1254"/>
                    <a:pt x="152" y="1264"/>
                  </a:cubicBezTo>
                  <a:cubicBezTo>
                    <a:pt x="150" y="1269"/>
                    <a:pt x="149" y="1274"/>
                    <a:pt x="148" y="1278"/>
                  </a:cubicBezTo>
                  <a:cubicBezTo>
                    <a:pt x="147" y="1285"/>
                    <a:pt x="142" y="1299"/>
                    <a:pt x="142" y="1299"/>
                  </a:cubicBezTo>
                  <a:cubicBezTo>
                    <a:pt x="133" y="1305"/>
                    <a:pt x="133" y="1305"/>
                    <a:pt x="133" y="1305"/>
                  </a:cubicBezTo>
                  <a:cubicBezTo>
                    <a:pt x="133" y="1305"/>
                    <a:pt x="142" y="1309"/>
                    <a:pt x="143" y="1316"/>
                  </a:cubicBezTo>
                  <a:cubicBezTo>
                    <a:pt x="144" y="1323"/>
                    <a:pt x="151" y="1326"/>
                    <a:pt x="151" y="1326"/>
                  </a:cubicBezTo>
                  <a:cubicBezTo>
                    <a:pt x="151" y="1326"/>
                    <a:pt x="201" y="1287"/>
                    <a:pt x="201" y="1296"/>
                  </a:cubicBezTo>
                  <a:cubicBezTo>
                    <a:pt x="201" y="1305"/>
                    <a:pt x="185" y="1306"/>
                    <a:pt x="183" y="1311"/>
                  </a:cubicBezTo>
                  <a:cubicBezTo>
                    <a:pt x="181" y="1316"/>
                    <a:pt x="185" y="1326"/>
                    <a:pt x="185" y="1326"/>
                  </a:cubicBezTo>
                  <a:cubicBezTo>
                    <a:pt x="194" y="1333"/>
                    <a:pt x="194" y="1333"/>
                    <a:pt x="194" y="1333"/>
                  </a:cubicBezTo>
                  <a:cubicBezTo>
                    <a:pt x="165" y="1332"/>
                    <a:pt x="165" y="1332"/>
                    <a:pt x="165" y="1332"/>
                  </a:cubicBezTo>
                  <a:cubicBezTo>
                    <a:pt x="165" y="1332"/>
                    <a:pt x="143" y="1359"/>
                    <a:pt x="153" y="1360"/>
                  </a:cubicBezTo>
                  <a:cubicBezTo>
                    <a:pt x="163" y="1361"/>
                    <a:pt x="169" y="1367"/>
                    <a:pt x="169" y="1367"/>
                  </a:cubicBezTo>
                  <a:cubicBezTo>
                    <a:pt x="169" y="1367"/>
                    <a:pt x="157" y="1388"/>
                    <a:pt x="164" y="1385"/>
                  </a:cubicBezTo>
                  <a:cubicBezTo>
                    <a:pt x="171" y="1382"/>
                    <a:pt x="212" y="1354"/>
                    <a:pt x="212" y="1354"/>
                  </a:cubicBezTo>
                  <a:cubicBezTo>
                    <a:pt x="211" y="1363"/>
                    <a:pt x="211" y="1363"/>
                    <a:pt x="211" y="1363"/>
                  </a:cubicBezTo>
                  <a:cubicBezTo>
                    <a:pt x="192" y="1374"/>
                    <a:pt x="192" y="1374"/>
                    <a:pt x="192" y="1374"/>
                  </a:cubicBezTo>
                  <a:cubicBezTo>
                    <a:pt x="207" y="1380"/>
                    <a:pt x="207" y="1380"/>
                    <a:pt x="207" y="1380"/>
                  </a:cubicBezTo>
                  <a:cubicBezTo>
                    <a:pt x="207" y="1380"/>
                    <a:pt x="202" y="1400"/>
                    <a:pt x="194" y="1398"/>
                  </a:cubicBezTo>
                  <a:cubicBezTo>
                    <a:pt x="186" y="1396"/>
                    <a:pt x="184" y="1387"/>
                    <a:pt x="184" y="1387"/>
                  </a:cubicBezTo>
                  <a:cubicBezTo>
                    <a:pt x="184" y="1387"/>
                    <a:pt x="151" y="1397"/>
                    <a:pt x="145" y="1403"/>
                  </a:cubicBezTo>
                  <a:cubicBezTo>
                    <a:pt x="139" y="1409"/>
                    <a:pt x="133" y="1417"/>
                    <a:pt x="133" y="1417"/>
                  </a:cubicBezTo>
                  <a:cubicBezTo>
                    <a:pt x="133" y="1417"/>
                    <a:pt x="151" y="1412"/>
                    <a:pt x="156" y="1412"/>
                  </a:cubicBezTo>
                  <a:cubicBezTo>
                    <a:pt x="161" y="1412"/>
                    <a:pt x="182" y="1412"/>
                    <a:pt x="182" y="1412"/>
                  </a:cubicBezTo>
                  <a:cubicBezTo>
                    <a:pt x="182" y="1412"/>
                    <a:pt x="146" y="1421"/>
                    <a:pt x="140" y="1424"/>
                  </a:cubicBezTo>
                  <a:cubicBezTo>
                    <a:pt x="134" y="1427"/>
                    <a:pt x="138" y="1435"/>
                    <a:pt x="138" y="1435"/>
                  </a:cubicBezTo>
                  <a:cubicBezTo>
                    <a:pt x="138" y="1435"/>
                    <a:pt x="105" y="1423"/>
                    <a:pt x="114" y="1437"/>
                  </a:cubicBezTo>
                  <a:cubicBezTo>
                    <a:pt x="123" y="1451"/>
                    <a:pt x="132" y="1455"/>
                    <a:pt x="132" y="1455"/>
                  </a:cubicBezTo>
                  <a:cubicBezTo>
                    <a:pt x="164" y="1444"/>
                    <a:pt x="164" y="1444"/>
                    <a:pt x="164" y="1444"/>
                  </a:cubicBezTo>
                  <a:cubicBezTo>
                    <a:pt x="173" y="1459"/>
                    <a:pt x="173" y="1459"/>
                    <a:pt x="173" y="1459"/>
                  </a:cubicBezTo>
                  <a:cubicBezTo>
                    <a:pt x="198" y="1445"/>
                    <a:pt x="198" y="1445"/>
                    <a:pt x="198" y="1445"/>
                  </a:cubicBezTo>
                  <a:cubicBezTo>
                    <a:pt x="198" y="1445"/>
                    <a:pt x="165" y="1479"/>
                    <a:pt x="176" y="1478"/>
                  </a:cubicBezTo>
                  <a:cubicBezTo>
                    <a:pt x="187" y="1477"/>
                    <a:pt x="217" y="1454"/>
                    <a:pt x="217" y="1454"/>
                  </a:cubicBezTo>
                  <a:cubicBezTo>
                    <a:pt x="217" y="1454"/>
                    <a:pt x="190" y="1484"/>
                    <a:pt x="194" y="1484"/>
                  </a:cubicBezTo>
                  <a:cubicBezTo>
                    <a:pt x="198" y="1484"/>
                    <a:pt x="216" y="1479"/>
                    <a:pt x="216" y="1479"/>
                  </a:cubicBezTo>
                  <a:cubicBezTo>
                    <a:pt x="216" y="1479"/>
                    <a:pt x="178" y="1508"/>
                    <a:pt x="190" y="1509"/>
                  </a:cubicBezTo>
                  <a:cubicBezTo>
                    <a:pt x="202" y="1510"/>
                    <a:pt x="229" y="1490"/>
                    <a:pt x="229" y="1490"/>
                  </a:cubicBezTo>
                  <a:cubicBezTo>
                    <a:pt x="229" y="1490"/>
                    <a:pt x="203" y="1518"/>
                    <a:pt x="210" y="1520"/>
                  </a:cubicBezTo>
                  <a:cubicBezTo>
                    <a:pt x="217" y="1522"/>
                    <a:pt x="233" y="1526"/>
                    <a:pt x="233" y="1529"/>
                  </a:cubicBezTo>
                  <a:cubicBezTo>
                    <a:pt x="233" y="1531"/>
                    <a:pt x="231" y="1548"/>
                    <a:pt x="228" y="1561"/>
                  </a:cubicBezTo>
                  <a:cubicBezTo>
                    <a:pt x="228" y="1561"/>
                    <a:pt x="228" y="1561"/>
                    <a:pt x="228" y="1561"/>
                  </a:cubicBezTo>
                  <a:cubicBezTo>
                    <a:pt x="1370" y="1561"/>
                    <a:pt x="1370" y="1561"/>
                    <a:pt x="1370" y="1561"/>
                  </a:cubicBezTo>
                  <a:cubicBezTo>
                    <a:pt x="1370" y="1561"/>
                    <a:pt x="1384" y="1526"/>
                    <a:pt x="1394" y="1537"/>
                  </a:cubicBezTo>
                  <a:cubicBezTo>
                    <a:pt x="1404" y="1547"/>
                    <a:pt x="1379" y="1557"/>
                    <a:pt x="1388" y="1566"/>
                  </a:cubicBezTo>
                  <a:cubicBezTo>
                    <a:pt x="1396" y="1574"/>
                    <a:pt x="1415" y="1575"/>
                    <a:pt x="1415" y="1575"/>
                  </a:cubicBezTo>
                  <a:cubicBezTo>
                    <a:pt x="1415" y="1575"/>
                    <a:pt x="1422" y="1585"/>
                    <a:pt x="1430" y="1585"/>
                  </a:cubicBezTo>
                  <a:cubicBezTo>
                    <a:pt x="1438" y="1585"/>
                    <a:pt x="1436" y="1573"/>
                    <a:pt x="1449" y="1573"/>
                  </a:cubicBezTo>
                  <a:cubicBezTo>
                    <a:pt x="1462" y="1573"/>
                    <a:pt x="1465" y="1593"/>
                    <a:pt x="1471" y="1593"/>
                  </a:cubicBezTo>
                  <a:cubicBezTo>
                    <a:pt x="1477" y="1593"/>
                    <a:pt x="1484" y="1596"/>
                    <a:pt x="1487" y="1593"/>
                  </a:cubicBezTo>
                  <a:cubicBezTo>
                    <a:pt x="1490" y="1590"/>
                    <a:pt x="1503" y="1614"/>
                    <a:pt x="1509" y="1608"/>
                  </a:cubicBezTo>
                  <a:cubicBezTo>
                    <a:pt x="1515" y="1602"/>
                    <a:pt x="1531" y="1591"/>
                    <a:pt x="1531" y="1591"/>
                  </a:cubicBezTo>
                  <a:cubicBezTo>
                    <a:pt x="1531" y="1601"/>
                    <a:pt x="1531" y="1601"/>
                    <a:pt x="1531" y="1601"/>
                  </a:cubicBezTo>
                  <a:cubicBezTo>
                    <a:pt x="1561" y="1600"/>
                    <a:pt x="1561" y="1600"/>
                    <a:pt x="1561" y="1600"/>
                  </a:cubicBezTo>
                  <a:cubicBezTo>
                    <a:pt x="1561" y="1600"/>
                    <a:pt x="1558" y="1606"/>
                    <a:pt x="1586" y="1606"/>
                  </a:cubicBezTo>
                  <a:cubicBezTo>
                    <a:pt x="1598" y="1598"/>
                    <a:pt x="1605" y="1585"/>
                    <a:pt x="1606" y="1582"/>
                  </a:cubicBezTo>
                  <a:cubicBezTo>
                    <a:pt x="1607" y="1578"/>
                    <a:pt x="1626" y="1586"/>
                    <a:pt x="1626" y="1586"/>
                  </a:cubicBezTo>
                  <a:cubicBezTo>
                    <a:pt x="1634" y="1580"/>
                    <a:pt x="1634" y="1580"/>
                    <a:pt x="1634" y="1580"/>
                  </a:cubicBezTo>
                  <a:cubicBezTo>
                    <a:pt x="1634" y="1580"/>
                    <a:pt x="1641" y="1568"/>
                    <a:pt x="1642" y="1565"/>
                  </a:cubicBezTo>
                  <a:cubicBezTo>
                    <a:pt x="1643" y="1562"/>
                    <a:pt x="1651" y="1575"/>
                    <a:pt x="1651" y="1575"/>
                  </a:cubicBezTo>
                  <a:cubicBezTo>
                    <a:pt x="1668" y="1572"/>
                    <a:pt x="1668" y="1572"/>
                    <a:pt x="1668" y="1572"/>
                  </a:cubicBezTo>
                  <a:cubicBezTo>
                    <a:pt x="1668" y="1572"/>
                    <a:pt x="1659" y="1562"/>
                    <a:pt x="1668" y="1555"/>
                  </a:cubicBezTo>
                  <a:cubicBezTo>
                    <a:pt x="1677" y="1548"/>
                    <a:pt x="1686" y="1563"/>
                    <a:pt x="1686" y="1563"/>
                  </a:cubicBezTo>
                  <a:cubicBezTo>
                    <a:pt x="1704" y="1563"/>
                    <a:pt x="1704" y="1563"/>
                    <a:pt x="1704" y="1563"/>
                  </a:cubicBezTo>
                  <a:cubicBezTo>
                    <a:pt x="1708" y="1567"/>
                    <a:pt x="1708" y="1567"/>
                    <a:pt x="1708" y="1567"/>
                  </a:cubicBezTo>
                  <a:cubicBezTo>
                    <a:pt x="1708" y="1567"/>
                    <a:pt x="1728" y="1568"/>
                    <a:pt x="1733" y="1573"/>
                  </a:cubicBezTo>
                  <a:cubicBezTo>
                    <a:pt x="1738" y="1578"/>
                    <a:pt x="1727" y="1604"/>
                    <a:pt x="1727" y="1604"/>
                  </a:cubicBezTo>
                  <a:cubicBezTo>
                    <a:pt x="1733" y="1611"/>
                    <a:pt x="1733" y="1611"/>
                    <a:pt x="1733" y="1611"/>
                  </a:cubicBezTo>
                  <a:cubicBezTo>
                    <a:pt x="1727" y="1626"/>
                    <a:pt x="1727" y="1626"/>
                    <a:pt x="1727" y="1626"/>
                  </a:cubicBezTo>
                  <a:cubicBezTo>
                    <a:pt x="1727" y="1626"/>
                    <a:pt x="1766" y="1603"/>
                    <a:pt x="1777" y="1610"/>
                  </a:cubicBezTo>
                  <a:cubicBezTo>
                    <a:pt x="1788" y="1617"/>
                    <a:pt x="1760" y="1627"/>
                    <a:pt x="1759" y="1631"/>
                  </a:cubicBezTo>
                  <a:cubicBezTo>
                    <a:pt x="1758" y="1635"/>
                    <a:pt x="1773" y="1638"/>
                    <a:pt x="1773" y="1643"/>
                  </a:cubicBezTo>
                  <a:cubicBezTo>
                    <a:pt x="1773" y="1648"/>
                    <a:pt x="1757" y="1654"/>
                    <a:pt x="1757" y="1659"/>
                  </a:cubicBezTo>
                  <a:cubicBezTo>
                    <a:pt x="1757" y="1664"/>
                    <a:pt x="1770" y="1664"/>
                    <a:pt x="1767" y="1671"/>
                  </a:cubicBezTo>
                  <a:cubicBezTo>
                    <a:pt x="1764" y="1678"/>
                    <a:pt x="1758" y="1679"/>
                    <a:pt x="1758" y="1679"/>
                  </a:cubicBezTo>
                  <a:cubicBezTo>
                    <a:pt x="1756" y="1685"/>
                    <a:pt x="1756" y="1685"/>
                    <a:pt x="1756" y="1685"/>
                  </a:cubicBezTo>
                  <a:cubicBezTo>
                    <a:pt x="1769" y="1685"/>
                    <a:pt x="1769" y="1685"/>
                    <a:pt x="1769" y="1685"/>
                  </a:cubicBezTo>
                  <a:cubicBezTo>
                    <a:pt x="1765" y="1700"/>
                    <a:pt x="1765" y="1700"/>
                    <a:pt x="1765" y="1700"/>
                  </a:cubicBezTo>
                  <a:cubicBezTo>
                    <a:pt x="1771" y="1700"/>
                    <a:pt x="1778" y="1701"/>
                    <a:pt x="1781" y="1701"/>
                  </a:cubicBezTo>
                  <a:cubicBezTo>
                    <a:pt x="1786" y="1700"/>
                    <a:pt x="1794" y="1703"/>
                    <a:pt x="1806" y="1704"/>
                  </a:cubicBezTo>
                  <a:cubicBezTo>
                    <a:pt x="1818" y="1705"/>
                    <a:pt x="1825" y="1703"/>
                    <a:pt x="1825" y="1703"/>
                  </a:cubicBezTo>
                  <a:cubicBezTo>
                    <a:pt x="1837" y="1703"/>
                    <a:pt x="1852" y="1715"/>
                    <a:pt x="1863" y="1715"/>
                  </a:cubicBezTo>
                  <a:cubicBezTo>
                    <a:pt x="1874" y="1715"/>
                    <a:pt x="1884" y="1715"/>
                    <a:pt x="1884" y="1715"/>
                  </a:cubicBezTo>
                  <a:cubicBezTo>
                    <a:pt x="1906" y="1715"/>
                    <a:pt x="1904" y="1729"/>
                    <a:pt x="1904" y="1738"/>
                  </a:cubicBezTo>
                  <a:cubicBezTo>
                    <a:pt x="1904" y="1747"/>
                    <a:pt x="1914" y="1736"/>
                    <a:pt x="1914" y="1746"/>
                  </a:cubicBezTo>
                  <a:cubicBezTo>
                    <a:pt x="1914" y="1756"/>
                    <a:pt x="1910" y="1759"/>
                    <a:pt x="1905" y="1764"/>
                  </a:cubicBezTo>
                  <a:cubicBezTo>
                    <a:pt x="1900" y="1769"/>
                    <a:pt x="1918" y="1777"/>
                    <a:pt x="1918" y="1777"/>
                  </a:cubicBezTo>
                  <a:cubicBezTo>
                    <a:pt x="1903" y="1776"/>
                    <a:pt x="1903" y="1776"/>
                    <a:pt x="1903" y="1776"/>
                  </a:cubicBezTo>
                  <a:cubicBezTo>
                    <a:pt x="1903" y="1776"/>
                    <a:pt x="1903" y="1785"/>
                    <a:pt x="1896" y="1793"/>
                  </a:cubicBezTo>
                  <a:cubicBezTo>
                    <a:pt x="1888" y="1800"/>
                    <a:pt x="1887" y="1793"/>
                    <a:pt x="1868" y="1783"/>
                  </a:cubicBezTo>
                  <a:cubicBezTo>
                    <a:pt x="1849" y="1773"/>
                    <a:pt x="1855" y="1754"/>
                    <a:pt x="1855" y="1754"/>
                  </a:cubicBezTo>
                  <a:cubicBezTo>
                    <a:pt x="1844" y="1749"/>
                    <a:pt x="1844" y="1749"/>
                    <a:pt x="1844" y="1749"/>
                  </a:cubicBezTo>
                  <a:cubicBezTo>
                    <a:pt x="1846" y="1761"/>
                    <a:pt x="1846" y="1761"/>
                    <a:pt x="1846" y="1761"/>
                  </a:cubicBezTo>
                  <a:cubicBezTo>
                    <a:pt x="1846" y="1761"/>
                    <a:pt x="1854" y="1774"/>
                    <a:pt x="1846" y="1788"/>
                  </a:cubicBezTo>
                  <a:cubicBezTo>
                    <a:pt x="1838" y="1802"/>
                    <a:pt x="1820" y="1806"/>
                    <a:pt x="1812" y="1819"/>
                  </a:cubicBezTo>
                  <a:cubicBezTo>
                    <a:pt x="1804" y="1832"/>
                    <a:pt x="1801" y="1844"/>
                    <a:pt x="1793" y="1853"/>
                  </a:cubicBezTo>
                  <a:cubicBezTo>
                    <a:pt x="1785" y="1861"/>
                    <a:pt x="1769" y="1868"/>
                    <a:pt x="1762" y="1864"/>
                  </a:cubicBezTo>
                  <a:cubicBezTo>
                    <a:pt x="1758" y="1869"/>
                    <a:pt x="1755" y="1873"/>
                    <a:pt x="1755" y="1873"/>
                  </a:cubicBezTo>
                  <a:cubicBezTo>
                    <a:pt x="1755" y="1873"/>
                    <a:pt x="1757" y="1894"/>
                    <a:pt x="1749" y="1894"/>
                  </a:cubicBezTo>
                  <a:cubicBezTo>
                    <a:pt x="1741" y="1894"/>
                    <a:pt x="1696" y="1916"/>
                    <a:pt x="1706" y="1926"/>
                  </a:cubicBezTo>
                  <a:cubicBezTo>
                    <a:pt x="1707" y="1926"/>
                    <a:pt x="1707" y="1927"/>
                    <a:pt x="1708" y="1928"/>
                  </a:cubicBezTo>
                  <a:cubicBezTo>
                    <a:pt x="1716" y="1924"/>
                    <a:pt x="1723" y="1921"/>
                    <a:pt x="1724" y="1921"/>
                  </a:cubicBezTo>
                  <a:cubicBezTo>
                    <a:pt x="1727" y="1921"/>
                    <a:pt x="1731" y="1926"/>
                    <a:pt x="1731" y="1926"/>
                  </a:cubicBezTo>
                  <a:cubicBezTo>
                    <a:pt x="1731" y="1926"/>
                    <a:pt x="1746" y="1912"/>
                    <a:pt x="1754" y="1910"/>
                  </a:cubicBezTo>
                  <a:cubicBezTo>
                    <a:pt x="1762" y="1908"/>
                    <a:pt x="1770" y="1911"/>
                    <a:pt x="1770" y="1911"/>
                  </a:cubicBezTo>
                  <a:cubicBezTo>
                    <a:pt x="1770" y="1911"/>
                    <a:pt x="1775" y="1890"/>
                    <a:pt x="1800" y="1889"/>
                  </a:cubicBezTo>
                  <a:cubicBezTo>
                    <a:pt x="1825" y="1888"/>
                    <a:pt x="1842" y="1895"/>
                    <a:pt x="1842" y="1895"/>
                  </a:cubicBezTo>
                  <a:cubicBezTo>
                    <a:pt x="1858" y="1881"/>
                    <a:pt x="1858" y="1881"/>
                    <a:pt x="1858" y="1881"/>
                  </a:cubicBezTo>
                  <a:cubicBezTo>
                    <a:pt x="1900" y="1883"/>
                    <a:pt x="1900" y="1883"/>
                    <a:pt x="1900" y="1883"/>
                  </a:cubicBezTo>
                  <a:cubicBezTo>
                    <a:pt x="1903" y="1880"/>
                    <a:pt x="1905" y="1878"/>
                    <a:pt x="1906" y="1876"/>
                  </a:cubicBezTo>
                  <a:cubicBezTo>
                    <a:pt x="1908" y="1870"/>
                    <a:pt x="1908" y="1866"/>
                    <a:pt x="1907" y="1862"/>
                  </a:cubicBezTo>
                  <a:cubicBezTo>
                    <a:pt x="1889" y="1866"/>
                    <a:pt x="1883" y="1865"/>
                    <a:pt x="1882" y="1858"/>
                  </a:cubicBezTo>
                  <a:cubicBezTo>
                    <a:pt x="1881" y="1848"/>
                    <a:pt x="1915" y="1826"/>
                    <a:pt x="1928" y="1826"/>
                  </a:cubicBezTo>
                  <a:cubicBezTo>
                    <a:pt x="1941" y="1826"/>
                    <a:pt x="1960" y="1821"/>
                    <a:pt x="1964" y="1821"/>
                  </a:cubicBezTo>
                  <a:cubicBezTo>
                    <a:pt x="1968" y="1821"/>
                    <a:pt x="1985" y="1815"/>
                    <a:pt x="1985" y="1815"/>
                  </a:cubicBezTo>
                  <a:cubicBezTo>
                    <a:pt x="1985" y="1815"/>
                    <a:pt x="2012" y="1825"/>
                    <a:pt x="2016" y="1825"/>
                  </a:cubicBezTo>
                  <a:cubicBezTo>
                    <a:pt x="2020" y="1825"/>
                    <a:pt x="2020" y="1809"/>
                    <a:pt x="2020" y="1809"/>
                  </a:cubicBezTo>
                  <a:cubicBezTo>
                    <a:pt x="2020" y="1809"/>
                    <a:pt x="2027" y="1800"/>
                    <a:pt x="2037" y="1803"/>
                  </a:cubicBezTo>
                  <a:cubicBezTo>
                    <a:pt x="2040" y="1804"/>
                    <a:pt x="2042" y="1805"/>
                    <a:pt x="2043" y="1806"/>
                  </a:cubicBezTo>
                  <a:cubicBezTo>
                    <a:pt x="2045" y="1805"/>
                    <a:pt x="2047" y="1804"/>
                    <a:pt x="2048" y="1804"/>
                  </a:cubicBezTo>
                  <a:cubicBezTo>
                    <a:pt x="2054" y="1804"/>
                    <a:pt x="2056" y="1802"/>
                    <a:pt x="2064" y="1802"/>
                  </a:cubicBezTo>
                  <a:cubicBezTo>
                    <a:pt x="2072" y="1802"/>
                    <a:pt x="2106" y="1764"/>
                    <a:pt x="2123" y="1764"/>
                  </a:cubicBezTo>
                  <a:cubicBezTo>
                    <a:pt x="2140" y="1764"/>
                    <a:pt x="2271" y="1764"/>
                    <a:pt x="2271" y="1764"/>
                  </a:cubicBezTo>
                  <a:cubicBezTo>
                    <a:pt x="2271" y="1764"/>
                    <a:pt x="2271" y="1749"/>
                    <a:pt x="2283" y="1749"/>
                  </a:cubicBezTo>
                  <a:cubicBezTo>
                    <a:pt x="2295" y="1749"/>
                    <a:pt x="2303" y="1748"/>
                    <a:pt x="2303" y="1748"/>
                  </a:cubicBezTo>
                  <a:cubicBezTo>
                    <a:pt x="2303" y="1748"/>
                    <a:pt x="2314" y="1727"/>
                    <a:pt x="2323" y="1727"/>
                  </a:cubicBezTo>
                  <a:cubicBezTo>
                    <a:pt x="2333" y="1727"/>
                    <a:pt x="2340" y="1734"/>
                    <a:pt x="2340" y="1727"/>
                  </a:cubicBezTo>
                  <a:cubicBezTo>
                    <a:pt x="2340" y="1720"/>
                    <a:pt x="2343" y="1698"/>
                    <a:pt x="2349" y="1698"/>
                  </a:cubicBezTo>
                  <a:cubicBezTo>
                    <a:pt x="2355" y="1698"/>
                    <a:pt x="2363" y="1690"/>
                    <a:pt x="2363" y="1690"/>
                  </a:cubicBezTo>
                  <a:cubicBezTo>
                    <a:pt x="2363" y="1676"/>
                    <a:pt x="2363" y="1676"/>
                    <a:pt x="2363" y="1676"/>
                  </a:cubicBezTo>
                  <a:cubicBezTo>
                    <a:pt x="2390" y="1657"/>
                    <a:pt x="2390" y="1657"/>
                    <a:pt x="2390" y="1657"/>
                  </a:cubicBezTo>
                  <a:cubicBezTo>
                    <a:pt x="2390" y="1657"/>
                    <a:pt x="2401" y="1636"/>
                    <a:pt x="2414" y="1636"/>
                  </a:cubicBezTo>
                  <a:cubicBezTo>
                    <a:pt x="2427" y="1636"/>
                    <a:pt x="2418" y="1645"/>
                    <a:pt x="2430" y="1645"/>
                  </a:cubicBezTo>
                  <a:cubicBezTo>
                    <a:pt x="2442" y="1645"/>
                    <a:pt x="2469" y="1634"/>
                    <a:pt x="2469" y="1651"/>
                  </a:cubicBezTo>
                  <a:cubicBezTo>
                    <a:pt x="2469" y="1668"/>
                    <a:pt x="2439" y="1725"/>
                    <a:pt x="2442" y="1728"/>
                  </a:cubicBezTo>
                  <a:cubicBezTo>
                    <a:pt x="2445" y="1731"/>
                    <a:pt x="2453" y="1735"/>
                    <a:pt x="2453" y="1735"/>
                  </a:cubicBezTo>
                  <a:cubicBezTo>
                    <a:pt x="2453" y="1735"/>
                    <a:pt x="2439" y="1748"/>
                    <a:pt x="2444" y="1753"/>
                  </a:cubicBezTo>
                  <a:cubicBezTo>
                    <a:pt x="2449" y="1758"/>
                    <a:pt x="2457" y="1755"/>
                    <a:pt x="2457" y="1755"/>
                  </a:cubicBezTo>
                  <a:cubicBezTo>
                    <a:pt x="2458" y="1759"/>
                    <a:pt x="2458" y="1759"/>
                    <a:pt x="2458" y="1759"/>
                  </a:cubicBezTo>
                  <a:cubicBezTo>
                    <a:pt x="2462" y="1761"/>
                    <a:pt x="2472" y="1765"/>
                    <a:pt x="2484" y="1760"/>
                  </a:cubicBezTo>
                  <a:cubicBezTo>
                    <a:pt x="2499" y="1754"/>
                    <a:pt x="2511" y="1738"/>
                    <a:pt x="2511" y="1738"/>
                  </a:cubicBezTo>
                  <a:cubicBezTo>
                    <a:pt x="2517" y="1752"/>
                    <a:pt x="2517" y="1752"/>
                    <a:pt x="2517" y="1752"/>
                  </a:cubicBezTo>
                  <a:cubicBezTo>
                    <a:pt x="2517" y="1752"/>
                    <a:pt x="2549" y="1738"/>
                    <a:pt x="2554" y="1734"/>
                  </a:cubicBezTo>
                  <a:cubicBezTo>
                    <a:pt x="2559" y="1730"/>
                    <a:pt x="2580" y="1724"/>
                    <a:pt x="2580" y="1724"/>
                  </a:cubicBezTo>
                  <a:cubicBezTo>
                    <a:pt x="2590" y="1725"/>
                    <a:pt x="2590" y="1725"/>
                    <a:pt x="2590" y="1725"/>
                  </a:cubicBezTo>
                  <a:cubicBezTo>
                    <a:pt x="2561" y="1748"/>
                    <a:pt x="2561" y="1748"/>
                    <a:pt x="2561" y="1748"/>
                  </a:cubicBezTo>
                  <a:cubicBezTo>
                    <a:pt x="2622" y="1742"/>
                    <a:pt x="2622" y="1742"/>
                    <a:pt x="2622" y="1742"/>
                  </a:cubicBezTo>
                  <a:cubicBezTo>
                    <a:pt x="2622" y="1742"/>
                    <a:pt x="2593" y="1745"/>
                    <a:pt x="2592" y="1751"/>
                  </a:cubicBezTo>
                  <a:cubicBezTo>
                    <a:pt x="2591" y="1757"/>
                    <a:pt x="2587" y="1764"/>
                    <a:pt x="2587" y="1764"/>
                  </a:cubicBezTo>
                  <a:cubicBezTo>
                    <a:pt x="2587" y="1764"/>
                    <a:pt x="2568" y="1753"/>
                    <a:pt x="2561" y="1756"/>
                  </a:cubicBezTo>
                  <a:cubicBezTo>
                    <a:pt x="2554" y="1759"/>
                    <a:pt x="2486" y="1793"/>
                    <a:pt x="2483" y="1801"/>
                  </a:cubicBezTo>
                  <a:cubicBezTo>
                    <a:pt x="2480" y="1809"/>
                    <a:pt x="2474" y="1833"/>
                    <a:pt x="2479" y="1834"/>
                  </a:cubicBezTo>
                  <a:cubicBezTo>
                    <a:pt x="2484" y="1835"/>
                    <a:pt x="2491" y="1829"/>
                    <a:pt x="2491" y="1829"/>
                  </a:cubicBezTo>
                  <a:cubicBezTo>
                    <a:pt x="2491" y="1829"/>
                    <a:pt x="2489" y="1845"/>
                    <a:pt x="2498" y="1843"/>
                  </a:cubicBezTo>
                  <a:cubicBezTo>
                    <a:pt x="2507" y="1841"/>
                    <a:pt x="2513" y="1828"/>
                    <a:pt x="2513" y="1828"/>
                  </a:cubicBezTo>
                  <a:cubicBezTo>
                    <a:pt x="2513" y="1828"/>
                    <a:pt x="2539" y="1825"/>
                    <a:pt x="2553" y="1813"/>
                  </a:cubicBezTo>
                  <a:cubicBezTo>
                    <a:pt x="2567" y="1801"/>
                    <a:pt x="2582" y="1780"/>
                    <a:pt x="2582" y="1780"/>
                  </a:cubicBezTo>
                  <a:cubicBezTo>
                    <a:pt x="2582" y="1780"/>
                    <a:pt x="2582" y="1796"/>
                    <a:pt x="2596" y="1793"/>
                  </a:cubicBezTo>
                  <a:cubicBezTo>
                    <a:pt x="2610" y="1790"/>
                    <a:pt x="2644" y="1775"/>
                    <a:pt x="2655" y="1772"/>
                  </a:cubicBezTo>
                  <a:cubicBezTo>
                    <a:pt x="2666" y="1769"/>
                    <a:pt x="2718" y="1756"/>
                    <a:pt x="2718" y="1756"/>
                  </a:cubicBezTo>
                  <a:cubicBezTo>
                    <a:pt x="2709" y="1746"/>
                    <a:pt x="2709" y="1746"/>
                    <a:pt x="2709" y="1746"/>
                  </a:cubicBezTo>
                  <a:cubicBezTo>
                    <a:pt x="2713" y="1733"/>
                    <a:pt x="2713" y="1733"/>
                    <a:pt x="2713" y="1733"/>
                  </a:cubicBezTo>
                  <a:cubicBezTo>
                    <a:pt x="2692" y="1737"/>
                    <a:pt x="2692" y="1737"/>
                    <a:pt x="2692" y="1737"/>
                  </a:cubicBezTo>
                  <a:cubicBezTo>
                    <a:pt x="2691" y="1721"/>
                    <a:pt x="2691" y="1721"/>
                    <a:pt x="2691" y="1721"/>
                  </a:cubicBezTo>
                  <a:cubicBezTo>
                    <a:pt x="2691" y="1721"/>
                    <a:pt x="2667" y="1735"/>
                    <a:pt x="2661" y="1734"/>
                  </a:cubicBezTo>
                  <a:cubicBezTo>
                    <a:pt x="2655" y="1733"/>
                    <a:pt x="2657" y="1724"/>
                    <a:pt x="2657" y="1724"/>
                  </a:cubicBezTo>
                  <a:cubicBezTo>
                    <a:pt x="2657" y="1724"/>
                    <a:pt x="2625" y="1727"/>
                    <a:pt x="2619" y="1722"/>
                  </a:cubicBezTo>
                  <a:cubicBezTo>
                    <a:pt x="2613" y="1717"/>
                    <a:pt x="2605" y="1707"/>
                    <a:pt x="2614" y="1707"/>
                  </a:cubicBezTo>
                  <a:cubicBezTo>
                    <a:pt x="2623" y="1707"/>
                    <a:pt x="2610" y="1694"/>
                    <a:pt x="2599" y="1697"/>
                  </a:cubicBezTo>
                  <a:cubicBezTo>
                    <a:pt x="2588" y="1700"/>
                    <a:pt x="2584" y="1681"/>
                    <a:pt x="2584" y="1676"/>
                  </a:cubicBezTo>
                  <a:cubicBezTo>
                    <a:pt x="2584" y="1671"/>
                    <a:pt x="2596" y="1658"/>
                    <a:pt x="2596" y="1658"/>
                  </a:cubicBezTo>
                  <a:cubicBezTo>
                    <a:pt x="2580" y="1657"/>
                    <a:pt x="2580" y="1657"/>
                    <a:pt x="2580" y="1657"/>
                  </a:cubicBezTo>
                  <a:cubicBezTo>
                    <a:pt x="2580" y="1657"/>
                    <a:pt x="2599" y="1642"/>
                    <a:pt x="2606" y="1634"/>
                  </a:cubicBezTo>
                  <a:cubicBezTo>
                    <a:pt x="2613" y="1626"/>
                    <a:pt x="2632" y="1607"/>
                    <a:pt x="2632" y="1607"/>
                  </a:cubicBezTo>
                  <a:cubicBezTo>
                    <a:pt x="2622" y="1604"/>
                    <a:pt x="2622" y="1604"/>
                    <a:pt x="2622" y="1604"/>
                  </a:cubicBezTo>
                  <a:cubicBezTo>
                    <a:pt x="2608" y="1622"/>
                    <a:pt x="2608" y="1622"/>
                    <a:pt x="2608" y="1622"/>
                  </a:cubicBezTo>
                  <a:cubicBezTo>
                    <a:pt x="2593" y="1614"/>
                    <a:pt x="2593" y="1614"/>
                    <a:pt x="2593" y="1614"/>
                  </a:cubicBezTo>
                  <a:cubicBezTo>
                    <a:pt x="2574" y="1628"/>
                    <a:pt x="2574" y="1628"/>
                    <a:pt x="2574" y="1628"/>
                  </a:cubicBezTo>
                  <a:cubicBezTo>
                    <a:pt x="2571" y="1615"/>
                    <a:pt x="2571" y="1615"/>
                    <a:pt x="2571" y="1615"/>
                  </a:cubicBezTo>
                  <a:cubicBezTo>
                    <a:pt x="2552" y="1608"/>
                    <a:pt x="2552" y="1608"/>
                    <a:pt x="2552" y="1608"/>
                  </a:cubicBezTo>
                  <a:cubicBezTo>
                    <a:pt x="2537" y="1610"/>
                    <a:pt x="2537" y="1610"/>
                    <a:pt x="2537" y="1610"/>
                  </a:cubicBezTo>
                  <a:cubicBezTo>
                    <a:pt x="2574" y="1597"/>
                    <a:pt x="2574" y="1597"/>
                    <a:pt x="2574" y="1597"/>
                  </a:cubicBezTo>
                  <a:cubicBezTo>
                    <a:pt x="2574" y="1597"/>
                    <a:pt x="2581" y="1607"/>
                    <a:pt x="2591" y="1606"/>
                  </a:cubicBezTo>
                  <a:cubicBezTo>
                    <a:pt x="2601" y="1605"/>
                    <a:pt x="2624" y="1587"/>
                    <a:pt x="2624" y="1587"/>
                  </a:cubicBezTo>
                  <a:cubicBezTo>
                    <a:pt x="2624" y="1587"/>
                    <a:pt x="2650" y="1592"/>
                    <a:pt x="2651" y="1585"/>
                  </a:cubicBezTo>
                  <a:cubicBezTo>
                    <a:pt x="2652" y="1578"/>
                    <a:pt x="2644" y="1567"/>
                    <a:pt x="2644" y="1567"/>
                  </a:cubicBezTo>
                  <a:cubicBezTo>
                    <a:pt x="2660" y="1566"/>
                    <a:pt x="2660" y="1566"/>
                    <a:pt x="2660" y="1566"/>
                  </a:cubicBezTo>
                  <a:cubicBezTo>
                    <a:pt x="2660" y="1566"/>
                    <a:pt x="2651" y="1543"/>
                    <a:pt x="2609" y="1543"/>
                  </a:cubicBezTo>
                  <a:cubicBezTo>
                    <a:pt x="2567" y="1543"/>
                    <a:pt x="2517" y="1564"/>
                    <a:pt x="2494" y="1569"/>
                  </a:cubicBezTo>
                  <a:cubicBezTo>
                    <a:pt x="2471" y="1574"/>
                    <a:pt x="2434" y="1597"/>
                    <a:pt x="2427" y="1603"/>
                  </a:cubicBezTo>
                  <a:cubicBezTo>
                    <a:pt x="2420" y="1609"/>
                    <a:pt x="2378" y="1642"/>
                    <a:pt x="2368" y="1650"/>
                  </a:cubicBezTo>
                  <a:cubicBezTo>
                    <a:pt x="2358" y="1658"/>
                    <a:pt x="2322" y="1663"/>
                    <a:pt x="2322" y="1663"/>
                  </a:cubicBezTo>
                  <a:cubicBezTo>
                    <a:pt x="2322" y="1663"/>
                    <a:pt x="2372" y="1635"/>
                    <a:pt x="2381" y="1626"/>
                  </a:cubicBezTo>
                  <a:cubicBezTo>
                    <a:pt x="2390" y="1617"/>
                    <a:pt x="2403" y="1603"/>
                    <a:pt x="2403" y="1603"/>
                  </a:cubicBezTo>
                  <a:cubicBezTo>
                    <a:pt x="2388" y="1594"/>
                    <a:pt x="2388" y="1594"/>
                    <a:pt x="2388" y="1594"/>
                  </a:cubicBezTo>
                  <a:cubicBezTo>
                    <a:pt x="2388" y="1594"/>
                    <a:pt x="2409" y="1602"/>
                    <a:pt x="2414" y="1597"/>
                  </a:cubicBezTo>
                  <a:cubicBezTo>
                    <a:pt x="2419" y="1592"/>
                    <a:pt x="2469" y="1559"/>
                    <a:pt x="2481" y="1550"/>
                  </a:cubicBezTo>
                  <a:cubicBezTo>
                    <a:pt x="2493" y="1541"/>
                    <a:pt x="2531" y="1535"/>
                    <a:pt x="2535" y="1537"/>
                  </a:cubicBezTo>
                  <a:cubicBezTo>
                    <a:pt x="2539" y="1539"/>
                    <a:pt x="2561" y="1501"/>
                    <a:pt x="2591" y="1496"/>
                  </a:cubicBezTo>
                  <a:cubicBezTo>
                    <a:pt x="2621" y="1491"/>
                    <a:pt x="2697" y="1487"/>
                    <a:pt x="2713" y="1487"/>
                  </a:cubicBezTo>
                  <a:cubicBezTo>
                    <a:pt x="2729" y="1487"/>
                    <a:pt x="2788" y="1504"/>
                    <a:pt x="2798" y="1502"/>
                  </a:cubicBezTo>
                  <a:cubicBezTo>
                    <a:pt x="2808" y="1500"/>
                    <a:pt x="2829" y="1489"/>
                    <a:pt x="2839" y="1488"/>
                  </a:cubicBezTo>
                  <a:cubicBezTo>
                    <a:pt x="2849" y="1487"/>
                    <a:pt x="2880" y="1482"/>
                    <a:pt x="2892" y="1473"/>
                  </a:cubicBezTo>
                  <a:cubicBezTo>
                    <a:pt x="2904" y="1464"/>
                    <a:pt x="2930" y="1439"/>
                    <a:pt x="2940" y="1437"/>
                  </a:cubicBezTo>
                  <a:cubicBezTo>
                    <a:pt x="2950" y="1435"/>
                    <a:pt x="2967" y="1436"/>
                    <a:pt x="2967" y="1436"/>
                  </a:cubicBezTo>
                  <a:cubicBezTo>
                    <a:pt x="2967" y="1436"/>
                    <a:pt x="2980" y="1424"/>
                    <a:pt x="2990" y="1424"/>
                  </a:cubicBezTo>
                  <a:cubicBezTo>
                    <a:pt x="3000" y="1424"/>
                    <a:pt x="3001" y="1429"/>
                    <a:pt x="3018" y="1421"/>
                  </a:cubicBezTo>
                  <a:cubicBezTo>
                    <a:pt x="3018" y="1421"/>
                    <a:pt x="3083" y="1404"/>
                    <a:pt x="3077" y="1394"/>
                  </a:cubicBezTo>
                  <a:cubicBezTo>
                    <a:pt x="3071" y="1384"/>
                    <a:pt x="3052" y="1371"/>
                    <a:pt x="3052" y="1371"/>
                  </a:cubicBezTo>
                  <a:cubicBezTo>
                    <a:pt x="3052" y="1371"/>
                    <a:pt x="3076" y="1373"/>
                    <a:pt x="3076" y="1364"/>
                  </a:cubicBezTo>
                  <a:cubicBezTo>
                    <a:pt x="3076" y="1355"/>
                    <a:pt x="3072" y="1343"/>
                    <a:pt x="3072" y="1343"/>
                  </a:cubicBezTo>
                  <a:cubicBezTo>
                    <a:pt x="3072" y="1343"/>
                    <a:pt x="3100" y="1347"/>
                    <a:pt x="3094" y="1331"/>
                  </a:cubicBezTo>
                  <a:cubicBezTo>
                    <a:pt x="3088" y="1315"/>
                    <a:pt x="3065" y="1304"/>
                    <a:pt x="3058" y="1312"/>
                  </a:cubicBezTo>
                  <a:close/>
                  <a:moveTo>
                    <a:pt x="969" y="735"/>
                  </a:moveTo>
                  <a:cubicBezTo>
                    <a:pt x="976" y="730"/>
                    <a:pt x="1004" y="720"/>
                    <a:pt x="1004" y="720"/>
                  </a:cubicBezTo>
                  <a:cubicBezTo>
                    <a:pt x="1004" y="720"/>
                    <a:pt x="999" y="712"/>
                    <a:pt x="1005" y="709"/>
                  </a:cubicBezTo>
                  <a:cubicBezTo>
                    <a:pt x="1011" y="706"/>
                    <a:pt x="1029" y="715"/>
                    <a:pt x="1051" y="709"/>
                  </a:cubicBezTo>
                  <a:cubicBezTo>
                    <a:pt x="1073" y="703"/>
                    <a:pt x="1053" y="691"/>
                    <a:pt x="1034" y="691"/>
                  </a:cubicBezTo>
                  <a:cubicBezTo>
                    <a:pt x="1015" y="691"/>
                    <a:pt x="1010" y="698"/>
                    <a:pt x="999" y="703"/>
                  </a:cubicBezTo>
                  <a:cubicBezTo>
                    <a:pt x="988" y="708"/>
                    <a:pt x="989" y="698"/>
                    <a:pt x="989" y="698"/>
                  </a:cubicBezTo>
                  <a:cubicBezTo>
                    <a:pt x="977" y="703"/>
                    <a:pt x="977" y="703"/>
                    <a:pt x="977" y="703"/>
                  </a:cubicBezTo>
                  <a:cubicBezTo>
                    <a:pt x="954" y="700"/>
                    <a:pt x="954" y="700"/>
                    <a:pt x="954" y="700"/>
                  </a:cubicBezTo>
                  <a:cubicBezTo>
                    <a:pt x="954" y="700"/>
                    <a:pt x="933" y="710"/>
                    <a:pt x="924" y="707"/>
                  </a:cubicBezTo>
                  <a:cubicBezTo>
                    <a:pt x="915" y="704"/>
                    <a:pt x="950" y="694"/>
                    <a:pt x="960" y="689"/>
                  </a:cubicBezTo>
                  <a:cubicBezTo>
                    <a:pt x="970" y="684"/>
                    <a:pt x="979" y="690"/>
                    <a:pt x="992" y="690"/>
                  </a:cubicBezTo>
                  <a:cubicBezTo>
                    <a:pt x="1005" y="690"/>
                    <a:pt x="1001" y="681"/>
                    <a:pt x="1001" y="681"/>
                  </a:cubicBezTo>
                  <a:cubicBezTo>
                    <a:pt x="1071" y="676"/>
                    <a:pt x="1071" y="676"/>
                    <a:pt x="1071" y="676"/>
                  </a:cubicBezTo>
                  <a:cubicBezTo>
                    <a:pt x="1071" y="676"/>
                    <a:pt x="1106" y="666"/>
                    <a:pt x="1119" y="664"/>
                  </a:cubicBezTo>
                  <a:cubicBezTo>
                    <a:pt x="1132" y="662"/>
                    <a:pt x="1140" y="669"/>
                    <a:pt x="1140" y="669"/>
                  </a:cubicBezTo>
                  <a:cubicBezTo>
                    <a:pt x="1140" y="669"/>
                    <a:pt x="1143" y="663"/>
                    <a:pt x="1150" y="660"/>
                  </a:cubicBezTo>
                  <a:cubicBezTo>
                    <a:pt x="1157" y="657"/>
                    <a:pt x="1179" y="667"/>
                    <a:pt x="1179" y="667"/>
                  </a:cubicBezTo>
                  <a:cubicBezTo>
                    <a:pt x="1179" y="667"/>
                    <a:pt x="1157" y="673"/>
                    <a:pt x="1149" y="677"/>
                  </a:cubicBezTo>
                  <a:cubicBezTo>
                    <a:pt x="1141" y="681"/>
                    <a:pt x="1107" y="683"/>
                    <a:pt x="1107" y="683"/>
                  </a:cubicBezTo>
                  <a:cubicBezTo>
                    <a:pt x="1105" y="691"/>
                    <a:pt x="1105" y="691"/>
                    <a:pt x="1105" y="691"/>
                  </a:cubicBezTo>
                  <a:cubicBezTo>
                    <a:pt x="1123" y="691"/>
                    <a:pt x="1123" y="691"/>
                    <a:pt x="1123" y="691"/>
                  </a:cubicBezTo>
                  <a:cubicBezTo>
                    <a:pt x="1123" y="691"/>
                    <a:pt x="1134" y="694"/>
                    <a:pt x="1138" y="694"/>
                  </a:cubicBezTo>
                  <a:cubicBezTo>
                    <a:pt x="1142" y="694"/>
                    <a:pt x="1168" y="691"/>
                    <a:pt x="1182" y="690"/>
                  </a:cubicBezTo>
                  <a:cubicBezTo>
                    <a:pt x="1196" y="689"/>
                    <a:pt x="1176" y="680"/>
                    <a:pt x="1176" y="680"/>
                  </a:cubicBezTo>
                  <a:cubicBezTo>
                    <a:pt x="1213" y="679"/>
                    <a:pt x="1213" y="679"/>
                    <a:pt x="1213" y="679"/>
                  </a:cubicBezTo>
                  <a:cubicBezTo>
                    <a:pt x="1213" y="679"/>
                    <a:pt x="1208" y="692"/>
                    <a:pt x="1189" y="698"/>
                  </a:cubicBezTo>
                  <a:cubicBezTo>
                    <a:pt x="1170" y="704"/>
                    <a:pt x="1158" y="711"/>
                    <a:pt x="1158" y="711"/>
                  </a:cubicBezTo>
                  <a:cubicBezTo>
                    <a:pt x="1158" y="711"/>
                    <a:pt x="1157" y="723"/>
                    <a:pt x="1149" y="725"/>
                  </a:cubicBezTo>
                  <a:cubicBezTo>
                    <a:pt x="1141" y="727"/>
                    <a:pt x="1119" y="716"/>
                    <a:pt x="1119" y="716"/>
                  </a:cubicBezTo>
                  <a:cubicBezTo>
                    <a:pt x="1114" y="723"/>
                    <a:pt x="1114" y="723"/>
                    <a:pt x="1114" y="723"/>
                  </a:cubicBezTo>
                  <a:cubicBezTo>
                    <a:pt x="1104" y="714"/>
                    <a:pt x="1104" y="714"/>
                    <a:pt x="1104" y="714"/>
                  </a:cubicBezTo>
                  <a:cubicBezTo>
                    <a:pt x="1094" y="724"/>
                    <a:pt x="1094" y="724"/>
                    <a:pt x="1094" y="724"/>
                  </a:cubicBezTo>
                  <a:cubicBezTo>
                    <a:pt x="1094" y="724"/>
                    <a:pt x="1086" y="718"/>
                    <a:pt x="1080" y="725"/>
                  </a:cubicBezTo>
                  <a:cubicBezTo>
                    <a:pt x="1074" y="732"/>
                    <a:pt x="1086" y="738"/>
                    <a:pt x="1086" y="738"/>
                  </a:cubicBezTo>
                  <a:cubicBezTo>
                    <a:pt x="1065" y="741"/>
                    <a:pt x="1065" y="741"/>
                    <a:pt x="1065" y="741"/>
                  </a:cubicBezTo>
                  <a:cubicBezTo>
                    <a:pt x="1065" y="741"/>
                    <a:pt x="1050" y="751"/>
                    <a:pt x="1047" y="751"/>
                  </a:cubicBezTo>
                  <a:cubicBezTo>
                    <a:pt x="1044" y="751"/>
                    <a:pt x="1001" y="764"/>
                    <a:pt x="990" y="760"/>
                  </a:cubicBezTo>
                  <a:cubicBezTo>
                    <a:pt x="979" y="756"/>
                    <a:pt x="1018" y="749"/>
                    <a:pt x="1033" y="746"/>
                  </a:cubicBezTo>
                  <a:cubicBezTo>
                    <a:pt x="1048" y="743"/>
                    <a:pt x="1070" y="726"/>
                    <a:pt x="1057" y="724"/>
                  </a:cubicBezTo>
                  <a:cubicBezTo>
                    <a:pt x="1044" y="722"/>
                    <a:pt x="992" y="751"/>
                    <a:pt x="979" y="753"/>
                  </a:cubicBezTo>
                  <a:cubicBezTo>
                    <a:pt x="966" y="755"/>
                    <a:pt x="940" y="751"/>
                    <a:pt x="931" y="746"/>
                  </a:cubicBezTo>
                  <a:cubicBezTo>
                    <a:pt x="922" y="741"/>
                    <a:pt x="962" y="740"/>
                    <a:pt x="969" y="735"/>
                  </a:cubicBezTo>
                  <a:close/>
                  <a:moveTo>
                    <a:pt x="1324" y="872"/>
                  </a:moveTo>
                  <a:cubicBezTo>
                    <a:pt x="1324" y="869"/>
                    <a:pt x="1312" y="855"/>
                    <a:pt x="1308" y="862"/>
                  </a:cubicBezTo>
                  <a:cubicBezTo>
                    <a:pt x="1304" y="869"/>
                    <a:pt x="1305" y="876"/>
                    <a:pt x="1305" y="876"/>
                  </a:cubicBezTo>
                  <a:cubicBezTo>
                    <a:pt x="1305" y="876"/>
                    <a:pt x="1291" y="868"/>
                    <a:pt x="1285" y="870"/>
                  </a:cubicBezTo>
                  <a:cubicBezTo>
                    <a:pt x="1279" y="872"/>
                    <a:pt x="1283" y="879"/>
                    <a:pt x="1283" y="879"/>
                  </a:cubicBezTo>
                  <a:cubicBezTo>
                    <a:pt x="1266" y="881"/>
                    <a:pt x="1266" y="881"/>
                    <a:pt x="1266" y="881"/>
                  </a:cubicBezTo>
                  <a:cubicBezTo>
                    <a:pt x="1266" y="881"/>
                    <a:pt x="1254" y="877"/>
                    <a:pt x="1239" y="887"/>
                  </a:cubicBezTo>
                  <a:cubicBezTo>
                    <a:pt x="1224" y="897"/>
                    <a:pt x="1195" y="916"/>
                    <a:pt x="1181" y="919"/>
                  </a:cubicBezTo>
                  <a:cubicBezTo>
                    <a:pt x="1167" y="922"/>
                    <a:pt x="1147" y="928"/>
                    <a:pt x="1147" y="928"/>
                  </a:cubicBezTo>
                  <a:cubicBezTo>
                    <a:pt x="1147" y="928"/>
                    <a:pt x="1116" y="920"/>
                    <a:pt x="1108" y="928"/>
                  </a:cubicBezTo>
                  <a:cubicBezTo>
                    <a:pt x="1100" y="936"/>
                    <a:pt x="1094" y="947"/>
                    <a:pt x="1094" y="947"/>
                  </a:cubicBezTo>
                  <a:cubicBezTo>
                    <a:pt x="1065" y="947"/>
                    <a:pt x="1065" y="947"/>
                    <a:pt x="1065" y="947"/>
                  </a:cubicBezTo>
                  <a:cubicBezTo>
                    <a:pt x="1059" y="953"/>
                    <a:pt x="1059" y="953"/>
                    <a:pt x="1059" y="953"/>
                  </a:cubicBezTo>
                  <a:cubicBezTo>
                    <a:pt x="1059" y="953"/>
                    <a:pt x="1045" y="950"/>
                    <a:pt x="1038" y="952"/>
                  </a:cubicBezTo>
                  <a:cubicBezTo>
                    <a:pt x="1031" y="954"/>
                    <a:pt x="1012" y="957"/>
                    <a:pt x="1005" y="956"/>
                  </a:cubicBezTo>
                  <a:cubicBezTo>
                    <a:pt x="998" y="955"/>
                    <a:pt x="987" y="947"/>
                    <a:pt x="984" y="948"/>
                  </a:cubicBezTo>
                  <a:cubicBezTo>
                    <a:pt x="981" y="949"/>
                    <a:pt x="963" y="946"/>
                    <a:pt x="963" y="942"/>
                  </a:cubicBezTo>
                  <a:cubicBezTo>
                    <a:pt x="963" y="938"/>
                    <a:pt x="985" y="939"/>
                    <a:pt x="985" y="939"/>
                  </a:cubicBezTo>
                  <a:cubicBezTo>
                    <a:pt x="985" y="939"/>
                    <a:pt x="994" y="929"/>
                    <a:pt x="997" y="929"/>
                  </a:cubicBezTo>
                  <a:cubicBezTo>
                    <a:pt x="1000" y="929"/>
                    <a:pt x="1008" y="937"/>
                    <a:pt x="1018" y="937"/>
                  </a:cubicBezTo>
                  <a:cubicBezTo>
                    <a:pt x="1028" y="937"/>
                    <a:pt x="1028" y="929"/>
                    <a:pt x="1028" y="929"/>
                  </a:cubicBezTo>
                  <a:cubicBezTo>
                    <a:pt x="1039" y="929"/>
                    <a:pt x="1039" y="929"/>
                    <a:pt x="1039" y="929"/>
                  </a:cubicBezTo>
                  <a:cubicBezTo>
                    <a:pt x="1039" y="929"/>
                    <a:pt x="1049" y="911"/>
                    <a:pt x="1059" y="910"/>
                  </a:cubicBezTo>
                  <a:cubicBezTo>
                    <a:pt x="1069" y="909"/>
                    <a:pt x="1072" y="918"/>
                    <a:pt x="1090" y="911"/>
                  </a:cubicBezTo>
                  <a:cubicBezTo>
                    <a:pt x="1108" y="904"/>
                    <a:pt x="1093" y="882"/>
                    <a:pt x="1093" y="882"/>
                  </a:cubicBezTo>
                  <a:cubicBezTo>
                    <a:pt x="1093" y="882"/>
                    <a:pt x="1071" y="868"/>
                    <a:pt x="1085" y="862"/>
                  </a:cubicBezTo>
                  <a:cubicBezTo>
                    <a:pt x="1091" y="859"/>
                    <a:pt x="1099" y="872"/>
                    <a:pt x="1099" y="872"/>
                  </a:cubicBezTo>
                  <a:cubicBezTo>
                    <a:pt x="1107" y="871"/>
                    <a:pt x="1107" y="871"/>
                    <a:pt x="1107" y="871"/>
                  </a:cubicBezTo>
                  <a:cubicBezTo>
                    <a:pt x="1119" y="882"/>
                    <a:pt x="1119" y="882"/>
                    <a:pt x="1119" y="882"/>
                  </a:cubicBezTo>
                  <a:cubicBezTo>
                    <a:pt x="1119" y="882"/>
                    <a:pt x="1133" y="881"/>
                    <a:pt x="1137" y="884"/>
                  </a:cubicBezTo>
                  <a:cubicBezTo>
                    <a:pt x="1141" y="887"/>
                    <a:pt x="1130" y="902"/>
                    <a:pt x="1153" y="901"/>
                  </a:cubicBezTo>
                  <a:cubicBezTo>
                    <a:pt x="1176" y="900"/>
                    <a:pt x="1176" y="895"/>
                    <a:pt x="1176" y="895"/>
                  </a:cubicBezTo>
                  <a:cubicBezTo>
                    <a:pt x="1187" y="896"/>
                    <a:pt x="1187" y="896"/>
                    <a:pt x="1187" y="896"/>
                  </a:cubicBezTo>
                  <a:cubicBezTo>
                    <a:pt x="1187" y="896"/>
                    <a:pt x="1227" y="880"/>
                    <a:pt x="1241" y="871"/>
                  </a:cubicBezTo>
                  <a:cubicBezTo>
                    <a:pt x="1255" y="862"/>
                    <a:pt x="1277" y="855"/>
                    <a:pt x="1295" y="854"/>
                  </a:cubicBezTo>
                  <a:cubicBezTo>
                    <a:pt x="1313" y="853"/>
                    <a:pt x="1351" y="857"/>
                    <a:pt x="1348" y="861"/>
                  </a:cubicBezTo>
                  <a:cubicBezTo>
                    <a:pt x="1345" y="865"/>
                    <a:pt x="1324" y="875"/>
                    <a:pt x="1324" y="872"/>
                  </a:cubicBezTo>
                  <a:close/>
                  <a:moveTo>
                    <a:pt x="1405" y="1355"/>
                  </a:moveTo>
                  <a:cubicBezTo>
                    <a:pt x="1405" y="1355"/>
                    <a:pt x="1402" y="1384"/>
                    <a:pt x="1403" y="1393"/>
                  </a:cubicBezTo>
                  <a:cubicBezTo>
                    <a:pt x="1404" y="1402"/>
                    <a:pt x="1399" y="1411"/>
                    <a:pt x="1396" y="1416"/>
                  </a:cubicBezTo>
                  <a:cubicBezTo>
                    <a:pt x="1393" y="1421"/>
                    <a:pt x="1400" y="1422"/>
                    <a:pt x="1403" y="1433"/>
                  </a:cubicBezTo>
                  <a:cubicBezTo>
                    <a:pt x="1406" y="1444"/>
                    <a:pt x="1382" y="1471"/>
                    <a:pt x="1382" y="1471"/>
                  </a:cubicBezTo>
                  <a:cubicBezTo>
                    <a:pt x="1368" y="1466"/>
                    <a:pt x="1368" y="1466"/>
                    <a:pt x="1368" y="1466"/>
                  </a:cubicBezTo>
                  <a:cubicBezTo>
                    <a:pt x="1368" y="1466"/>
                    <a:pt x="1365" y="1485"/>
                    <a:pt x="1348" y="1482"/>
                  </a:cubicBezTo>
                  <a:cubicBezTo>
                    <a:pt x="1331" y="1479"/>
                    <a:pt x="1387" y="1431"/>
                    <a:pt x="1387" y="1419"/>
                  </a:cubicBezTo>
                  <a:cubicBezTo>
                    <a:pt x="1387" y="1407"/>
                    <a:pt x="1366" y="1427"/>
                    <a:pt x="1366" y="1427"/>
                  </a:cubicBezTo>
                  <a:cubicBezTo>
                    <a:pt x="1379" y="1406"/>
                    <a:pt x="1379" y="1406"/>
                    <a:pt x="1379" y="1406"/>
                  </a:cubicBezTo>
                  <a:cubicBezTo>
                    <a:pt x="1379" y="1406"/>
                    <a:pt x="1383" y="1393"/>
                    <a:pt x="1372" y="1390"/>
                  </a:cubicBezTo>
                  <a:cubicBezTo>
                    <a:pt x="1361" y="1387"/>
                    <a:pt x="1367" y="1407"/>
                    <a:pt x="1354" y="1407"/>
                  </a:cubicBezTo>
                  <a:cubicBezTo>
                    <a:pt x="1341" y="1407"/>
                    <a:pt x="1351" y="1376"/>
                    <a:pt x="1351" y="1376"/>
                  </a:cubicBezTo>
                  <a:cubicBezTo>
                    <a:pt x="1351" y="1376"/>
                    <a:pt x="1345" y="1370"/>
                    <a:pt x="1343" y="1361"/>
                  </a:cubicBezTo>
                  <a:cubicBezTo>
                    <a:pt x="1341" y="1352"/>
                    <a:pt x="1365" y="1352"/>
                    <a:pt x="1367" y="1346"/>
                  </a:cubicBezTo>
                  <a:cubicBezTo>
                    <a:pt x="1369" y="1340"/>
                    <a:pt x="1347" y="1349"/>
                    <a:pt x="1343" y="1340"/>
                  </a:cubicBezTo>
                  <a:cubicBezTo>
                    <a:pt x="1342" y="1338"/>
                    <a:pt x="1372" y="1307"/>
                    <a:pt x="1382" y="1303"/>
                  </a:cubicBezTo>
                  <a:cubicBezTo>
                    <a:pt x="1392" y="1299"/>
                    <a:pt x="1391" y="1306"/>
                    <a:pt x="1395" y="1307"/>
                  </a:cubicBezTo>
                  <a:cubicBezTo>
                    <a:pt x="1399" y="1308"/>
                    <a:pt x="1410" y="1305"/>
                    <a:pt x="1418" y="1322"/>
                  </a:cubicBezTo>
                  <a:cubicBezTo>
                    <a:pt x="1426" y="1339"/>
                    <a:pt x="1405" y="1355"/>
                    <a:pt x="1405" y="1355"/>
                  </a:cubicBezTo>
                  <a:close/>
                  <a:moveTo>
                    <a:pt x="156" y="1459"/>
                  </a:moveTo>
                  <a:cubicBezTo>
                    <a:pt x="146" y="1456"/>
                    <a:pt x="147" y="1473"/>
                    <a:pt x="147" y="1473"/>
                  </a:cubicBezTo>
                  <a:cubicBezTo>
                    <a:pt x="155" y="1473"/>
                    <a:pt x="166" y="1462"/>
                    <a:pt x="156" y="1459"/>
                  </a:cubicBezTo>
                  <a:close/>
                  <a:moveTo>
                    <a:pt x="2216" y="1197"/>
                  </a:moveTo>
                  <a:cubicBezTo>
                    <a:pt x="2248" y="1196"/>
                    <a:pt x="2259" y="1170"/>
                    <a:pt x="2228" y="1170"/>
                  </a:cubicBezTo>
                  <a:cubicBezTo>
                    <a:pt x="2196" y="1171"/>
                    <a:pt x="2216" y="1197"/>
                    <a:pt x="2216" y="1197"/>
                  </a:cubicBezTo>
                  <a:close/>
                  <a:moveTo>
                    <a:pt x="2456" y="825"/>
                  </a:moveTo>
                  <a:cubicBezTo>
                    <a:pt x="2456" y="825"/>
                    <a:pt x="2433" y="822"/>
                    <a:pt x="2423" y="814"/>
                  </a:cubicBezTo>
                  <a:cubicBezTo>
                    <a:pt x="2413" y="806"/>
                    <a:pt x="2418" y="785"/>
                    <a:pt x="2418" y="785"/>
                  </a:cubicBezTo>
                  <a:cubicBezTo>
                    <a:pt x="2397" y="769"/>
                    <a:pt x="2397" y="769"/>
                    <a:pt x="2397" y="769"/>
                  </a:cubicBezTo>
                  <a:cubicBezTo>
                    <a:pt x="2370" y="772"/>
                    <a:pt x="2370" y="772"/>
                    <a:pt x="2370" y="772"/>
                  </a:cubicBezTo>
                  <a:cubicBezTo>
                    <a:pt x="2366" y="763"/>
                    <a:pt x="2366" y="763"/>
                    <a:pt x="2366" y="763"/>
                  </a:cubicBezTo>
                  <a:cubicBezTo>
                    <a:pt x="2353" y="741"/>
                    <a:pt x="2353" y="741"/>
                    <a:pt x="2353" y="741"/>
                  </a:cubicBezTo>
                  <a:cubicBezTo>
                    <a:pt x="2330" y="745"/>
                    <a:pt x="2330" y="745"/>
                    <a:pt x="2330" y="745"/>
                  </a:cubicBezTo>
                  <a:cubicBezTo>
                    <a:pt x="2317" y="738"/>
                    <a:pt x="2317" y="738"/>
                    <a:pt x="2317" y="738"/>
                  </a:cubicBezTo>
                  <a:cubicBezTo>
                    <a:pt x="2329" y="727"/>
                    <a:pt x="2329" y="727"/>
                    <a:pt x="2329" y="727"/>
                  </a:cubicBezTo>
                  <a:cubicBezTo>
                    <a:pt x="2327" y="710"/>
                    <a:pt x="2327" y="710"/>
                    <a:pt x="2327" y="710"/>
                  </a:cubicBezTo>
                  <a:cubicBezTo>
                    <a:pt x="2293" y="728"/>
                    <a:pt x="2293" y="728"/>
                    <a:pt x="2293" y="728"/>
                  </a:cubicBezTo>
                  <a:cubicBezTo>
                    <a:pt x="2276" y="736"/>
                    <a:pt x="2276" y="736"/>
                    <a:pt x="2276" y="736"/>
                  </a:cubicBezTo>
                  <a:cubicBezTo>
                    <a:pt x="2257" y="764"/>
                    <a:pt x="2257" y="764"/>
                    <a:pt x="2257" y="764"/>
                  </a:cubicBezTo>
                  <a:cubicBezTo>
                    <a:pt x="2257" y="764"/>
                    <a:pt x="2226" y="771"/>
                    <a:pt x="2224" y="777"/>
                  </a:cubicBezTo>
                  <a:cubicBezTo>
                    <a:pt x="2222" y="783"/>
                    <a:pt x="2234" y="790"/>
                    <a:pt x="2224" y="793"/>
                  </a:cubicBezTo>
                  <a:cubicBezTo>
                    <a:pt x="2215" y="797"/>
                    <a:pt x="2186" y="807"/>
                    <a:pt x="2186" y="807"/>
                  </a:cubicBezTo>
                  <a:cubicBezTo>
                    <a:pt x="2203" y="815"/>
                    <a:pt x="2203" y="815"/>
                    <a:pt x="2203" y="815"/>
                  </a:cubicBezTo>
                  <a:cubicBezTo>
                    <a:pt x="2203" y="815"/>
                    <a:pt x="2230" y="811"/>
                    <a:pt x="2231" y="814"/>
                  </a:cubicBezTo>
                  <a:cubicBezTo>
                    <a:pt x="2231" y="817"/>
                    <a:pt x="2225" y="822"/>
                    <a:pt x="2225" y="833"/>
                  </a:cubicBezTo>
                  <a:cubicBezTo>
                    <a:pt x="2225" y="844"/>
                    <a:pt x="2268" y="845"/>
                    <a:pt x="2287" y="835"/>
                  </a:cubicBezTo>
                  <a:cubicBezTo>
                    <a:pt x="2306" y="826"/>
                    <a:pt x="2296" y="808"/>
                    <a:pt x="2324" y="809"/>
                  </a:cubicBezTo>
                  <a:cubicBezTo>
                    <a:pt x="2351" y="809"/>
                    <a:pt x="2355" y="818"/>
                    <a:pt x="2355" y="818"/>
                  </a:cubicBezTo>
                  <a:cubicBezTo>
                    <a:pt x="2386" y="823"/>
                    <a:pt x="2386" y="823"/>
                    <a:pt x="2386" y="823"/>
                  </a:cubicBezTo>
                  <a:cubicBezTo>
                    <a:pt x="2390" y="834"/>
                    <a:pt x="2390" y="834"/>
                    <a:pt x="2390" y="834"/>
                  </a:cubicBezTo>
                  <a:cubicBezTo>
                    <a:pt x="2452" y="838"/>
                    <a:pt x="2452" y="838"/>
                    <a:pt x="2452" y="838"/>
                  </a:cubicBezTo>
                  <a:lnTo>
                    <a:pt x="2456" y="825"/>
                  </a:lnTo>
                  <a:close/>
                  <a:moveTo>
                    <a:pt x="2393" y="886"/>
                  </a:moveTo>
                  <a:cubicBezTo>
                    <a:pt x="2352" y="899"/>
                    <a:pt x="2393" y="913"/>
                    <a:pt x="2393" y="913"/>
                  </a:cubicBezTo>
                  <a:cubicBezTo>
                    <a:pt x="2415" y="897"/>
                    <a:pt x="2434" y="872"/>
                    <a:pt x="2393" y="886"/>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98" name="Freeform 159"/>
            <p:cNvSpPr>
              <a:spLocks/>
            </p:cNvSpPr>
            <p:nvPr/>
          </p:nvSpPr>
          <p:spPr bwMode="gray">
            <a:xfrm>
              <a:off x="2081213" y="3973513"/>
              <a:ext cx="352425" cy="557213"/>
            </a:xfrm>
            <a:custGeom>
              <a:avLst/>
              <a:gdLst>
                <a:gd name="T0" fmla="*/ 604 w 630"/>
                <a:gd name="T1" fmla="*/ 869 h 993"/>
                <a:gd name="T2" fmla="*/ 575 w 630"/>
                <a:gd name="T3" fmla="*/ 854 h 993"/>
                <a:gd name="T4" fmla="*/ 581 w 630"/>
                <a:gd name="T5" fmla="*/ 821 h 993"/>
                <a:gd name="T6" fmla="*/ 607 w 630"/>
                <a:gd name="T7" fmla="*/ 835 h 993"/>
                <a:gd name="T8" fmla="*/ 603 w 630"/>
                <a:gd name="T9" fmla="*/ 799 h 993"/>
                <a:gd name="T10" fmla="*/ 605 w 630"/>
                <a:gd name="T11" fmla="*/ 744 h 993"/>
                <a:gd name="T12" fmla="*/ 609 w 630"/>
                <a:gd name="T13" fmla="*/ 694 h 993"/>
                <a:gd name="T14" fmla="*/ 597 w 630"/>
                <a:gd name="T15" fmla="*/ 632 h 993"/>
                <a:gd name="T16" fmla="*/ 556 w 630"/>
                <a:gd name="T17" fmla="*/ 590 h 993"/>
                <a:gd name="T18" fmla="*/ 533 w 630"/>
                <a:gd name="T19" fmla="*/ 591 h 993"/>
                <a:gd name="T20" fmla="*/ 523 w 630"/>
                <a:gd name="T21" fmla="*/ 562 h 993"/>
                <a:gd name="T22" fmla="*/ 525 w 630"/>
                <a:gd name="T23" fmla="*/ 507 h 993"/>
                <a:gd name="T24" fmla="*/ 449 w 630"/>
                <a:gd name="T25" fmla="*/ 541 h 993"/>
                <a:gd name="T26" fmla="*/ 399 w 630"/>
                <a:gd name="T27" fmla="*/ 509 h 993"/>
                <a:gd name="T28" fmla="*/ 391 w 630"/>
                <a:gd name="T29" fmla="*/ 465 h 993"/>
                <a:gd name="T30" fmla="*/ 371 w 630"/>
                <a:gd name="T31" fmla="*/ 420 h 993"/>
                <a:gd name="T32" fmla="*/ 371 w 630"/>
                <a:gd name="T33" fmla="*/ 396 h 993"/>
                <a:gd name="T34" fmla="*/ 368 w 630"/>
                <a:gd name="T35" fmla="*/ 370 h 993"/>
                <a:gd name="T36" fmla="*/ 389 w 630"/>
                <a:gd name="T37" fmla="*/ 331 h 993"/>
                <a:gd name="T38" fmla="*/ 403 w 630"/>
                <a:gd name="T39" fmla="*/ 277 h 993"/>
                <a:gd name="T40" fmla="*/ 422 w 630"/>
                <a:gd name="T41" fmla="*/ 265 h 993"/>
                <a:gd name="T42" fmla="*/ 471 w 630"/>
                <a:gd name="T43" fmla="*/ 244 h 993"/>
                <a:gd name="T44" fmla="*/ 492 w 630"/>
                <a:gd name="T45" fmla="*/ 240 h 993"/>
                <a:gd name="T46" fmla="*/ 527 w 630"/>
                <a:gd name="T47" fmla="*/ 236 h 993"/>
                <a:gd name="T48" fmla="*/ 543 w 630"/>
                <a:gd name="T49" fmla="*/ 227 h 993"/>
                <a:gd name="T50" fmla="*/ 526 w 630"/>
                <a:gd name="T51" fmla="*/ 207 h 993"/>
                <a:gd name="T52" fmla="*/ 520 w 630"/>
                <a:gd name="T53" fmla="*/ 171 h 993"/>
                <a:gd name="T54" fmla="*/ 505 w 630"/>
                <a:gd name="T55" fmla="*/ 135 h 993"/>
                <a:gd name="T56" fmla="*/ 472 w 630"/>
                <a:gd name="T57" fmla="*/ 130 h 993"/>
                <a:gd name="T58" fmla="*/ 434 w 630"/>
                <a:gd name="T59" fmla="*/ 138 h 993"/>
                <a:gd name="T60" fmla="*/ 388 w 630"/>
                <a:gd name="T61" fmla="*/ 106 h 993"/>
                <a:gd name="T62" fmla="*/ 364 w 630"/>
                <a:gd name="T63" fmla="*/ 73 h 993"/>
                <a:gd name="T64" fmla="*/ 343 w 630"/>
                <a:gd name="T65" fmla="*/ 57 h 993"/>
                <a:gd name="T66" fmla="*/ 327 w 630"/>
                <a:gd name="T67" fmla="*/ 33 h 993"/>
                <a:gd name="T68" fmla="*/ 264 w 630"/>
                <a:gd name="T69" fmla="*/ 0 h 993"/>
                <a:gd name="T70" fmla="*/ 278 w 630"/>
                <a:gd name="T71" fmla="*/ 1 h 993"/>
                <a:gd name="T72" fmla="*/ 284 w 630"/>
                <a:gd name="T73" fmla="*/ 31 h 993"/>
                <a:gd name="T74" fmla="*/ 277 w 630"/>
                <a:gd name="T75" fmla="*/ 58 h 993"/>
                <a:gd name="T76" fmla="*/ 218 w 630"/>
                <a:gd name="T77" fmla="*/ 143 h 993"/>
                <a:gd name="T78" fmla="*/ 147 w 630"/>
                <a:gd name="T79" fmla="*/ 186 h 993"/>
                <a:gd name="T80" fmla="*/ 142 w 630"/>
                <a:gd name="T81" fmla="*/ 201 h 993"/>
                <a:gd name="T82" fmla="*/ 128 w 630"/>
                <a:gd name="T83" fmla="*/ 252 h 993"/>
                <a:gd name="T84" fmla="*/ 103 w 630"/>
                <a:gd name="T85" fmla="*/ 270 h 993"/>
                <a:gd name="T86" fmla="*/ 69 w 630"/>
                <a:gd name="T87" fmla="*/ 243 h 993"/>
                <a:gd name="T88" fmla="*/ 40 w 630"/>
                <a:gd name="T89" fmla="*/ 246 h 993"/>
                <a:gd name="T90" fmla="*/ 37 w 630"/>
                <a:gd name="T91" fmla="*/ 224 h 993"/>
                <a:gd name="T92" fmla="*/ 43 w 630"/>
                <a:gd name="T93" fmla="*/ 188 h 993"/>
                <a:gd name="T94" fmla="*/ 0 w 630"/>
                <a:gd name="T95" fmla="*/ 254 h 993"/>
                <a:gd name="T96" fmla="*/ 9 w 630"/>
                <a:gd name="T97" fmla="*/ 282 h 993"/>
                <a:gd name="T98" fmla="*/ 8 w 630"/>
                <a:gd name="T99" fmla="*/ 331 h 993"/>
                <a:gd name="T100" fmla="*/ 85 w 630"/>
                <a:gd name="T101" fmla="*/ 394 h 993"/>
                <a:gd name="T102" fmla="*/ 126 w 630"/>
                <a:gd name="T103" fmla="*/ 462 h 993"/>
                <a:gd name="T104" fmla="*/ 169 w 630"/>
                <a:gd name="T105" fmla="*/ 547 h 993"/>
                <a:gd name="T106" fmla="*/ 214 w 630"/>
                <a:gd name="T107" fmla="*/ 622 h 993"/>
                <a:gd name="T108" fmla="*/ 267 w 630"/>
                <a:gd name="T109" fmla="*/ 715 h 993"/>
                <a:gd name="T110" fmla="*/ 304 w 630"/>
                <a:gd name="T111" fmla="*/ 803 h 993"/>
                <a:gd name="T112" fmla="*/ 400 w 630"/>
                <a:gd name="T113" fmla="*/ 869 h 993"/>
                <a:gd name="T114" fmla="*/ 516 w 630"/>
                <a:gd name="T115" fmla="*/ 939 h 993"/>
                <a:gd name="T116" fmla="*/ 540 w 630"/>
                <a:gd name="T117" fmla="*/ 968 h 993"/>
                <a:gd name="T118" fmla="*/ 574 w 630"/>
                <a:gd name="T119" fmla="*/ 993 h 993"/>
                <a:gd name="T120" fmla="*/ 596 w 630"/>
                <a:gd name="T121" fmla="*/ 954 h 993"/>
                <a:gd name="T122" fmla="*/ 601 w 630"/>
                <a:gd name="T123" fmla="*/ 929 h 993"/>
                <a:gd name="T124" fmla="*/ 630 w 630"/>
                <a:gd name="T125" fmla="*/ 889 h 9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30" h="993">
                  <a:moveTo>
                    <a:pt x="622" y="880"/>
                  </a:moveTo>
                  <a:cubicBezTo>
                    <a:pt x="622" y="880"/>
                    <a:pt x="612" y="873"/>
                    <a:pt x="604" y="869"/>
                  </a:cubicBezTo>
                  <a:cubicBezTo>
                    <a:pt x="596" y="865"/>
                    <a:pt x="593" y="857"/>
                    <a:pt x="593" y="857"/>
                  </a:cubicBezTo>
                  <a:cubicBezTo>
                    <a:pt x="593" y="857"/>
                    <a:pt x="579" y="859"/>
                    <a:pt x="575" y="854"/>
                  </a:cubicBezTo>
                  <a:cubicBezTo>
                    <a:pt x="580" y="840"/>
                    <a:pt x="580" y="840"/>
                    <a:pt x="580" y="840"/>
                  </a:cubicBezTo>
                  <a:cubicBezTo>
                    <a:pt x="580" y="840"/>
                    <a:pt x="576" y="825"/>
                    <a:pt x="581" y="821"/>
                  </a:cubicBezTo>
                  <a:cubicBezTo>
                    <a:pt x="584" y="818"/>
                    <a:pt x="598" y="830"/>
                    <a:pt x="607" y="838"/>
                  </a:cubicBezTo>
                  <a:cubicBezTo>
                    <a:pt x="607" y="836"/>
                    <a:pt x="607" y="835"/>
                    <a:pt x="607" y="835"/>
                  </a:cubicBezTo>
                  <a:cubicBezTo>
                    <a:pt x="612" y="824"/>
                    <a:pt x="612" y="824"/>
                    <a:pt x="612" y="824"/>
                  </a:cubicBezTo>
                  <a:cubicBezTo>
                    <a:pt x="612" y="824"/>
                    <a:pt x="604" y="813"/>
                    <a:pt x="603" y="799"/>
                  </a:cubicBezTo>
                  <a:cubicBezTo>
                    <a:pt x="601" y="784"/>
                    <a:pt x="616" y="776"/>
                    <a:pt x="620" y="766"/>
                  </a:cubicBezTo>
                  <a:cubicBezTo>
                    <a:pt x="624" y="757"/>
                    <a:pt x="605" y="744"/>
                    <a:pt x="605" y="744"/>
                  </a:cubicBezTo>
                  <a:cubicBezTo>
                    <a:pt x="618" y="724"/>
                    <a:pt x="618" y="724"/>
                    <a:pt x="618" y="724"/>
                  </a:cubicBezTo>
                  <a:cubicBezTo>
                    <a:pt x="609" y="694"/>
                    <a:pt x="609" y="694"/>
                    <a:pt x="609" y="694"/>
                  </a:cubicBezTo>
                  <a:cubicBezTo>
                    <a:pt x="609" y="694"/>
                    <a:pt x="619" y="683"/>
                    <a:pt x="620" y="677"/>
                  </a:cubicBezTo>
                  <a:cubicBezTo>
                    <a:pt x="622" y="670"/>
                    <a:pt x="612" y="645"/>
                    <a:pt x="597" y="632"/>
                  </a:cubicBezTo>
                  <a:cubicBezTo>
                    <a:pt x="586" y="621"/>
                    <a:pt x="579" y="600"/>
                    <a:pt x="577" y="591"/>
                  </a:cubicBezTo>
                  <a:cubicBezTo>
                    <a:pt x="568" y="590"/>
                    <a:pt x="560" y="590"/>
                    <a:pt x="556" y="590"/>
                  </a:cubicBezTo>
                  <a:cubicBezTo>
                    <a:pt x="545" y="590"/>
                    <a:pt x="549" y="599"/>
                    <a:pt x="541" y="599"/>
                  </a:cubicBezTo>
                  <a:cubicBezTo>
                    <a:pt x="533" y="599"/>
                    <a:pt x="533" y="591"/>
                    <a:pt x="533" y="591"/>
                  </a:cubicBezTo>
                  <a:cubicBezTo>
                    <a:pt x="526" y="592"/>
                    <a:pt x="526" y="592"/>
                    <a:pt x="526" y="592"/>
                  </a:cubicBezTo>
                  <a:cubicBezTo>
                    <a:pt x="526" y="592"/>
                    <a:pt x="525" y="572"/>
                    <a:pt x="523" y="562"/>
                  </a:cubicBezTo>
                  <a:cubicBezTo>
                    <a:pt x="521" y="552"/>
                    <a:pt x="526" y="538"/>
                    <a:pt x="528" y="534"/>
                  </a:cubicBezTo>
                  <a:cubicBezTo>
                    <a:pt x="530" y="530"/>
                    <a:pt x="525" y="507"/>
                    <a:pt x="525" y="507"/>
                  </a:cubicBezTo>
                  <a:cubicBezTo>
                    <a:pt x="491" y="537"/>
                    <a:pt x="491" y="537"/>
                    <a:pt x="491" y="537"/>
                  </a:cubicBezTo>
                  <a:cubicBezTo>
                    <a:pt x="449" y="541"/>
                    <a:pt x="449" y="541"/>
                    <a:pt x="449" y="541"/>
                  </a:cubicBezTo>
                  <a:cubicBezTo>
                    <a:pt x="449" y="541"/>
                    <a:pt x="441" y="522"/>
                    <a:pt x="438" y="515"/>
                  </a:cubicBezTo>
                  <a:cubicBezTo>
                    <a:pt x="435" y="508"/>
                    <a:pt x="399" y="509"/>
                    <a:pt x="399" y="509"/>
                  </a:cubicBezTo>
                  <a:cubicBezTo>
                    <a:pt x="399" y="509"/>
                    <a:pt x="414" y="496"/>
                    <a:pt x="416" y="491"/>
                  </a:cubicBezTo>
                  <a:cubicBezTo>
                    <a:pt x="418" y="486"/>
                    <a:pt x="396" y="471"/>
                    <a:pt x="391" y="465"/>
                  </a:cubicBezTo>
                  <a:cubicBezTo>
                    <a:pt x="386" y="459"/>
                    <a:pt x="373" y="438"/>
                    <a:pt x="373" y="438"/>
                  </a:cubicBezTo>
                  <a:cubicBezTo>
                    <a:pt x="371" y="420"/>
                    <a:pt x="371" y="420"/>
                    <a:pt x="371" y="420"/>
                  </a:cubicBezTo>
                  <a:cubicBezTo>
                    <a:pt x="371" y="420"/>
                    <a:pt x="356" y="414"/>
                    <a:pt x="356" y="409"/>
                  </a:cubicBezTo>
                  <a:cubicBezTo>
                    <a:pt x="356" y="404"/>
                    <a:pt x="371" y="396"/>
                    <a:pt x="371" y="396"/>
                  </a:cubicBezTo>
                  <a:cubicBezTo>
                    <a:pt x="365" y="392"/>
                    <a:pt x="365" y="392"/>
                    <a:pt x="365" y="392"/>
                  </a:cubicBezTo>
                  <a:cubicBezTo>
                    <a:pt x="365" y="392"/>
                    <a:pt x="360" y="378"/>
                    <a:pt x="368" y="370"/>
                  </a:cubicBezTo>
                  <a:cubicBezTo>
                    <a:pt x="376" y="362"/>
                    <a:pt x="389" y="345"/>
                    <a:pt x="395" y="354"/>
                  </a:cubicBezTo>
                  <a:cubicBezTo>
                    <a:pt x="401" y="363"/>
                    <a:pt x="391" y="338"/>
                    <a:pt x="389" y="331"/>
                  </a:cubicBezTo>
                  <a:cubicBezTo>
                    <a:pt x="387" y="324"/>
                    <a:pt x="402" y="315"/>
                    <a:pt x="402" y="315"/>
                  </a:cubicBezTo>
                  <a:cubicBezTo>
                    <a:pt x="403" y="277"/>
                    <a:pt x="403" y="277"/>
                    <a:pt x="403" y="277"/>
                  </a:cubicBezTo>
                  <a:cubicBezTo>
                    <a:pt x="419" y="277"/>
                    <a:pt x="419" y="277"/>
                    <a:pt x="419" y="277"/>
                  </a:cubicBezTo>
                  <a:cubicBezTo>
                    <a:pt x="419" y="277"/>
                    <a:pt x="420" y="269"/>
                    <a:pt x="422" y="265"/>
                  </a:cubicBezTo>
                  <a:cubicBezTo>
                    <a:pt x="424" y="261"/>
                    <a:pt x="450" y="244"/>
                    <a:pt x="450" y="244"/>
                  </a:cubicBezTo>
                  <a:cubicBezTo>
                    <a:pt x="471" y="244"/>
                    <a:pt x="471" y="244"/>
                    <a:pt x="471" y="244"/>
                  </a:cubicBezTo>
                  <a:cubicBezTo>
                    <a:pt x="473" y="237"/>
                    <a:pt x="473" y="237"/>
                    <a:pt x="473" y="237"/>
                  </a:cubicBezTo>
                  <a:cubicBezTo>
                    <a:pt x="492" y="240"/>
                    <a:pt x="492" y="240"/>
                    <a:pt x="492" y="240"/>
                  </a:cubicBezTo>
                  <a:cubicBezTo>
                    <a:pt x="492" y="240"/>
                    <a:pt x="503" y="225"/>
                    <a:pt x="513" y="224"/>
                  </a:cubicBezTo>
                  <a:cubicBezTo>
                    <a:pt x="523" y="223"/>
                    <a:pt x="527" y="236"/>
                    <a:pt x="527" y="236"/>
                  </a:cubicBezTo>
                  <a:cubicBezTo>
                    <a:pt x="527" y="236"/>
                    <a:pt x="534" y="239"/>
                    <a:pt x="539" y="236"/>
                  </a:cubicBezTo>
                  <a:cubicBezTo>
                    <a:pt x="541" y="235"/>
                    <a:pt x="542" y="231"/>
                    <a:pt x="543" y="227"/>
                  </a:cubicBezTo>
                  <a:cubicBezTo>
                    <a:pt x="532" y="223"/>
                    <a:pt x="532" y="223"/>
                    <a:pt x="532" y="223"/>
                  </a:cubicBezTo>
                  <a:cubicBezTo>
                    <a:pt x="526" y="207"/>
                    <a:pt x="526" y="207"/>
                    <a:pt x="526" y="207"/>
                  </a:cubicBezTo>
                  <a:cubicBezTo>
                    <a:pt x="526" y="207"/>
                    <a:pt x="512" y="212"/>
                    <a:pt x="509" y="206"/>
                  </a:cubicBezTo>
                  <a:cubicBezTo>
                    <a:pt x="506" y="201"/>
                    <a:pt x="515" y="171"/>
                    <a:pt x="520" y="171"/>
                  </a:cubicBezTo>
                  <a:cubicBezTo>
                    <a:pt x="525" y="171"/>
                    <a:pt x="533" y="163"/>
                    <a:pt x="533" y="148"/>
                  </a:cubicBezTo>
                  <a:cubicBezTo>
                    <a:pt x="533" y="134"/>
                    <a:pt x="505" y="135"/>
                    <a:pt x="505" y="135"/>
                  </a:cubicBezTo>
                  <a:cubicBezTo>
                    <a:pt x="505" y="135"/>
                    <a:pt x="497" y="123"/>
                    <a:pt x="493" y="122"/>
                  </a:cubicBezTo>
                  <a:cubicBezTo>
                    <a:pt x="489" y="121"/>
                    <a:pt x="481" y="130"/>
                    <a:pt x="472" y="130"/>
                  </a:cubicBezTo>
                  <a:cubicBezTo>
                    <a:pt x="464" y="130"/>
                    <a:pt x="463" y="123"/>
                    <a:pt x="449" y="120"/>
                  </a:cubicBezTo>
                  <a:cubicBezTo>
                    <a:pt x="435" y="117"/>
                    <a:pt x="434" y="138"/>
                    <a:pt x="434" y="138"/>
                  </a:cubicBezTo>
                  <a:cubicBezTo>
                    <a:pt x="434" y="138"/>
                    <a:pt x="412" y="138"/>
                    <a:pt x="393" y="133"/>
                  </a:cubicBezTo>
                  <a:cubicBezTo>
                    <a:pt x="374" y="128"/>
                    <a:pt x="389" y="113"/>
                    <a:pt x="388" y="106"/>
                  </a:cubicBezTo>
                  <a:cubicBezTo>
                    <a:pt x="387" y="98"/>
                    <a:pt x="369" y="97"/>
                    <a:pt x="369" y="97"/>
                  </a:cubicBezTo>
                  <a:cubicBezTo>
                    <a:pt x="369" y="97"/>
                    <a:pt x="367" y="79"/>
                    <a:pt x="364" y="73"/>
                  </a:cubicBezTo>
                  <a:cubicBezTo>
                    <a:pt x="362" y="67"/>
                    <a:pt x="354" y="70"/>
                    <a:pt x="354" y="70"/>
                  </a:cubicBezTo>
                  <a:cubicBezTo>
                    <a:pt x="343" y="57"/>
                    <a:pt x="343" y="57"/>
                    <a:pt x="343" y="57"/>
                  </a:cubicBezTo>
                  <a:cubicBezTo>
                    <a:pt x="335" y="57"/>
                    <a:pt x="335" y="57"/>
                    <a:pt x="335" y="57"/>
                  </a:cubicBezTo>
                  <a:cubicBezTo>
                    <a:pt x="327" y="33"/>
                    <a:pt x="327" y="33"/>
                    <a:pt x="327" y="33"/>
                  </a:cubicBezTo>
                  <a:cubicBezTo>
                    <a:pt x="327" y="33"/>
                    <a:pt x="297" y="9"/>
                    <a:pt x="290" y="5"/>
                  </a:cubicBezTo>
                  <a:cubicBezTo>
                    <a:pt x="284" y="1"/>
                    <a:pt x="274" y="1"/>
                    <a:pt x="264" y="0"/>
                  </a:cubicBezTo>
                  <a:cubicBezTo>
                    <a:pt x="264" y="0"/>
                    <a:pt x="264" y="0"/>
                    <a:pt x="264" y="0"/>
                  </a:cubicBezTo>
                  <a:cubicBezTo>
                    <a:pt x="269" y="0"/>
                    <a:pt x="273" y="1"/>
                    <a:pt x="278" y="1"/>
                  </a:cubicBezTo>
                  <a:cubicBezTo>
                    <a:pt x="279" y="19"/>
                    <a:pt x="268" y="19"/>
                    <a:pt x="268" y="19"/>
                  </a:cubicBezTo>
                  <a:cubicBezTo>
                    <a:pt x="284" y="31"/>
                    <a:pt x="284" y="31"/>
                    <a:pt x="284" y="31"/>
                  </a:cubicBezTo>
                  <a:cubicBezTo>
                    <a:pt x="287" y="53"/>
                    <a:pt x="287" y="53"/>
                    <a:pt x="287" y="53"/>
                  </a:cubicBezTo>
                  <a:cubicBezTo>
                    <a:pt x="277" y="58"/>
                    <a:pt x="277" y="58"/>
                    <a:pt x="277" y="58"/>
                  </a:cubicBezTo>
                  <a:cubicBezTo>
                    <a:pt x="269" y="87"/>
                    <a:pt x="269" y="87"/>
                    <a:pt x="269" y="87"/>
                  </a:cubicBezTo>
                  <a:cubicBezTo>
                    <a:pt x="269" y="87"/>
                    <a:pt x="241" y="128"/>
                    <a:pt x="218" y="143"/>
                  </a:cubicBezTo>
                  <a:cubicBezTo>
                    <a:pt x="195" y="157"/>
                    <a:pt x="174" y="157"/>
                    <a:pt x="161" y="168"/>
                  </a:cubicBezTo>
                  <a:cubicBezTo>
                    <a:pt x="147" y="179"/>
                    <a:pt x="147" y="186"/>
                    <a:pt x="147" y="186"/>
                  </a:cubicBezTo>
                  <a:cubicBezTo>
                    <a:pt x="139" y="189"/>
                    <a:pt x="139" y="189"/>
                    <a:pt x="139" y="189"/>
                  </a:cubicBezTo>
                  <a:cubicBezTo>
                    <a:pt x="142" y="201"/>
                    <a:pt x="142" y="201"/>
                    <a:pt x="142" y="201"/>
                  </a:cubicBezTo>
                  <a:cubicBezTo>
                    <a:pt x="142" y="201"/>
                    <a:pt x="134" y="206"/>
                    <a:pt x="132" y="216"/>
                  </a:cubicBezTo>
                  <a:cubicBezTo>
                    <a:pt x="131" y="225"/>
                    <a:pt x="128" y="252"/>
                    <a:pt x="128" y="252"/>
                  </a:cubicBezTo>
                  <a:cubicBezTo>
                    <a:pt x="128" y="252"/>
                    <a:pt x="119" y="254"/>
                    <a:pt x="115" y="256"/>
                  </a:cubicBezTo>
                  <a:cubicBezTo>
                    <a:pt x="111" y="259"/>
                    <a:pt x="116" y="270"/>
                    <a:pt x="103" y="270"/>
                  </a:cubicBezTo>
                  <a:cubicBezTo>
                    <a:pt x="89" y="270"/>
                    <a:pt x="93" y="246"/>
                    <a:pt x="88" y="241"/>
                  </a:cubicBezTo>
                  <a:cubicBezTo>
                    <a:pt x="82" y="237"/>
                    <a:pt x="69" y="243"/>
                    <a:pt x="69" y="243"/>
                  </a:cubicBezTo>
                  <a:cubicBezTo>
                    <a:pt x="60" y="232"/>
                    <a:pt x="60" y="232"/>
                    <a:pt x="60" y="232"/>
                  </a:cubicBezTo>
                  <a:cubicBezTo>
                    <a:pt x="60" y="232"/>
                    <a:pt x="50" y="250"/>
                    <a:pt x="40" y="246"/>
                  </a:cubicBezTo>
                  <a:cubicBezTo>
                    <a:pt x="31" y="241"/>
                    <a:pt x="47" y="232"/>
                    <a:pt x="47" y="232"/>
                  </a:cubicBezTo>
                  <a:cubicBezTo>
                    <a:pt x="37" y="224"/>
                    <a:pt x="37" y="224"/>
                    <a:pt x="37" y="224"/>
                  </a:cubicBezTo>
                  <a:cubicBezTo>
                    <a:pt x="37" y="224"/>
                    <a:pt x="50" y="212"/>
                    <a:pt x="58" y="203"/>
                  </a:cubicBezTo>
                  <a:cubicBezTo>
                    <a:pt x="67" y="194"/>
                    <a:pt x="43" y="188"/>
                    <a:pt x="43" y="188"/>
                  </a:cubicBezTo>
                  <a:cubicBezTo>
                    <a:pt x="43" y="188"/>
                    <a:pt x="17" y="216"/>
                    <a:pt x="9" y="223"/>
                  </a:cubicBezTo>
                  <a:cubicBezTo>
                    <a:pt x="1" y="230"/>
                    <a:pt x="0" y="241"/>
                    <a:pt x="0" y="254"/>
                  </a:cubicBezTo>
                  <a:cubicBezTo>
                    <a:pt x="0" y="267"/>
                    <a:pt x="12" y="264"/>
                    <a:pt x="12" y="264"/>
                  </a:cubicBezTo>
                  <a:cubicBezTo>
                    <a:pt x="9" y="282"/>
                    <a:pt x="9" y="282"/>
                    <a:pt x="9" y="282"/>
                  </a:cubicBezTo>
                  <a:cubicBezTo>
                    <a:pt x="9" y="282"/>
                    <a:pt x="26" y="292"/>
                    <a:pt x="27" y="304"/>
                  </a:cubicBezTo>
                  <a:cubicBezTo>
                    <a:pt x="28" y="316"/>
                    <a:pt x="8" y="317"/>
                    <a:pt x="8" y="331"/>
                  </a:cubicBezTo>
                  <a:cubicBezTo>
                    <a:pt x="8" y="345"/>
                    <a:pt x="42" y="347"/>
                    <a:pt x="51" y="352"/>
                  </a:cubicBezTo>
                  <a:cubicBezTo>
                    <a:pt x="59" y="357"/>
                    <a:pt x="82" y="389"/>
                    <a:pt x="85" y="394"/>
                  </a:cubicBezTo>
                  <a:cubicBezTo>
                    <a:pt x="87" y="398"/>
                    <a:pt x="99" y="418"/>
                    <a:pt x="99" y="424"/>
                  </a:cubicBezTo>
                  <a:cubicBezTo>
                    <a:pt x="99" y="430"/>
                    <a:pt x="123" y="456"/>
                    <a:pt x="126" y="462"/>
                  </a:cubicBezTo>
                  <a:cubicBezTo>
                    <a:pt x="130" y="468"/>
                    <a:pt x="164" y="522"/>
                    <a:pt x="164" y="522"/>
                  </a:cubicBezTo>
                  <a:cubicBezTo>
                    <a:pt x="169" y="547"/>
                    <a:pt x="169" y="547"/>
                    <a:pt x="169" y="547"/>
                  </a:cubicBezTo>
                  <a:cubicBezTo>
                    <a:pt x="169" y="547"/>
                    <a:pt x="197" y="602"/>
                    <a:pt x="197" y="609"/>
                  </a:cubicBezTo>
                  <a:cubicBezTo>
                    <a:pt x="197" y="616"/>
                    <a:pt x="205" y="616"/>
                    <a:pt x="214" y="622"/>
                  </a:cubicBezTo>
                  <a:cubicBezTo>
                    <a:pt x="222" y="628"/>
                    <a:pt x="218" y="635"/>
                    <a:pt x="220" y="647"/>
                  </a:cubicBezTo>
                  <a:cubicBezTo>
                    <a:pt x="221" y="658"/>
                    <a:pt x="255" y="699"/>
                    <a:pt x="267" y="715"/>
                  </a:cubicBezTo>
                  <a:cubicBezTo>
                    <a:pt x="279" y="732"/>
                    <a:pt x="270" y="754"/>
                    <a:pt x="270" y="762"/>
                  </a:cubicBezTo>
                  <a:cubicBezTo>
                    <a:pt x="270" y="771"/>
                    <a:pt x="293" y="796"/>
                    <a:pt x="304" y="803"/>
                  </a:cubicBezTo>
                  <a:cubicBezTo>
                    <a:pt x="314" y="810"/>
                    <a:pt x="324" y="826"/>
                    <a:pt x="332" y="835"/>
                  </a:cubicBezTo>
                  <a:cubicBezTo>
                    <a:pt x="340" y="843"/>
                    <a:pt x="386" y="861"/>
                    <a:pt x="400" y="869"/>
                  </a:cubicBezTo>
                  <a:cubicBezTo>
                    <a:pt x="415" y="877"/>
                    <a:pt x="442" y="883"/>
                    <a:pt x="463" y="901"/>
                  </a:cubicBezTo>
                  <a:cubicBezTo>
                    <a:pt x="484" y="919"/>
                    <a:pt x="516" y="939"/>
                    <a:pt x="516" y="939"/>
                  </a:cubicBezTo>
                  <a:cubicBezTo>
                    <a:pt x="522" y="954"/>
                    <a:pt x="522" y="954"/>
                    <a:pt x="522" y="954"/>
                  </a:cubicBezTo>
                  <a:cubicBezTo>
                    <a:pt x="522" y="954"/>
                    <a:pt x="533" y="962"/>
                    <a:pt x="540" y="968"/>
                  </a:cubicBezTo>
                  <a:cubicBezTo>
                    <a:pt x="547" y="974"/>
                    <a:pt x="574" y="992"/>
                    <a:pt x="574" y="992"/>
                  </a:cubicBezTo>
                  <a:cubicBezTo>
                    <a:pt x="574" y="993"/>
                    <a:pt x="574" y="993"/>
                    <a:pt x="574" y="993"/>
                  </a:cubicBezTo>
                  <a:cubicBezTo>
                    <a:pt x="580" y="989"/>
                    <a:pt x="589" y="983"/>
                    <a:pt x="596" y="977"/>
                  </a:cubicBezTo>
                  <a:cubicBezTo>
                    <a:pt x="608" y="968"/>
                    <a:pt x="596" y="954"/>
                    <a:pt x="596" y="954"/>
                  </a:cubicBezTo>
                  <a:cubicBezTo>
                    <a:pt x="608" y="946"/>
                    <a:pt x="608" y="946"/>
                    <a:pt x="608" y="946"/>
                  </a:cubicBezTo>
                  <a:cubicBezTo>
                    <a:pt x="601" y="929"/>
                    <a:pt x="601" y="929"/>
                    <a:pt x="601" y="929"/>
                  </a:cubicBezTo>
                  <a:cubicBezTo>
                    <a:pt x="601" y="929"/>
                    <a:pt x="611" y="919"/>
                    <a:pt x="620" y="912"/>
                  </a:cubicBezTo>
                  <a:cubicBezTo>
                    <a:pt x="626" y="908"/>
                    <a:pt x="629" y="897"/>
                    <a:pt x="630" y="889"/>
                  </a:cubicBezTo>
                  <a:lnTo>
                    <a:pt x="622" y="880"/>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199" name="Freeform 160"/>
            <p:cNvSpPr>
              <a:spLocks noEditPoints="1"/>
            </p:cNvSpPr>
            <p:nvPr/>
          </p:nvSpPr>
          <p:spPr bwMode="gray">
            <a:xfrm>
              <a:off x="2398713" y="4265613"/>
              <a:ext cx="338137" cy="398463"/>
            </a:xfrm>
            <a:custGeom>
              <a:avLst/>
              <a:gdLst>
                <a:gd name="T0" fmla="*/ 1 w 604"/>
                <a:gd name="T1" fmla="*/ 70 h 712"/>
                <a:gd name="T2" fmla="*/ 599 w 604"/>
                <a:gd name="T3" fmla="*/ 500 h 712"/>
                <a:gd name="T4" fmla="*/ 584 w 604"/>
                <a:gd name="T5" fmla="*/ 421 h 712"/>
                <a:gd name="T6" fmla="*/ 561 w 604"/>
                <a:gd name="T7" fmla="*/ 361 h 712"/>
                <a:gd name="T8" fmla="*/ 468 w 604"/>
                <a:gd name="T9" fmla="*/ 314 h 712"/>
                <a:gd name="T10" fmla="*/ 463 w 604"/>
                <a:gd name="T11" fmla="*/ 290 h 712"/>
                <a:gd name="T12" fmla="*/ 450 w 604"/>
                <a:gd name="T13" fmla="*/ 250 h 712"/>
                <a:gd name="T14" fmla="*/ 418 w 604"/>
                <a:gd name="T15" fmla="*/ 209 h 712"/>
                <a:gd name="T16" fmla="*/ 367 w 604"/>
                <a:gd name="T17" fmla="*/ 190 h 712"/>
                <a:gd name="T18" fmla="*/ 320 w 604"/>
                <a:gd name="T19" fmla="*/ 163 h 712"/>
                <a:gd name="T20" fmla="*/ 290 w 604"/>
                <a:gd name="T21" fmla="*/ 152 h 712"/>
                <a:gd name="T22" fmla="*/ 258 w 604"/>
                <a:gd name="T23" fmla="*/ 153 h 712"/>
                <a:gd name="T24" fmla="*/ 230 w 604"/>
                <a:gd name="T25" fmla="*/ 130 h 712"/>
                <a:gd name="T26" fmla="*/ 210 w 604"/>
                <a:gd name="T27" fmla="*/ 97 h 712"/>
                <a:gd name="T28" fmla="*/ 200 w 604"/>
                <a:gd name="T29" fmla="*/ 52 h 712"/>
                <a:gd name="T30" fmla="*/ 211 w 604"/>
                <a:gd name="T31" fmla="*/ 4 h 712"/>
                <a:gd name="T32" fmla="*/ 183 w 604"/>
                <a:gd name="T33" fmla="*/ 6 h 712"/>
                <a:gd name="T34" fmla="*/ 151 w 604"/>
                <a:gd name="T35" fmla="*/ 13 h 712"/>
                <a:gd name="T36" fmla="*/ 104 w 604"/>
                <a:gd name="T37" fmla="*/ 38 h 712"/>
                <a:gd name="T38" fmla="*/ 76 w 604"/>
                <a:gd name="T39" fmla="*/ 57 h 712"/>
                <a:gd name="T40" fmla="*/ 50 w 604"/>
                <a:gd name="T41" fmla="*/ 81 h 712"/>
                <a:gd name="T42" fmla="*/ 9 w 604"/>
                <a:gd name="T43" fmla="*/ 71 h 712"/>
                <a:gd name="T44" fmla="*/ 52 w 604"/>
                <a:gd name="T45" fmla="*/ 157 h 712"/>
                <a:gd name="T46" fmla="*/ 50 w 604"/>
                <a:gd name="T47" fmla="*/ 204 h 712"/>
                <a:gd name="T48" fmla="*/ 52 w 604"/>
                <a:gd name="T49" fmla="*/ 246 h 712"/>
                <a:gd name="T50" fmla="*/ 44 w 604"/>
                <a:gd name="T51" fmla="*/ 304 h 712"/>
                <a:gd name="T52" fmla="*/ 39 w 604"/>
                <a:gd name="T53" fmla="*/ 318 h 712"/>
                <a:gd name="T54" fmla="*/ 62 w 604"/>
                <a:gd name="T55" fmla="*/ 339 h 712"/>
                <a:gd name="T56" fmla="*/ 76 w 604"/>
                <a:gd name="T57" fmla="*/ 359 h 712"/>
                <a:gd name="T58" fmla="*/ 62 w 604"/>
                <a:gd name="T59" fmla="*/ 369 h 712"/>
                <a:gd name="T60" fmla="*/ 33 w 604"/>
                <a:gd name="T61" fmla="*/ 409 h 712"/>
                <a:gd name="T62" fmla="*/ 39 w 604"/>
                <a:gd name="T63" fmla="*/ 427 h 712"/>
                <a:gd name="T64" fmla="*/ 64 w 604"/>
                <a:gd name="T65" fmla="*/ 449 h 712"/>
                <a:gd name="T66" fmla="*/ 105 w 604"/>
                <a:gd name="T67" fmla="*/ 525 h 712"/>
                <a:gd name="T68" fmla="*/ 104 w 604"/>
                <a:gd name="T69" fmla="*/ 554 h 712"/>
                <a:gd name="T70" fmla="*/ 102 w 604"/>
                <a:gd name="T71" fmla="*/ 588 h 712"/>
                <a:gd name="T72" fmla="*/ 134 w 604"/>
                <a:gd name="T73" fmla="*/ 627 h 712"/>
                <a:gd name="T74" fmla="*/ 147 w 604"/>
                <a:gd name="T75" fmla="*/ 684 h 712"/>
                <a:gd name="T76" fmla="*/ 188 w 604"/>
                <a:gd name="T77" fmla="*/ 708 h 712"/>
                <a:gd name="T78" fmla="*/ 199 w 604"/>
                <a:gd name="T79" fmla="*/ 691 h 712"/>
                <a:gd name="T80" fmla="*/ 214 w 604"/>
                <a:gd name="T81" fmla="*/ 674 h 712"/>
                <a:gd name="T82" fmla="*/ 241 w 604"/>
                <a:gd name="T83" fmla="*/ 670 h 712"/>
                <a:gd name="T84" fmla="*/ 318 w 604"/>
                <a:gd name="T85" fmla="*/ 707 h 712"/>
                <a:gd name="T86" fmla="*/ 374 w 604"/>
                <a:gd name="T87" fmla="*/ 664 h 712"/>
                <a:gd name="T88" fmla="*/ 403 w 604"/>
                <a:gd name="T89" fmla="*/ 607 h 712"/>
                <a:gd name="T90" fmla="*/ 413 w 604"/>
                <a:gd name="T91" fmla="*/ 558 h 712"/>
                <a:gd name="T92" fmla="*/ 486 w 604"/>
                <a:gd name="T93" fmla="*/ 527 h 712"/>
                <a:gd name="T94" fmla="*/ 574 w 604"/>
                <a:gd name="T95" fmla="*/ 546 h 712"/>
                <a:gd name="T96" fmla="*/ 602 w 604"/>
                <a:gd name="T97" fmla="*/ 555 h 712"/>
                <a:gd name="T98" fmla="*/ 603 w 604"/>
                <a:gd name="T99" fmla="*/ 508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04" h="712">
                  <a:moveTo>
                    <a:pt x="0" y="70"/>
                  </a:moveTo>
                  <a:cubicBezTo>
                    <a:pt x="1" y="70"/>
                    <a:pt x="1" y="70"/>
                    <a:pt x="1" y="70"/>
                  </a:cubicBezTo>
                  <a:cubicBezTo>
                    <a:pt x="1" y="70"/>
                    <a:pt x="1" y="70"/>
                    <a:pt x="0" y="70"/>
                  </a:cubicBezTo>
                  <a:close/>
                  <a:moveTo>
                    <a:pt x="599" y="500"/>
                  </a:moveTo>
                  <a:cubicBezTo>
                    <a:pt x="599" y="500"/>
                    <a:pt x="604" y="474"/>
                    <a:pt x="604" y="460"/>
                  </a:cubicBezTo>
                  <a:cubicBezTo>
                    <a:pt x="604" y="446"/>
                    <a:pt x="595" y="428"/>
                    <a:pt x="584" y="421"/>
                  </a:cubicBezTo>
                  <a:cubicBezTo>
                    <a:pt x="573" y="414"/>
                    <a:pt x="564" y="413"/>
                    <a:pt x="557" y="404"/>
                  </a:cubicBezTo>
                  <a:cubicBezTo>
                    <a:pt x="550" y="395"/>
                    <a:pt x="561" y="361"/>
                    <a:pt x="561" y="361"/>
                  </a:cubicBezTo>
                  <a:cubicBezTo>
                    <a:pt x="561" y="361"/>
                    <a:pt x="484" y="363"/>
                    <a:pt x="471" y="354"/>
                  </a:cubicBezTo>
                  <a:cubicBezTo>
                    <a:pt x="458" y="345"/>
                    <a:pt x="468" y="314"/>
                    <a:pt x="468" y="314"/>
                  </a:cubicBezTo>
                  <a:cubicBezTo>
                    <a:pt x="468" y="314"/>
                    <a:pt x="452" y="300"/>
                    <a:pt x="450" y="294"/>
                  </a:cubicBezTo>
                  <a:cubicBezTo>
                    <a:pt x="448" y="288"/>
                    <a:pt x="463" y="290"/>
                    <a:pt x="463" y="290"/>
                  </a:cubicBezTo>
                  <a:cubicBezTo>
                    <a:pt x="461" y="269"/>
                    <a:pt x="461" y="269"/>
                    <a:pt x="461" y="269"/>
                  </a:cubicBezTo>
                  <a:cubicBezTo>
                    <a:pt x="461" y="269"/>
                    <a:pt x="454" y="257"/>
                    <a:pt x="450" y="250"/>
                  </a:cubicBezTo>
                  <a:cubicBezTo>
                    <a:pt x="446" y="243"/>
                    <a:pt x="451" y="240"/>
                    <a:pt x="450" y="230"/>
                  </a:cubicBezTo>
                  <a:cubicBezTo>
                    <a:pt x="449" y="220"/>
                    <a:pt x="429" y="211"/>
                    <a:pt x="418" y="209"/>
                  </a:cubicBezTo>
                  <a:cubicBezTo>
                    <a:pt x="407" y="207"/>
                    <a:pt x="396" y="212"/>
                    <a:pt x="386" y="211"/>
                  </a:cubicBezTo>
                  <a:cubicBezTo>
                    <a:pt x="376" y="210"/>
                    <a:pt x="367" y="190"/>
                    <a:pt x="367" y="190"/>
                  </a:cubicBezTo>
                  <a:cubicBezTo>
                    <a:pt x="367" y="190"/>
                    <a:pt x="351" y="189"/>
                    <a:pt x="340" y="184"/>
                  </a:cubicBezTo>
                  <a:cubicBezTo>
                    <a:pt x="329" y="179"/>
                    <a:pt x="321" y="167"/>
                    <a:pt x="320" y="163"/>
                  </a:cubicBezTo>
                  <a:cubicBezTo>
                    <a:pt x="319" y="159"/>
                    <a:pt x="312" y="166"/>
                    <a:pt x="304" y="166"/>
                  </a:cubicBezTo>
                  <a:cubicBezTo>
                    <a:pt x="296" y="166"/>
                    <a:pt x="290" y="152"/>
                    <a:pt x="290" y="152"/>
                  </a:cubicBezTo>
                  <a:cubicBezTo>
                    <a:pt x="290" y="152"/>
                    <a:pt x="280" y="159"/>
                    <a:pt x="276" y="158"/>
                  </a:cubicBezTo>
                  <a:cubicBezTo>
                    <a:pt x="272" y="157"/>
                    <a:pt x="268" y="157"/>
                    <a:pt x="258" y="153"/>
                  </a:cubicBezTo>
                  <a:cubicBezTo>
                    <a:pt x="248" y="149"/>
                    <a:pt x="252" y="138"/>
                    <a:pt x="249" y="133"/>
                  </a:cubicBezTo>
                  <a:cubicBezTo>
                    <a:pt x="246" y="128"/>
                    <a:pt x="230" y="130"/>
                    <a:pt x="230" y="130"/>
                  </a:cubicBezTo>
                  <a:cubicBezTo>
                    <a:pt x="224" y="110"/>
                    <a:pt x="224" y="110"/>
                    <a:pt x="224" y="110"/>
                  </a:cubicBezTo>
                  <a:cubicBezTo>
                    <a:pt x="224" y="110"/>
                    <a:pt x="217" y="106"/>
                    <a:pt x="210" y="97"/>
                  </a:cubicBezTo>
                  <a:cubicBezTo>
                    <a:pt x="203" y="88"/>
                    <a:pt x="210" y="82"/>
                    <a:pt x="210" y="73"/>
                  </a:cubicBezTo>
                  <a:cubicBezTo>
                    <a:pt x="210" y="64"/>
                    <a:pt x="201" y="56"/>
                    <a:pt x="200" y="52"/>
                  </a:cubicBezTo>
                  <a:cubicBezTo>
                    <a:pt x="199" y="48"/>
                    <a:pt x="207" y="35"/>
                    <a:pt x="207" y="35"/>
                  </a:cubicBezTo>
                  <a:cubicBezTo>
                    <a:pt x="207" y="35"/>
                    <a:pt x="215" y="8"/>
                    <a:pt x="211" y="4"/>
                  </a:cubicBezTo>
                  <a:cubicBezTo>
                    <a:pt x="207" y="0"/>
                    <a:pt x="194" y="8"/>
                    <a:pt x="193" y="12"/>
                  </a:cubicBezTo>
                  <a:cubicBezTo>
                    <a:pt x="192" y="16"/>
                    <a:pt x="183" y="6"/>
                    <a:pt x="183" y="6"/>
                  </a:cubicBezTo>
                  <a:cubicBezTo>
                    <a:pt x="174" y="14"/>
                    <a:pt x="174" y="14"/>
                    <a:pt x="174" y="14"/>
                  </a:cubicBezTo>
                  <a:cubicBezTo>
                    <a:pt x="174" y="14"/>
                    <a:pt x="164" y="13"/>
                    <a:pt x="151" y="13"/>
                  </a:cubicBezTo>
                  <a:cubicBezTo>
                    <a:pt x="138" y="13"/>
                    <a:pt x="128" y="39"/>
                    <a:pt x="128" y="39"/>
                  </a:cubicBezTo>
                  <a:cubicBezTo>
                    <a:pt x="104" y="38"/>
                    <a:pt x="104" y="38"/>
                    <a:pt x="104" y="38"/>
                  </a:cubicBezTo>
                  <a:cubicBezTo>
                    <a:pt x="100" y="56"/>
                    <a:pt x="100" y="56"/>
                    <a:pt x="100" y="56"/>
                  </a:cubicBezTo>
                  <a:cubicBezTo>
                    <a:pt x="76" y="57"/>
                    <a:pt x="76" y="57"/>
                    <a:pt x="76" y="57"/>
                  </a:cubicBezTo>
                  <a:cubicBezTo>
                    <a:pt x="71" y="69"/>
                    <a:pt x="71" y="69"/>
                    <a:pt x="71" y="69"/>
                  </a:cubicBezTo>
                  <a:cubicBezTo>
                    <a:pt x="71" y="69"/>
                    <a:pt x="63" y="78"/>
                    <a:pt x="50" y="81"/>
                  </a:cubicBezTo>
                  <a:cubicBezTo>
                    <a:pt x="37" y="84"/>
                    <a:pt x="34" y="73"/>
                    <a:pt x="34" y="73"/>
                  </a:cubicBezTo>
                  <a:cubicBezTo>
                    <a:pt x="34" y="73"/>
                    <a:pt x="21" y="72"/>
                    <a:pt x="9" y="71"/>
                  </a:cubicBezTo>
                  <a:cubicBezTo>
                    <a:pt x="11" y="80"/>
                    <a:pt x="18" y="101"/>
                    <a:pt x="29" y="112"/>
                  </a:cubicBezTo>
                  <a:cubicBezTo>
                    <a:pt x="44" y="125"/>
                    <a:pt x="54" y="150"/>
                    <a:pt x="52" y="157"/>
                  </a:cubicBezTo>
                  <a:cubicBezTo>
                    <a:pt x="51" y="163"/>
                    <a:pt x="41" y="174"/>
                    <a:pt x="41" y="174"/>
                  </a:cubicBezTo>
                  <a:cubicBezTo>
                    <a:pt x="50" y="204"/>
                    <a:pt x="50" y="204"/>
                    <a:pt x="50" y="204"/>
                  </a:cubicBezTo>
                  <a:cubicBezTo>
                    <a:pt x="37" y="224"/>
                    <a:pt x="37" y="224"/>
                    <a:pt x="37" y="224"/>
                  </a:cubicBezTo>
                  <a:cubicBezTo>
                    <a:pt x="37" y="224"/>
                    <a:pt x="56" y="237"/>
                    <a:pt x="52" y="246"/>
                  </a:cubicBezTo>
                  <a:cubicBezTo>
                    <a:pt x="48" y="256"/>
                    <a:pt x="33" y="264"/>
                    <a:pt x="35" y="279"/>
                  </a:cubicBezTo>
                  <a:cubicBezTo>
                    <a:pt x="36" y="293"/>
                    <a:pt x="44" y="304"/>
                    <a:pt x="44" y="304"/>
                  </a:cubicBezTo>
                  <a:cubicBezTo>
                    <a:pt x="39" y="315"/>
                    <a:pt x="39" y="315"/>
                    <a:pt x="39" y="315"/>
                  </a:cubicBezTo>
                  <a:cubicBezTo>
                    <a:pt x="39" y="315"/>
                    <a:pt x="39" y="316"/>
                    <a:pt x="39" y="318"/>
                  </a:cubicBezTo>
                  <a:cubicBezTo>
                    <a:pt x="44" y="322"/>
                    <a:pt x="47" y="326"/>
                    <a:pt x="47" y="326"/>
                  </a:cubicBezTo>
                  <a:cubicBezTo>
                    <a:pt x="62" y="339"/>
                    <a:pt x="62" y="339"/>
                    <a:pt x="62" y="339"/>
                  </a:cubicBezTo>
                  <a:cubicBezTo>
                    <a:pt x="63" y="351"/>
                    <a:pt x="63" y="351"/>
                    <a:pt x="63" y="351"/>
                  </a:cubicBezTo>
                  <a:cubicBezTo>
                    <a:pt x="76" y="359"/>
                    <a:pt x="76" y="359"/>
                    <a:pt x="76" y="359"/>
                  </a:cubicBezTo>
                  <a:cubicBezTo>
                    <a:pt x="68" y="376"/>
                    <a:pt x="68" y="376"/>
                    <a:pt x="68" y="376"/>
                  </a:cubicBezTo>
                  <a:cubicBezTo>
                    <a:pt x="62" y="369"/>
                    <a:pt x="62" y="369"/>
                    <a:pt x="62" y="369"/>
                  </a:cubicBezTo>
                  <a:cubicBezTo>
                    <a:pt x="61" y="377"/>
                    <a:pt x="58" y="388"/>
                    <a:pt x="52" y="392"/>
                  </a:cubicBezTo>
                  <a:cubicBezTo>
                    <a:pt x="43" y="399"/>
                    <a:pt x="33" y="409"/>
                    <a:pt x="33" y="409"/>
                  </a:cubicBezTo>
                  <a:cubicBezTo>
                    <a:pt x="40" y="426"/>
                    <a:pt x="40" y="426"/>
                    <a:pt x="40" y="426"/>
                  </a:cubicBezTo>
                  <a:cubicBezTo>
                    <a:pt x="39" y="427"/>
                    <a:pt x="39" y="427"/>
                    <a:pt x="39" y="427"/>
                  </a:cubicBezTo>
                  <a:cubicBezTo>
                    <a:pt x="50" y="449"/>
                    <a:pt x="50" y="449"/>
                    <a:pt x="50" y="449"/>
                  </a:cubicBezTo>
                  <a:cubicBezTo>
                    <a:pt x="64" y="449"/>
                    <a:pt x="64" y="449"/>
                    <a:pt x="64" y="449"/>
                  </a:cubicBezTo>
                  <a:cubicBezTo>
                    <a:pt x="73" y="501"/>
                    <a:pt x="73" y="501"/>
                    <a:pt x="73" y="501"/>
                  </a:cubicBezTo>
                  <a:cubicBezTo>
                    <a:pt x="73" y="501"/>
                    <a:pt x="109" y="513"/>
                    <a:pt x="105" y="525"/>
                  </a:cubicBezTo>
                  <a:cubicBezTo>
                    <a:pt x="101" y="537"/>
                    <a:pt x="93" y="543"/>
                    <a:pt x="93" y="543"/>
                  </a:cubicBezTo>
                  <a:cubicBezTo>
                    <a:pt x="104" y="554"/>
                    <a:pt x="104" y="554"/>
                    <a:pt x="104" y="554"/>
                  </a:cubicBezTo>
                  <a:cubicBezTo>
                    <a:pt x="104" y="554"/>
                    <a:pt x="89" y="566"/>
                    <a:pt x="93" y="575"/>
                  </a:cubicBezTo>
                  <a:cubicBezTo>
                    <a:pt x="97" y="585"/>
                    <a:pt x="102" y="588"/>
                    <a:pt x="102" y="588"/>
                  </a:cubicBezTo>
                  <a:cubicBezTo>
                    <a:pt x="102" y="605"/>
                    <a:pt x="102" y="605"/>
                    <a:pt x="102" y="605"/>
                  </a:cubicBezTo>
                  <a:cubicBezTo>
                    <a:pt x="102" y="605"/>
                    <a:pt x="131" y="616"/>
                    <a:pt x="134" y="627"/>
                  </a:cubicBezTo>
                  <a:cubicBezTo>
                    <a:pt x="136" y="638"/>
                    <a:pt x="134" y="668"/>
                    <a:pt x="134" y="668"/>
                  </a:cubicBezTo>
                  <a:cubicBezTo>
                    <a:pt x="147" y="684"/>
                    <a:pt x="147" y="684"/>
                    <a:pt x="147" y="684"/>
                  </a:cubicBezTo>
                  <a:cubicBezTo>
                    <a:pt x="147" y="684"/>
                    <a:pt x="146" y="710"/>
                    <a:pt x="158" y="711"/>
                  </a:cubicBezTo>
                  <a:cubicBezTo>
                    <a:pt x="170" y="712"/>
                    <a:pt x="188" y="708"/>
                    <a:pt x="188" y="708"/>
                  </a:cubicBezTo>
                  <a:cubicBezTo>
                    <a:pt x="188" y="689"/>
                    <a:pt x="188" y="689"/>
                    <a:pt x="188" y="689"/>
                  </a:cubicBezTo>
                  <a:cubicBezTo>
                    <a:pt x="199" y="691"/>
                    <a:pt x="199" y="691"/>
                    <a:pt x="199" y="691"/>
                  </a:cubicBezTo>
                  <a:cubicBezTo>
                    <a:pt x="199" y="677"/>
                    <a:pt x="199" y="677"/>
                    <a:pt x="199" y="677"/>
                  </a:cubicBezTo>
                  <a:cubicBezTo>
                    <a:pt x="214" y="674"/>
                    <a:pt x="214" y="674"/>
                    <a:pt x="214" y="674"/>
                  </a:cubicBezTo>
                  <a:cubicBezTo>
                    <a:pt x="222" y="657"/>
                    <a:pt x="222" y="657"/>
                    <a:pt x="222" y="657"/>
                  </a:cubicBezTo>
                  <a:cubicBezTo>
                    <a:pt x="222" y="657"/>
                    <a:pt x="227" y="666"/>
                    <a:pt x="241" y="670"/>
                  </a:cubicBezTo>
                  <a:cubicBezTo>
                    <a:pt x="254" y="674"/>
                    <a:pt x="296" y="673"/>
                    <a:pt x="296" y="673"/>
                  </a:cubicBezTo>
                  <a:cubicBezTo>
                    <a:pt x="318" y="707"/>
                    <a:pt x="318" y="707"/>
                    <a:pt x="318" y="707"/>
                  </a:cubicBezTo>
                  <a:cubicBezTo>
                    <a:pt x="323" y="670"/>
                    <a:pt x="323" y="670"/>
                    <a:pt x="323" y="670"/>
                  </a:cubicBezTo>
                  <a:cubicBezTo>
                    <a:pt x="374" y="664"/>
                    <a:pt x="374" y="664"/>
                    <a:pt x="374" y="664"/>
                  </a:cubicBezTo>
                  <a:cubicBezTo>
                    <a:pt x="397" y="681"/>
                    <a:pt x="397" y="681"/>
                    <a:pt x="397" y="681"/>
                  </a:cubicBezTo>
                  <a:cubicBezTo>
                    <a:pt x="397" y="681"/>
                    <a:pt x="405" y="613"/>
                    <a:pt x="403" y="607"/>
                  </a:cubicBezTo>
                  <a:cubicBezTo>
                    <a:pt x="402" y="600"/>
                    <a:pt x="387" y="578"/>
                    <a:pt x="394" y="574"/>
                  </a:cubicBezTo>
                  <a:cubicBezTo>
                    <a:pt x="401" y="570"/>
                    <a:pt x="413" y="558"/>
                    <a:pt x="413" y="558"/>
                  </a:cubicBezTo>
                  <a:cubicBezTo>
                    <a:pt x="417" y="539"/>
                    <a:pt x="417" y="539"/>
                    <a:pt x="417" y="539"/>
                  </a:cubicBezTo>
                  <a:cubicBezTo>
                    <a:pt x="486" y="527"/>
                    <a:pt x="486" y="527"/>
                    <a:pt x="486" y="527"/>
                  </a:cubicBezTo>
                  <a:cubicBezTo>
                    <a:pt x="539" y="518"/>
                    <a:pt x="539" y="518"/>
                    <a:pt x="539" y="518"/>
                  </a:cubicBezTo>
                  <a:cubicBezTo>
                    <a:pt x="574" y="546"/>
                    <a:pt x="574" y="546"/>
                    <a:pt x="574" y="546"/>
                  </a:cubicBezTo>
                  <a:cubicBezTo>
                    <a:pt x="587" y="569"/>
                    <a:pt x="587" y="569"/>
                    <a:pt x="587" y="569"/>
                  </a:cubicBezTo>
                  <a:cubicBezTo>
                    <a:pt x="587" y="563"/>
                    <a:pt x="602" y="555"/>
                    <a:pt x="602" y="555"/>
                  </a:cubicBezTo>
                  <a:cubicBezTo>
                    <a:pt x="602" y="555"/>
                    <a:pt x="590" y="545"/>
                    <a:pt x="588" y="540"/>
                  </a:cubicBezTo>
                  <a:cubicBezTo>
                    <a:pt x="586" y="535"/>
                    <a:pt x="603" y="508"/>
                    <a:pt x="603" y="508"/>
                  </a:cubicBezTo>
                  <a:lnTo>
                    <a:pt x="599" y="500"/>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200" name="Freeform 161"/>
            <p:cNvSpPr>
              <a:spLocks/>
            </p:cNvSpPr>
            <p:nvPr/>
          </p:nvSpPr>
          <p:spPr bwMode="gray">
            <a:xfrm>
              <a:off x="5602288" y="2608263"/>
              <a:ext cx="446087" cy="250825"/>
            </a:xfrm>
            <a:custGeom>
              <a:avLst/>
              <a:gdLst>
                <a:gd name="T0" fmla="*/ 764 w 798"/>
                <a:gd name="T1" fmla="*/ 243 h 447"/>
                <a:gd name="T2" fmla="*/ 745 w 798"/>
                <a:gd name="T3" fmla="*/ 230 h 447"/>
                <a:gd name="T4" fmla="*/ 721 w 798"/>
                <a:gd name="T5" fmla="*/ 212 h 447"/>
                <a:gd name="T6" fmla="*/ 712 w 798"/>
                <a:gd name="T7" fmla="*/ 222 h 447"/>
                <a:gd name="T8" fmla="*/ 689 w 798"/>
                <a:gd name="T9" fmla="*/ 229 h 447"/>
                <a:gd name="T10" fmla="*/ 660 w 798"/>
                <a:gd name="T11" fmla="*/ 212 h 447"/>
                <a:gd name="T12" fmla="*/ 690 w 798"/>
                <a:gd name="T13" fmla="*/ 175 h 447"/>
                <a:gd name="T14" fmla="*/ 653 w 798"/>
                <a:gd name="T15" fmla="*/ 185 h 447"/>
                <a:gd name="T16" fmla="*/ 623 w 798"/>
                <a:gd name="T17" fmla="*/ 208 h 447"/>
                <a:gd name="T18" fmla="*/ 596 w 798"/>
                <a:gd name="T19" fmla="*/ 236 h 447"/>
                <a:gd name="T20" fmla="*/ 573 w 798"/>
                <a:gd name="T21" fmla="*/ 259 h 447"/>
                <a:gd name="T22" fmla="*/ 509 w 798"/>
                <a:gd name="T23" fmla="*/ 228 h 447"/>
                <a:gd name="T24" fmla="*/ 469 w 798"/>
                <a:gd name="T25" fmla="*/ 188 h 447"/>
                <a:gd name="T26" fmla="*/ 441 w 798"/>
                <a:gd name="T27" fmla="*/ 136 h 447"/>
                <a:gd name="T28" fmla="*/ 379 w 798"/>
                <a:gd name="T29" fmla="*/ 105 h 447"/>
                <a:gd name="T30" fmla="*/ 272 w 798"/>
                <a:gd name="T31" fmla="*/ 108 h 447"/>
                <a:gd name="T32" fmla="*/ 177 w 798"/>
                <a:gd name="T33" fmla="*/ 38 h 447"/>
                <a:gd name="T34" fmla="*/ 174 w 798"/>
                <a:gd name="T35" fmla="*/ 75 h 447"/>
                <a:gd name="T36" fmla="*/ 149 w 798"/>
                <a:gd name="T37" fmla="*/ 55 h 447"/>
                <a:gd name="T38" fmla="*/ 145 w 798"/>
                <a:gd name="T39" fmla="*/ 23 h 447"/>
                <a:gd name="T40" fmla="*/ 106 w 798"/>
                <a:gd name="T41" fmla="*/ 20 h 447"/>
                <a:gd name="T42" fmla="*/ 116 w 798"/>
                <a:gd name="T43" fmla="*/ 45 h 447"/>
                <a:gd name="T44" fmla="*/ 92 w 798"/>
                <a:gd name="T45" fmla="*/ 37 h 447"/>
                <a:gd name="T46" fmla="*/ 103 w 798"/>
                <a:gd name="T47" fmla="*/ 3 h 447"/>
                <a:gd name="T48" fmla="*/ 0 w 798"/>
                <a:gd name="T49" fmla="*/ 31 h 447"/>
                <a:gd name="T50" fmla="*/ 37 w 798"/>
                <a:gd name="T51" fmla="*/ 217 h 447"/>
                <a:gd name="T52" fmla="*/ 92 w 798"/>
                <a:gd name="T53" fmla="*/ 224 h 447"/>
                <a:gd name="T54" fmla="*/ 112 w 798"/>
                <a:gd name="T55" fmla="*/ 175 h 447"/>
                <a:gd name="T56" fmla="*/ 139 w 798"/>
                <a:gd name="T57" fmla="*/ 169 h 447"/>
                <a:gd name="T58" fmla="*/ 139 w 798"/>
                <a:gd name="T59" fmla="*/ 152 h 447"/>
                <a:gd name="T60" fmla="*/ 155 w 798"/>
                <a:gd name="T61" fmla="*/ 161 h 447"/>
                <a:gd name="T62" fmla="*/ 169 w 798"/>
                <a:gd name="T63" fmla="*/ 168 h 447"/>
                <a:gd name="T64" fmla="*/ 201 w 798"/>
                <a:gd name="T65" fmla="*/ 173 h 447"/>
                <a:gd name="T66" fmla="*/ 219 w 798"/>
                <a:gd name="T67" fmla="*/ 197 h 447"/>
                <a:gd name="T68" fmla="*/ 243 w 798"/>
                <a:gd name="T69" fmla="*/ 227 h 447"/>
                <a:gd name="T70" fmla="*/ 279 w 798"/>
                <a:gd name="T71" fmla="*/ 225 h 447"/>
                <a:gd name="T72" fmla="*/ 312 w 798"/>
                <a:gd name="T73" fmla="*/ 256 h 447"/>
                <a:gd name="T74" fmla="*/ 336 w 798"/>
                <a:gd name="T75" fmla="*/ 293 h 447"/>
                <a:gd name="T76" fmla="*/ 381 w 798"/>
                <a:gd name="T77" fmla="*/ 319 h 447"/>
                <a:gd name="T78" fmla="*/ 417 w 798"/>
                <a:gd name="T79" fmla="*/ 348 h 447"/>
                <a:gd name="T80" fmla="*/ 444 w 798"/>
                <a:gd name="T81" fmla="*/ 357 h 447"/>
                <a:gd name="T82" fmla="*/ 476 w 798"/>
                <a:gd name="T83" fmla="*/ 376 h 447"/>
                <a:gd name="T84" fmla="*/ 516 w 798"/>
                <a:gd name="T85" fmla="*/ 387 h 447"/>
                <a:gd name="T86" fmla="*/ 548 w 798"/>
                <a:gd name="T87" fmla="*/ 425 h 447"/>
                <a:gd name="T88" fmla="*/ 563 w 798"/>
                <a:gd name="T89" fmla="*/ 437 h 447"/>
                <a:gd name="T90" fmla="*/ 580 w 798"/>
                <a:gd name="T91" fmla="*/ 445 h 447"/>
                <a:gd name="T92" fmla="*/ 596 w 798"/>
                <a:gd name="T93" fmla="*/ 440 h 447"/>
                <a:gd name="T94" fmla="*/ 603 w 798"/>
                <a:gd name="T95" fmla="*/ 445 h 447"/>
                <a:gd name="T96" fmla="*/ 622 w 798"/>
                <a:gd name="T97" fmla="*/ 397 h 447"/>
                <a:gd name="T98" fmla="*/ 603 w 798"/>
                <a:gd name="T99" fmla="*/ 353 h 447"/>
                <a:gd name="T100" fmla="*/ 575 w 798"/>
                <a:gd name="T101" fmla="*/ 339 h 447"/>
                <a:gd name="T102" fmla="*/ 567 w 798"/>
                <a:gd name="T103" fmla="*/ 321 h 447"/>
                <a:gd name="T104" fmla="*/ 610 w 798"/>
                <a:gd name="T105" fmla="*/ 305 h 447"/>
                <a:gd name="T106" fmla="*/ 607 w 798"/>
                <a:gd name="T107" fmla="*/ 282 h 447"/>
                <a:gd name="T108" fmla="*/ 626 w 798"/>
                <a:gd name="T109" fmla="*/ 264 h 447"/>
                <a:gd name="T110" fmla="*/ 652 w 798"/>
                <a:gd name="T111" fmla="*/ 260 h 447"/>
                <a:gd name="T112" fmla="*/ 694 w 798"/>
                <a:gd name="T113" fmla="*/ 251 h 447"/>
                <a:gd name="T114" fmla="*/ 701 w 798"/>
                <a:gd name="T115" fmla="*/ 283 h 447"/>
                <a:gd name="T116" fmla="*/ 741 w 798"/>
                <a:gd name="T117" fmla="*/ 286 h 447"/>
                <a:gd name="T118" fmla="*/ 766 w 798"/>
                <a:gd name="T119" fmla="*/ 271 h 447"/>
                <a:gd name="T120" fmla="*/ 788 w 798"/>
                <a:gd name="T121" fmla="*/ 254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98" h="447">
                  <a:moveTo>
                    <a:pt x="769" y="248"/>
                  </a:moveTo>
                  <a:cubicBezTo>
                    <a:pt x="764" y="243"/>
                    <a:pt x="764" y="243"/>
                    <a:pt x="764" y="243"/>
                  </a:cubicBezTo>
                  <a:cubicBezTo>
                    <a:pt x="751" y="241"/>
                    <a:pt x="751" y="241"/>
                    <a:pt x="751" y="241"/>
                  </a:cubicBezTo>
                  <a:cubicBezTo>
                    <a:pt x="745" y="230"/>
                    <a:pt x="745" y="230"/>
                    <a:pt x="745" y="230"/>
                  </a:cubicBezTo>
                  <a:cubicBezTo>
                    <a:pt x="732" y="230"/>
                    <a:pt x="732" y="230"/>
                    <a:pt x="732" y="230"/>
                  </a:cubicBezTo>
                  <a:cubicBezTo>
                    <a:pt x="721" y="212"/>
                    <a:pt x="721" y="212"/>
                    <a:pt x="721" y="212"/>
                  </a:cubicBezTo>
                  <a:cubicBezTo>
                    <a:pt x="721" y="222"/>
                    <a:pt x="721" y="222"/>
                    <a:pt x="721" y="222"/>
                  </a:cubicBezTo>
                  <a:cubicBezTo>
                    <a:pt x="712" y="222"/>
                    <a:pt x="712" y="222"/>
                    <a:pt x="712" y="222"/>
                  </a:cubicBezTo>
                  <a:cubicBezTo>
                    <a:pt x="713" y="231"/>
                    <a:pt x="713" y="231"/>
                    <a:pt x="713" y="231"/>
                  </a:cubicBezTo>
                  <a:cubicBezTo>
                    <a:pt x="713" y="231"/>
                    <a:pt x="694" y="233"/>
                    <a:pt x="689" y="229"/>
                  </a:cubicBezTo>
                  <a:cubicBezTo>
                    <a:pt x="684" y="225"/>
                    <a:pt x="683" y="220"/>
                    <a:pt x="683" y="220"/>
                  </a:cubicBezTo>
                  <a:cubicBezTo>
                    <a:pt x="660" y="212"/>
                    <a:pt x="660" y="212"/>
                    <a:pt x="660" y="212"/>
                  </a:cubicBezTo>
                  <a:cubicBezTo>
                    <a:pt x="660" y="212"/>
                    <a:pt x="696" y="183"/>
                    <a:pt x="694" y="178"/>
                  </a:cubicBezTo>
                  <a:cubicBezTo>
                    <a:pt x="693" y="177"/>
                    <a:pt x="692" y="176"/>
                    <a:pt x="690" y="175"/>
                  </a:cubicBezTo>
                  <a:cubicBezTo>
                    <a:pt x="671" y="184"/>
                    <a:pt x="671" y="184"/>
                    <a:pt x="671" y="184"/>
                  </a:cubicBezTo>
                  <a:cubicBezTo>
                    <a:pt x="653" y="185"/>
                    <a:pt x="653" y="185"/>
                    <a:pt x="653" y="185"/>
                  </a:cubicBezTo>
                  <a:cubicBezTo>
                    <a:pt x="645" y="203"/>
                    <a:pt x="645" y="203"/>
                    <a:pt x="645" y="203"/>
                  </a:cubicBezTo>
                  <a:cubicBezTo>
                    <a:pt x="645" y="203"/>
                    <a:pt x="633" y="205"/>
                    <a:pt x="623" y="208"/>
                  </a:cubicBezTo>
                  <a:cubicBezTo>
                    <a:pt x="612" y="211"/>
                    <a:pt x="613" y="229"/>
                    <a:pt x="613" y="229"/>
                  </a:cubicBezTo>
                  <a:cubicBezTo>
                    <a:pt x="613" y="229"/>
                    <a:pt x="605" y="229"/>
                    <a:pt x="596" y="236"/>
                  </a:cubicBezTo>
                  <a:cubicBezTo>
                    <a:pt x="587" y="243"/>
                    <a:pt x="595" y="267"/>
                    <a:pt x="595" y="267"/>
                  </a:cubicBezTo>
                  <a:cubicBezTo>
                    <a:pt x="595" y="267"/>
                    <a:pt x="584" y="261"/>
                    <a:pt x="573" y="259"/>
                  </a:cubicBezTo>
                  <a:cubicBezTo>
                    <a:pt x="563" y="256"/>
                    <a:pt x="580" y="243"/>
                    <a:pt x="573" y="233"/>
                  </a:cubicBezTo>
                  <a:cubicBezTo>
                    <a:pt x="567" y="224"/>
                    <a:pt x="520" y="233"/>
                    <a:pt x="509" y="228"/>
                  </a:cubicBezTo>
                  <a:cubicBezTo>
                    <a:pt x="499" y="223"/>
                    <a:pt x="497" y="199"/>
                    <a:pt x="488" y="188"/>
                  </a:cubicBezTo>
                  <a:cubicBezTo>
                    <a:pt x="479" y="177"/>
                    <a:pt x="479" y="191"/>
                    <a:pt x="469" y="188"/>
                  </a:cubicBezTo>
                  <a:cubicBezTo>
                    <a:pt x="460" y="185"/>
                    <a:pt x="467" y="137"/>
                    <a:pt x="461" y="136"/>
                  </a:cubicBezTo>
                  <a:cubicBezTo>
                    <a:pt x="456" y="135"/>
                    <a:pt x="441" y="136"/>
                    <a:pt x="441" y="136"/>
                  </a:cubicBezTo>
                  <a:cubicBezTo>
                    <a:pt x="441" y="136"/>
                    <a:pt x="411" y="93"/>
                    <a:pt x="404" y="93"/>
                  </a:cubicBezTo>
                  <a:cubicBezTo>
                    <a:pt x="397" y="93"/>
                    <a:pt x="379" y="105"/>
                    <a:pt x="379" y="105"/>
                  </a:cubicBezTo>
                  <a:cubicBezTo>
                    <a:pt x="379" y="105"/>
                    <a:pt x="341" y="101"/>
                    <a:pt x="325" y="101"/>
                  </a:cubicBezTo>
                  <a:cubicBezTo>
                    <a:pt x="309" y="101"/>
                    <a:pt x="272" y="108"/>
                    <a:pt x="272" y="108"/>
                  </a:cubicBezTo>
                  <a:cubicBezTo>
                    <a:pt x="223" y="60"/>
                    <a:pt x="223" y="60"/>
                    <a:pt x="223" y="60"/>
                  </a:cubicBezTo>
                  <a:cubicBezTo>
                    <a:pt x="177" y="38"/>
                    <a:pt x="177" y="38"/>
                    <a:pt x="177" y="38"/>
                  </a:cubicBezTo>
                  <a:cubicBezTo>
                    <a:pt x="181" y="47"/>
                    <a:pt x="186" y="56"/>
                    <a:pt x="183" y="61"/>
                  </a:cubicBezTo>
                  <a:cubicBezTo>
                    <a:pt x="178" y="70"/>
                    <a:pt x="174" y="75"/>
                    <a:pt x="174" y="75"/>
                  </a:cubicBezTo>
                  <a:cubicBezTo>
                    <a:pt x="174" y="75"/>
                    <a:pt x="162" y="76"/>
                    <a:pt x="154" y="70"/>
                  </a:cubicBezTo>
                  <a:cubicBezTo>
                    <a:pt x="146" y="64"/>
                    <a:pt x="149" y="55"/>
                    <a:pt x="149" y="55"/>
                  </a:cubicBezTo>
                  <a:cubicBezTo>
                    <a:pt x="142" y="36"/>
                    <a:pt x="142" y="36"/>
                    <a:pt x="142" y="36"/>
                  </a:cubicBezTo>
                  <a:cubicBezTo>
                    <a:pt x="145" y="23"/>
                    <a:pt x="145" y="23"/>
                    <a:pt x="145" y="23"/>
                  </a:cubicBezTo>
                  <a:cubicBezTo>
                    <a:pt x="112" y="7"/>
                    <a:pt x="112" y="7"/>
                    <a:pt x="112" y="7"/>
                  </a:cubicBezTo>
                  <a:cubicBezTo>
                    <a:pt x="106" y="20"/>
                    <a:pt x="106" y="20"/>
                    <a:pt x="106" y="20"/>
                  </a:cubicBezTo>
                  <a:cubicBezTo>
                    <a:pt x="106" y="20"/>
                    <a:pt x="119" y="28"/>
                    <a:pt x="119" y="37"/>
                  </a:cubicBezTo>
                  <a:cubicBezTo>
                    <a:pt x="119" y="46"/>
                    <a:pt x="116" y="45"/>
                    <a:pt x="116" y="45"/>
                  </a:cubicBezTo>
                  <a:cubicBezTo>
                    <a:pt x="116" y="45"/>
                    <a:pt x="117" y="55"/>
                    <a:pt x="106" y="57"/>
                  </a:cubicBezTo>
                  <a:cubicBezTo>
                    <a:pt x="95" y="59"/>
                    <a:pt x="98" y="39"/>
                    <a:pt x="92" y="37"/>
                  </a:cubicBezTo>
                  <a:cubicBezTo>
                    <a:pt x="86" y="35"/>
                    <a:pt x="99" y="21"/>
                    <a:pt x="99" y="21"/>
                  </a:cubicBezTo>
                  <a:cubicBezTo>
                    <a:pt x="103" y="3"/>
                    <a:pt x="103" y="3"/>
                    <a:pt x="103" y="3"/>
                  </a:cubicBezTo>
                  <a:cubicBezTo>
                    <a:pt x="96" y="0"/>
                    <a:pt x="96" y="0"/>
                    <a:pt x="96" y="0"/>
                  </a:cubicBezTo>
                  <a:cubicBezTo>
                    <a:pt x="0" y="31"/>
                    <a:pt x="0" y="31"/>
                    <a:pt x="0" y="31"/>
                  </a:cubicBezTo>
                  <a:cubicBezTo>
                    <a:pt x="35" y="218"/>
                    <a:pt x="35" y="218"/>
                    <a:pt x="35" y="218"/>
                  </a:cubicBezTo>
                  <a:cubicBezTo>
                    <a:pt x="36" y="218"/>
                    <a:pt x="36" y="217"/>
                    <a:pt x="37" y="217"/>
                  </a:cubicBezTo>
                  <a:cubicBezTo>
                    <a:pt x="44" y="217"/>
                    <a:pt x="48" y="224"/>
                    <a:pt x="48" y="224"/>
                  </a:cubicBezTo>
                  <a:cubicBezTo>
                    <a:pt x="92" y="224"/>
                    <a:pt x="92" y="224"/>
                    <a:pt x="92" y="224"/>
                  </a:cubicBezTo>
                  <a:cubicBezTo>
                    <a:pt x="92" y="224"/>
                    <a:pt x="77" y="208"/>
                    <a:pt x="79" y="195"/>
                  </a:cubicBezTo>
                  <a:cubicBezTo>
                    <a:pt x="80" y="181"/>
                    <a:pt x="112" y="175"/>
                    <a:pt x="112" y="175"/>
                  </a:cubicBezTo>
                  <a:cubicBezTo>
                    <a:pt x="112" y="175"/>
                    <a:pt x="112" y="164"/>
                    <a:pt x="116" y="163"/>
                  </a:cubicBezTo>
                  <a:cubicBezTo>
                    <a:pt x="120" y="161"/>
                    <a:pt x="139" y="169"/>
                    <a:pt x="139" y="169"/>
                  </a:cubicBezTo>
                  <a:cubicBezTo>
                    <a:pt x="119" y="151"/>
                    <a:pt x="119" y="151"/>
                    <a:pt x="119" y="151"/>
                  </a:cubicBezTo>
                  <a:cubicBezTo>
                    <a:pt x="139" y="152"/>
                    <a:pt x="139" y="152"/>
                    <a:pt x="139" y="152"/>
                  </a:cubicBezTo>
                  <a:cubicBezTo>
                    <a:pt x="143" y="145"/>
                    <a:pt x="143" y="145"/>
                    <a:pt x="143" y="145"/>
                  </a:cubicBezTo>
                  <a:cubicBezTo>
                    <a:pt x="155" y="161"/>
                    <a:pt x="155" y="161"/>
                    <a:pt x="155" y="161"/>
                  </a:cubicBezTo>
                  <a:cubicBezTo>
                    <a:pt x="171" y="160"/>
                    <a:pt x="171" y="160"/>
                    <a:pt x="171" y="160"/>
                  </a:cubicBezTo>
                  <a:cubicBezTo>
                    <a:pt x="169" y="168"/>
                    <a:pt x="169" y="168"/>
                    <a:pt x="169" y="168"/>
                  </a:cubicBezTo>
                  <a:cubicBezTo>
                    <a:pt x="179" y="172"/>
                    <a:pt x="179" y="172"/>
                    <a:pt x="179" y="172"/>
                  </a:cubicBezTo>
                  <a:cubicBezTo>
                    <a:pt x="179" y="172"/>
                    <a:pt x="192" y="169"/>
                    <a:pt x="201" y="173"/>
                  </a:cubicBezTo>
                  <a:cubicBezTo>
                    <a:pt x="211" y="177"/>
                    <a:pt x="209" y="192"/>
                    <a:pt x="209" y="192"/>
                  </a:cubicBezTo>
                  <a:cubicBezTo>
                    <a:pt x="219" y="197"/>
                    <a:pt x="219" y="197"/>
                    <a:pt x="219" y="197"/>
                  </a:cubicBezTo>
                  <a:cubicBezTo>
                    <a:pt x="219" y="197"/>
                    <a:pt x="207" y="209"/>
                    <a:pt x="212" y="219"/>
                  </a:cubicBezTo>
                  <a:cubicBezTo>
                    <a:pt x="217" y="228"/>
                    <a:pt x="243" y="227"/>
                    <a:pt x="243" y="227"/>
                  </a:cubicBezTo>
                  <a:cubicBezTo>
                    <a:pt x="279" y="231"/>
                    <a:pt x="279" y="231"/>
                    <a:pt x="279" y="231"/>
                  </a:cubicBezTo>
                  <a:cubicBezTo>
                    <a:pt x="279" y="225"/>
                    <a:pt x="279" y="225"/>
                    <a:pt x="279" y="225"/>
                  </a:cubicBezTo>
                  <a:cubicBezTo>
                    <a:pt x="303" y="237"/>
                    <a:pt x="303" y="237"/>
                    <a:pt x="303" y="237"/>
                  </a:cubicBezTo>
                  <a:cubicBezTo>
                    <a:pt x="312" y="256"/>
                    <a:pt x="312" y="256"/>
                    <a:pt x="312" y="256"/>
                  </a:cubicBezTo>
                  <a:cubicBezTo>
                    <a:pt x="325" y="271"/>
                    <a:pt x="325" y="271"/>
                    <a:pt x="325" y="271"/>
                  </a:cubicBezTo>
                  <a:cubicBezTo>
                    <a:pt x="325" y="271"/>
                    <a:pt x="333" y="283"/>
                    <a:pt x="336" y="293"/>
                  </a:cubicBezTo>
                  <a:cubicBezTo>
                    <a:pt x="339" y="304"/>
                    <a:pt x="351" y="309"/>
                    <a:pt x="357" y="312"/>
                  </a:cubicBezTo>
                  <a:cubicBezTo>
                    <a:pt x="364" y="315"/>
                    <a:pt x="377" y="317"/>
                    <a:pt x="381" y="319"/>
                  </a:cubicBezTo>
                  <a:cubicBezTo>
                    <a:pt x="385" y="320"/>
                    <a:pt x="397" y="336"/>
                    <a:pt x="397" y="336"/>
                  </a:cubicBezTo>
                  <a:cubicBezTo>
                    <a:pt x="417" y="348"/>
                    <a:pt x="417" y="348"/>
                    <a:pt x="417" y="348"/>
                  </a:cubicBezTo>
                  <a:cubicBezTo>
                    <a:pt x="435" y="349"/>
                    <a:pt x="435" y="349"/>
                    <a:pt x="435" y="349"/>
                  </a:cubicBezTo>
                  <a:cubicBezTo>
                    <a:pt x="444" y="357"/>
                    <a:pt x="444" y="357"/>
                    <a:pt x="444" y="357"/>
                  </a:cubicBezTo>
                  <a:cubicBezTo>
                    <a:pt x="455" y="360"/>
                    <a:pt x="455" y="360"/>
                    <a:pt x="455" y="360"/>
                  </a:cubicBezTo>
                  <a:cubicBezTo>
                    <a:pt x="455" y="360"/>
                    <a:pt x="469" y="371"/>
                    <a:pt x="476" y="376"/>
                  </a:cubicBezTo>
                  <a:cubicBezTo>
                    <a:pt x="483" y="381"/>
                    <a:pt x="501" y="389"/>
                    <a:pt x="501" y="389"/>
                  </a:cubicBezTo>
                  <a:cubicBezTo>
                    <a:pt x="516" y="387"/>
                    <a:pt x="516" y="387"/>
                    <a:pt x="516" y="387"/>
                  </a:cubicBezTo>
                  <a:cubicBezTo>
                    <a:pt x="549" y="405"/>
                    <a:pt x="549" y="405"/>
                    <a:pt x="549" y="405"/>
                  </a:cubicBezTo>
                  <a:cubicBezTo>
                    <a:pt x="549" y="405"/>
                    <a:pt x="537" y="417"/>
                    <a:pt x="548" y="425"/>
                  </a:cubicBezTo>
                  <a:cubicBezTo>
                    <a:pt x="554" y="430"/>
                    <a:pt x="555" y="434"/>
                    <a:pt x="555" y="437"/>
                  </a:cubicBezTo>
                  <a:cubicBezTo>
                    <a:pt x="563" y="437"/>
                    <a:pt x="563" y="437"/>
                    <a:pt x="563" y="437"/>
                  </a:cubicBezTo>
                  <a:cubicBezTo>
                    <a:pt x="571" y="431"/>
                    <a:pt x="571" y="431"/>
                    <a:pt x="571" y="431"/>
                  </a:cubicBezTo>
                  <a:cubicBezTo>
                    <a:pt x="580" y="445"/>
                    <a:pt x="580" y="445"/>
                    <a:pt x="580" y="445"/>
                  </a:cubicBezTo>
                  <a:cubicBezTo>
                    <a:pt x="591" y="440"/>
                    <a:pt x="591" y="440"/>
                    <a:pt x="591" y="440"/>
                  </a:cubicBezTo>
                  <a:cubicBezTo>
                    <a:pt x="596" y="440"/>
                    <a:pt x="596" y="440"/>
                    <a:pt x="596" y="440"/>
                  </a:cubicBezTo>
                  <a:cubicBezTo>
                    <a:pt x="596" y="440"/>
                    <a:pt x="600" y="443"/>
                    <a:pt x="605" y="447"/>
                  </a:cubicBezTo>
                  <a:cubicBezTo>
                    <a:pt x="604" y="446"/>
                    <a:pt x="603" y="446"/>
                    <a:pt x="603" y="445"/>
                  </a:cubicBezTo>
                  <a:cubicBezTo>
                    <a:pt x="602" y="439"/>
                    <a:pt x="601" y="430"/>
                    <a:pt x="605" y="426"/>
                  </a:cubicBezTo>
                  <a:cubicBezTo>
                    <a:pt x="612" y="418"/>
                    <a:pt x="622" y="408"/>
                    <a:pt x="622" y="397"/>
                  </a:cubicBezTo>
                  <a:cubicBezTo>
                    <a:pt x="622" y="386"/>
                    <a:pt x="609" y="387"/>
                    <a:pt x="603" y="377"/>
                  </a:cubicBezTo>
                  <a:cubicBezTo>
                    <a:pt x="597" y="367"/>
                    <a:pt x="608" y="358"/>
                    <a:pt x="603" y="353"/>
                  </a:cubicBezTo>
                  <a:cubicBezTo>
                    <a:pt x="598" y="348"/>
                    <a:pt x="582" y="347"/>
                    <a:pt x="582" y="347"/>
                  </a:cubicBezTo>
                  <a:cubicBezTo>
                    <a:pt x="575" y="339"/>
                    <a:pt x="575" y="339"/>
                    <a:pt x="575" y="339"/>
                  </a:cubicBezTo>
                  <a:cubicBezTo>
                    <a:pt x="561" y="336"/>
                    <a:pt x="561" y="336"/>
                    <a:pt x="561" y="336"/>
                  </a:cubicBezTo>
                  <a:cubicBezTo>
                    <a:pt x="561" y="336"/>
                    <a:pt x="561" y="326"/>
                    <a:pt x="567" y="321"/>
                  </a:cubicBezTo>
                  <a:cubicBezTo>
                    <a:pt x="573" y="316"/>
                    <a:pt x="592" y="328"/>
                    <a:pt x="607" y="319"/>
                  </a:cubicBezTo>
                  <a:cubicBezTo>
                    <a:pt x="622" y="310"/>
                    <a:pt x="610" y="305"/>
                    <a:pt x="610" y="305"/>
                  </a:cubicBezTo>
                  <a:cubicBezTo>
                    <a:pt x="620" y="296"/>
                    <a:pt x="620" y="296"/>
                    <a:pt x="620" y="296"/>
                  </a:cubicBezTo>
                  <a:cubicBezTo>
                    <a:pt x="607" y="282"/>
                    <a:pt x="607" y="282"/>
                    <a:pt x="607" y="282"/>
                  </a:cubicBezTo>
                  <a:cubicBezTo>
                    <a:pt x="607" y="282"/>
                    <a:pt x="626" y="287"/>
                    <a:pt x="632" y="281"/>
                  </a:cubicBezTo>
                  <a:cubicBezTo>
                    <a:pt x="638" y="275"/>
                    <a:pt x="625" y="268"/>
                    <a:pt x="626" y="264"/>
                  </a:cubicBezTo>
                  <a:cubicBezTo>
                    <a:pt x="627" y="260"/>
                    <a:pt x="629" y="251"/>
                    <a:pt x="635" y="251"/>
                  </a:cubicBezTo>
                  <a:cubicBezTo>
                    <a:pt x="641" y="251"/>
                    <a:pt x="644" y="265"/>
                    <a:pt x="652" y="260"/>
                  </a:cubicBezTo>
                  <a:cubicBezTo>
                    <a:pt x="660" y="255"/>
                    <a:pt x="671" y="243"/>
                    <a:pt x="675" y="241"/>
                  </a:cubicBezTo>
                  <a:cubicBezTo>
                    <a:pt x="679" y="239"/>
                    <a:pt x="694" y="251"/>
                    <a:pt x="694" y="251"/>
                  </a:cubicBezTo>
                  <a:cubicBezTo>
                    <a:pt x="678" y="272"/>
                    <a:pt x="678" y="272"/>
                    <a:pt x="678" y="272"/>
                  </a:cubicBezTo>
                  <a:cubicBezTo>
                    <a:pt x="678" y="272"/>
                    <a:pt x="698" y="278"/>
                    <a:pt x="701" y="283"/>
                  </a:cubicBezTo>
                  <a:cubicBezTo>
                    <a:pt x="708" y="280"/>
                    <a:pt x="717" y="277"/>
                    <a:pt x="721" y="276"/>
                  </a:cubicBezTo>
                  <a:cubicBezTo>
                    <a:pt x="728" y="274"/>
                    <a:pt x="732" y="290"/>
                    <a:pt x="741" y="286"/>
                  </a:cubicBezTo>
                  <a:cubicBezTo>
                    <a:pt x="750" y="282"/>
                    <a:pt x="752" y="273"/>
                    <a:pt x="752" y="273"/>
                  </a:cubicBezTo>
                  <a:cubicBezTo>
                    <a:pt x="766" y="271"/>
                    <a:pt x="766" y="271"/>
                    <a:pt x="766" y="271"/>
                  </a:cubicBezTo>
                  <a:cubicBezTo>
                    <a:pt x="766" y="265"/>
                    <a:pt x="766" y="265"/>
                    <a:pt x="766" y="265"/>
                  </a:cubicBezTo>
                  <a:cubicBezTo>
                    <a:pt x="766" y="265"/>
                    <a:pt x="778" y="266"/>
                    <a:pt x="788" y="254"/>
                  </a:cubicBezTo>
                  <a:cubicBezTo>
                    <a:pt x="798" y="242"/>
                    <a:pt x="769" y="248"/>
                    <a:pt x="769" y="248"/>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201" name="Freeform 162"/>
            <p:cNvSpPr>
              <a:spLocks noEditPoints="1"/>
            </p:cNvSpPr>
            <p:nvPr/>
          </p:nvSpPr>
          <p:spPr bwMode="gray">
            <a:xfrm>
              <a:off x="5359400" y="2322513"/>
              <a:ext cx="936625" cy="434975"/>
            </a:xfrm>
            <a:custGeom>
              <a:avLst/>
              <a:gdLst>
                <a:gd name="T0" fmla="*/ 545 w 1673"/>
                <a:gd name="T1" fmla="*/ 518 h 778"/>
                <a:gd name="T2" fmla="*/ 1655 w 1673"/>
                <a:gd name="T3" fmla="*/ 327 h 778"/>
                <a:gd name="T4" fmla="*/ 1625 w 1673"/>
                <a:gd name="T5" fmla="*/ 304 h 778"/>
                <a:gd name="T6" fmla="*/ 1481 w 1673"/>
                <a:gd name="T7" fmla="*/ 226 h 778"/>
                <a:gd name="T8" fmla="*/ 1372 w 1673"/>
                <a:gd name="T9" fmla="*/ 207 h 778"/>
                <a:gd name="T10" fmla="*/ 1126 w 1673"/>
                <a:gd name="T11" fmla="*/ 70 h 778"/>
                <a:gd name="T12" fmla="*/ 1085 w 1673"/>
                <a:gd name="T13" fmla="*/ 76 h 778"/>
                <a:gd name="T14" fmla="*/ 1016 w 1673"/>
                <a:gd name="T15" fmla="*/ 98 h 778"/>
                <a:gd name="T16" fmla="*/ 972 w 1673"/>
                <a:gd name="T17" fmla="*/ 71 h 778"/>
                <a:gd name="T18" fmla="*/ 909 w 1673"/>
                <a:gd name="T19" fmla="*/ 36 h 778"/>
                <a:gd name="T20" fmla="*/ 812 w 1673"/>
                <a:gd name="T21" fmla="*/ 2 h 778"/>
                <a:gd name="T22" fmla="*/ 674 w 1673"/>
                <a:gd name="T23" fmla="*/ 52 h 778"/>
                <a:gd name="T24" fmla="*/ 521 w 1673"/>
                <a:gd name="T25" fmla="*/ 95 h 778"/>
                <a:gd name="T26" fmla="*/ 534 w 1673"/>
                <a:gd name="T27" fmla="*/ 123 h 778"/>
                <a:gd name="T28" fmla="*/ 528 w 1673"/>
                <a:gd name="T29" fmla="*/ 190 h 778"/>
                <a:gd name="T30" fmla="*/ 486 w 1673"/>
                <a:gd name="T31" fmla="*/ 244 h 778"/>
                <a:gd name="T32" fmla="*/ 356 w 1673"/>
                <a:gd name="T33" fmla="*/ 247 h 778"/>
                <a:gd name="T34" fmla="*/ 282 w 1673"/>
                <a:gd name="T35" fmla="*/ 216 h 778"/>
                <a:gd name="T36" fmla="*/ 197 w 1673"/>
                <a:gd name="T37" fmla="*/ 187 h 778"/>
                <a:gd name="T38" fmla="*/ 86 w 1673"/>
                <a:gd name="T39" fmla="*/ 224 h 778"/>
                <a:gd name="T40" fmla="*/ 17 w 1673"/>
                <a:gd name="T41" fmla="*/ 251 h 778"/>
                <a:gd name="T42" fmla="*/ 8 w 1673"/>
                <a:gd name="T43" fmla="*/ 322 h 778"/>
                <a:gd name="T44" fmla="*/ 73 w 1673"/>
                <a:gd name="T45" fmla="*/ 394 h 778"/>
                <a:gd name="T46" fmla="*/ 136 w 1673"/>
                <a:gd name="T47" fmla="*/ 460 h 778"/>
                <a:gd name="T48" fmla="*/ 289 w 1673"/>
                <a:gd name="T49" fmla="*/ 455 h 778"/>
                <a:gd name="T50" fmla="*/ 352 w 1673"/>
                <a:gd name="T51" fmla="*/ 524 h 778"/>
                <a:gd name="T52" fmla="*/ 338 w 1673"/>
                <a:gd name="T53" fmla="*/ 531 h 778"/>
                <a:gd name="T54" fmla="*/ 218 w 1673"/>
                <a:gd name="T55" fmla="*/ 544 h 778"/>
                <a:gd name="T56" fmla="*/ 228 w 1673"/>
                <a:gd name="T57" fmla="*/ 598 h 778"/>
                <a:gd name="T58" fmla="*/ 274 w 1673"/>
                <a:gd name="T59" fmla="*/ 654 h 778"/>
                <a:gd name="T60" fmla="*/ 328 w 1673"/>
                <a:gd name="T61" fmla="*/ 709 h 778"/>
                <a:gd name="T62" fmla="*/ 408 w 1673"/>
                <a:gd name="T63" fmla="*/ 690 h 778"/>
                <a:gd name="T64" fmla="*/ 468 w 1673"/>
                <a:gd name="T65" fmla="*/ 729 h 778"/>
                <a:gd name="T66" fmla="*/ 536 w 1673"/>
                <a:gd name="T67" fmla="*/ 513 h 778"/>
                <a:gd name="T68" fmla="*/ 582 w 1673"/>
                <a:gd name="T69" fmla="*/ 492 h 778"/>
                <a:gd name="T70" fmla="*/ 604 w 1673"/>
                <a:gd name="T71" fmla="*/ 479 h 778"/>
                <a:gd name="T72" fmla="*/ 584 w 1673"/>
                <a:gd name="T73" fmla="*/ 460 h 778"/>
                <a:gd name="T74" fmla="*/ 636 w 1673"/>
                <a:gd name="T75" fmla="*/ 455 h 778"/>
                <a:gd name="T76" fmla="*/ 590 w 1673"/>
                <a:gd name="T77" fmla="*/ 493 h 778"/>
                <a:gd name="T78" fmla="*/ 610 w 1673"/>
                <a:gd name="T79" fmla="*/ 549 h 778"/>
                <a:gd name="T80" fmla="*/ 812 w 1673"/>
                <a:gd name="T81" fmla="*/ 616 h 778"/>
                <a:gd name="T82" fmla="*/ 902 w 1673"/>
                <a:gd name="T83" fmla="*/ 699 h 778"/>
                <a:gd name="T84" fmla="*/ 1006 w 1673"/>
                <a:gd name="T85" fmla="*/ 770 h 778"/>
                <a:gd name="T86" fmla="*/ 1056 w 1673"/>
                <a:gd name="T87" fmla="*/ 719 h 778"/>
                <a:gd name="T88" fmla="*/ 1123 w 1673"/>
                <a:gd name="T89" fmla="*/ 686 h 778"/>
                <a:gd name="T90" fmla="*/ 1208 w 1673"/>
                <a:gd name="T91" fmla="*/ 672 h 778"/>
                <a:gd name="T92" fmla="*/ 1264 w 1673"/>
                <a:gd name="T93" fmla="*/ 647 h 778"/>
                <a:gd name="T94" fmla="*/ 1402 w 1673"/>
                <a:gd name="T95" fmla="*/ 651 h 778"/>
                <a:gd name="T96" fmla="*/ 1471 w 1673"/>
                <a:gd name="T97" fmla="*/ 676 h 778"/>
                <a:gd name="T98" fmla="*/ 1503 w 1673"/>
                <a:gd name="T99" fmla="*/ 659 h 778"/>
                <a:gd name="T100" fmla="*/ 1484 w 1673"/>
                <a:gd name="T101" fmla="*/ 587 h 778"/>
                <a:gd name="T102" fmla="*/ 1516 w 1673"/>
                <a:gd name="T103" fmla="*/ 518 h 778"/>
                <a:gd name="T104" fmla="*/ 1541 w 1673"/>
                <a:gd name="T105" fmla="*/ 513 h 778"/>
                <a:gd name="T106" fmla="*/ 1614 w 1673"/>
                <a:gd name="T107" fmla="*/ 434 h 778"/>
                <a:gd name="T108" fmla="*/ 1641 w 1673"/>
                <a:gd name="T109" fmla="*/ 397 h 778"/>
                <a:gd name="T110" fmla="*/ 1385 w 1673"/>
                <a:gd name="T111" fmla="*/ 465 h 778"/>
                <a:gd name="T112" fmla="*/ 1320 w 1673"/>
                <a:gd name="T113" fmla="*/ 467 h 778"/>
                <a:gd name="T114" fmla="*/ 1246 w 1673"/>
                <a:gd name="T115" fmla="*/ 460 h 778"/>
                <a:gd name="T116" fmla="*/ 1195 w 1673"/>
                <a:gd name="T117" fmla="*/ 489 h 778"/>
                <a:gd name="T118" fmla="*/ 1200 w 1673"/>
                <a:gd name="T119" fmla="*/ 542 h 778"/>
                <a:gd name="T120" fmla="*/ 1193 w 1673"/>
                <a:gd name="T121" fmla="*/ 448 h 778"/>
                <a:gd name="T122" fmla="*/ 1306 w 1673"/>
                <a:gd name="T123" fmla="*/ 458 h 778"/>
                <a:gd name="T124" fmla="*/ 1385 w 1673"/>
                <a:gd name="T125" fmla="*/ 465 h 7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73" h="778">
                  <a:moveTo>
                    <a:pt x="565" y="505"/>
                  </a:moveTo>
                  <a:cubicBezTo>
                    <a:pt x="558" y="500"/>
                    <a:pt x="557" y="497"/>
                    <a:pt x="557" y="497"/>
                  </a:cubicBezTo>
                  <a:cubicBezTo>
                    <a:pt x="548" y="511"/>
                    <a:pt x="548" y="511"/>
                    <a:pt x="548" y="511"/>
                  </a:cubicBezTo>
                  <a:cubicBezTo>
                    <a:pt x="545" y="518"/>
                    <a:pt x="545" y="518"/>
                    <a:pt x="545" y="518"/>
                  </a:cubicBezTo>
                  <a:cubicBezTo>
                    <a:pt x="578" y="534"/>
                    <a:pt x="578" y="534"/>
                    <a:pt x="578" y="534"/>
                  </a:cubicBezTo>
                  <a:cubicBezTo>
                    <a:pt x="580" y="525"/>
                    <a:pt x="580" y="525"/>
                    <a:pt x="580" y="525"/>
                  </a:cubicBezTo>
                  <a:cubicBezTo>
                    <a:pt x="580" y="525"/>
                    <a:pt x="572" y="510"/>
                    <a:pt x="565" y="505"/>
                  </a:cubicBezTo>
                  <a:close/>
                  <a:moveTo>
                    <a:pt x="1655" y="327"/>
                  </a:moveTo>
                  <a:cubicBezTo>
                    <a:pt x="1656" y="321"/>
                    <a:pt x="1666" y="322"/>
                    <a:pt x="1673" y="324"/>
                  </a:cubicBezTo>
                  <a:cubicBezTo>
                    <a:pt x="1649" y="298"/>
                    <a:pt x="1649" y="298"/>
                    <a:pt x="1649" y="298"/>
                  </a:cubicBezTo>
                  <a:cubicBezTo>
                    <a:pt x="1636" y="282"/>
                    <a:pt x="1636" y="282"/>
                    <a:pt x="1636" y="282"/>
                  </a:cubicBezTo>
                  <a:cubicBezTo>
                    <a:pt x="1625" y="304"/>
                    <a:pt x="1625" y="304"/>
                    <a:pt x="1625" y="304"/>
                  </a:cubicBezTo>
                  <a:cubicBezTo>
                    <a:pt x="1578" y="300"/>
                    <a:pt x="1578" y="300"/>
                    <a:pt x="1578" y="300"/>
                  </a:cubicBezTo>
                  <a:cubicBezTo>
                    <a:pt x="1578" y="300"/>
                    <a:pt x="1562" y="272"/>
                    <a:pt x="1561" y="268"/>
                  </a:cubicBezTo>
                  <a:cubicBezTo>
                    <a:pt x="1560" y="264"/>
                    <a:pt x="1525" y="259"/>
                    <a:pt x="1525" y="259"/>
                  </a:cubicBezTo>
                  <a:cubicBezTo>
                    <a:pt x="1525" y="259"/>
                    <a:pt x="1504" y="230"/>
                    <a:pt x="1481" y="226"/>
                  </a:cubicBezTo>
                  <a:cubicBezTo>
                    <a:pt x="1458" y="222"/>
                    <a:pt x="1442" y="243"/>
                    <a:pt x="1430" y="244"/>
                  </a:cubicBezTo>
                  <a:cubicBezTo>
                    <a:pt x="1418" y="246"/>
                    <a:pt x="1404" y="230"/>
                    <a:pt x="1404" y="230"/>
                  </a:cubicBezTo>
                  <a:cubicBezTo>
                    <a:pt x="1404" y="230"/>
                    <a:pt x="1386" y="228"/>
                    <a:pt x="1382" y="227"/>
                  </a:cubicBezTo>
                  <a:cubicBezTo>
                    <a:pt x="1378" y="226"/>
                    <a:pt x="1382" y="210"/>
                    <a:pt x="1372" y="207"/>
                  </a:cubicBezTo>
                  <a:cubicBezTo>
                    <a:pt x="1361" y="204"/>
                    <a:pt x="1365" y="234"/>
                    <a:pt x="1348" y="236"/>
                  </a:cubicBezTo>
                  <a:cubicBezTo>
                    <a:pt x="1330" y="239"/>
                    <a:pt x="1306" y="200"/>
                    <a:pt x="1292" y="187"/>
                  </a:cubicBezTo>
                  <a:cubicBezTo>
                    <a:pt x="1277" y="174"/>
                    <a:pt x="1205" y="107"/>
                    <a:pt x="1200" y="104"/>
                  </a:cubicBezTo>
                  <a:cubicBezTo>
                    <a:pt x="1194" y="102"/>
                    <a:pt x="1126" y="70"/>
                    <a:pt x="1126" y="70"/>
                  </a:cubicBezTo>
                  <a:cubicBezTo>
                    <a:pt x="1126" y="70"/>
                    <a:pt x="1146" y="58"/>
                    <a:pt x="1138" y="47"/>
                  </a:cubicBezTo>
                  <a:cubicBezTo>
                    <a:pt x="1130" y="36"/>
                    <a:pt x="1118" y="58"/>
                    <a:pt x="1118" y="58"/>
                  </a:cubicBezTo>
                  <a:cubicBezTo>
                    <a:pt x="1094" y="66"/>
                    <a:pt x="1094" y="66"/>
                    <a:pt x="1094" y="66"/>
                  </a:cubicBezTo>
                  <a:cubicBezTo>
                    <a:pt x="1085" y="76"/>
                    <a:pt x="1085" y="76"/>
                    <a:pt x="1085" y="76"/>
                  </a:cubicBezTo>
                  <a:cubicBezTo>
                    <a:pt x="1085" y="76"/>
                    <a:pt x="1077" y="78"/>
                    <a:pt x="1070" y="82"/>
                  </a:cubicBezTo>
                  <a:cubicBezTo>
                    <a:pt x="1064" y="86"/>
                    <a:pt x="1072" y="94"/>
                    <a:pt x="1064" y="100"/>
                  </a:cubicBezTo>
                  <a:cubicBezTo>
                    <a:pt x="1056" y="107"/>
                    <a:pt x="1041" y="91"/>
                    <a:pt x="1034" y="88"/>
                  </a:cubicBezTo>
                  <a:cubicBezTo>
                    <a:pt x="1028" y="86"/>
                    <a:pt x="1026" y="99"/>
                    <a:pt x="1016" y="98"/>
                  </a:cubicBezTo>
                  <a:cubicBezTo>
                    <a:pt x="1005" y="96"/>
                    <a:pt x="1026" y="80"/>
                    <a:pt x="1017" y="71"/>
                  </a:cubicBezTo>
                  <a:cubicBezTo>
                    <a:pt x="1008" y="62"/>
                    <a:pt x="1002" y="74"/>
                    <a:pt x="1002" y="74"/>
                  </a:cubicBezTo>
                  <a:cubicBezTo>
                    <a:pt x="985" y="63"/>
                    <a:pt x="985" y="63"/>
                    <a:pt x="985" y="63"/>
                  </a:cubicBezTo>
                  <a:cubicBezTo>
                    <a:pt x="972" y="71"/>
                    <a:pt x="972" y="71"/>
                    <a:pt x="972" y="71"/>
                  </a:cubicBezTo>
                  <a:cubicBezTo>
                    <a:pt x="953" y="50"/>
                    <a:pt x="953" y="50"/>
                    <a:pt x="953" y="50"/>
                  </a:cubicBezTo>
                  <a:cubicBezTo>
                    <a:pt x="946" y="60"/>
                    <a:pt x="946" y="60"/>
                    <a:pt x="946" y="60"/>
                  </a:cubicBezTo>
                  <a:cubicBezTo>
                    <a:pt x="946" y="60"/>
                    <a:pt x="918" y="64"/>
                    <a:pt x="913" y="64"/>
                  </a:cubicBezTo>
                  <a:cubicBezTo>
                    <a:pt x="908" y="64"/>
                    <a:pt x="909" y="43"/>
                    <a:pt x="909" y="36"/>
                  </a:cubicBezTo>
                  <a:cubicBezTo>
                    <a:pt x="909" y="30"/>
                    <a:pt x="897" y="30"/>
                    <a:pt x="897" y="30"/>
                  </a:cubicBezTo>
                  <a:cubicBezTo>
                    <a:pt x="897" y="30"/>
                    <a:pt x="892" y="12"/>
                    <a:pt x="884" y="7"/>
                  </a:cubicBezTo>
                  <a:cubicBezTo>
                    <a:pt x="876" y="2"/>
                    <a:pt x="869" y="11"/>
                    <a:pt x="864" y="11"/>
                  </a:cubicBezTo>
                  <a:cubicBezTo>
                    <a:pt x="858" y="11"/>
                    <a:pt x="845" y="0"/>
                    <a:pt x="812" y="2"/>
                  </a:cubicBezTo>
                  <a:cubicBezTo>
                    <a:pt x="778" y="3"/>
                    <a:pt x="781" y="23"/>
                    <a:pt x="781" y="23"/>
                  </a:cubicBezTo>
                  <a:cubicBezTo>
                    <a:pt x="781" y="23"/>
                    <a:pt x="761" y="30"/>
                    <a:pt x="740" y="35"/>
                  </a:cubicBezTo>
                  <a:cubicBezTo>
                    <a:pt x="718" y="40"/>
                    <a:pt x="690" y="36"/>
                    <a:pt x="682" y="36"/>
                  </a:cubicBezTo>
                  <a:cubicBezTo>
                    <a:pt x="674" y="36"/>
                    <a:pt x="674" y="52"/>
                    <a:pt x="674" y="52"/>
                  </a:cubicBezTo>
                  <a:cubicBezTo>
                    <a:pt x="632" y="52"/>
                    <a:pt x="632" y="52"/>
                    <a:pt x="632" y="52"/>
                  </a:cubicBezTo>
                  <a:cubicBezTo>
                    <a:pt x="628" y="64"/>
                    <a:pt x="628" y="64"/>
                    <a:pt x="628" y="64"/>
                  </a:cubicBezTo>
                  <a:cubicBezTo>
                    <a:pt x="628" y="64"/>
                    <a:pt x="596" y="63"/>
                    <a:pt x="550" y="70"/>
                  </a:cubicBezTo>
                  <a:cubicBezTo>
                    <a:pt x="505" y="76"/>
                    <a:pt x="521" y="95"/>
                    <a:pt x="521" y="95"/>
                  </a:cubicBezTo>
                  <a:cubicBezTo>
                    <a:pt x="540" y="96"/>
                    <a:pt x="540" y="96"/>
                    <a:pt x="540" y="96"/>
                  </a:cubicBezTo>
                  <a:cubicBezTo>
                    <a:pt x="529" y="108"/>
                    <a:pt x="529" y="108"/>
                    <a:pt x="529" y="108"/>
                  </a:cubicBezTo>
                  <a:cubicBezTo>
                    <a:pt x="529" y="108"/>
                    <a:pt x="572" y="116"/>
                    <a:pt x="572" y="123"/>
                  </a:cubicBezTo>
                  <a:cubicBezTo>
                    <a:pt x="572" y="130"/>
                    <a:pt x="534" y="123"/>
                    <a:pt x="534" y="123"/>
                  </a:cubicBezTo>
                  <a:cubicBezTo>
                    <a:pt x="528" y="134"/>
                    <a:pt x="528" y="134"/>
                    <a:pt x="528" y="134"/>
                  </a:cubicBezTo>
                  <a:cubicBezTo>
                    <a:pt x="528" y="134"/>
                    <a:pt x="541" y="151"/>
                    <a:pt x="540" y="158"/>
                  </a:cubicBezTo>
                  <a:cubicBezTo>
                    <a:pt x="538" y="164"/>
                    <a:pt x="505" y="170"/>
                    <a:pt x="505" y="170"/>
                  </a:cubicBezTo>
                  <a:cubicBezTo>
                    <a:pt x="528" y="190"/>
                    <a:pt x="528" y="190"/>
                    <a:pt x="528" y="190"/>
                  </a:cubicBezTo>
                  <a:cubicBezTo>
                    <a:pt x="528" y="190"/>
                    <a:pt x="578" y="187"/>
                    <a:pt x="582" y="226"/>
                  </a:cubicBezTo>
                  <a:cubicBezTo>
                    <a:pt x="586" y="264"/>
                    <a:pt x="526" y="234"/>
                    <a:pt x="526" y="234"/>
                  </a:cubicBezTo>
                  <a:cubicBezTo>
                    <a:pt x="520" y="250"/>
                    <a:pt x="520" y="250"/>
                    <a:pt x="520" y="250"/>
                  </a:cubicBezTo>
                  <a:cubicBezTo>
                    <a:pt x="520" y="250"/>
                    <a:pt x="497" y="246"/>
                    <a:pt x="486" y="244"/>
                  </a:cubicBezTo>
                  <a:cubicBezTo>
                    <a:pt x="476" y="243"/>
                    <a:pt x="464" y="222"/>
                    <a:pt x="456" y="220"/>
                  </a:cubicBezTo>
                  <a:cubicBezTo>
                    <a:pt x="448" y="219"/>
                    <a:pt x="437" y="228"/>
                    <a:pt x="421" y="232"/>
                  </a:cubicBezTo>
                  <a:cubicBezTo>
                    <a:pt x="405" y="236"/>
                    <a:pt x="394" y="220"/>
                    <a:pt x="385" y="222"/>
                  </a:cubicBezTo>
                  <a:cubicBezTo>
                    <a:pt x="376" y="223"/>
                    <a:pt x="358" y="243"/>
                    <a:pt x="356" y="247"/>
                  </a:cubicBezTo>
                  <a:cubicBezTo>
                    <a:pt x="353" y="251"/>
                    <a:pt x="312" y="220"/>
                    <a:pt x="301" y="223"/>
                  </a:cubicBezTo>
                  <a:cubicBezTo>
                    <a:pt x="290" y="226"/>
                    <a:pt x="313" y="243"/>
                    <a:pt x="305" y="250"/>
                  </a:cubicBezTo>
                  <a:cubicBezTo>
                    <a:pt x="297" y="256"/>
                    <a:pt x="289" y="236"/>
                    <a:pt x="289" y="236"/>
                  </a:cubicBezTo>
                  <a:cubicBezTo>
                    <a:pt x="282" y="216"/>
                    <a:pt x="282" y="216"/>
                    <a:pt x="282" y="216"/>
                  </a:cubicBezTo>
                  <a:cubicBezTo>
                    <a:pt x="258" y="218"/>
                    <a:pt x="258" y="218"/>
                    <a:pt x="258" y="218"/>
                  </a:cubicBezTo>
                  <a:cubicBezTo>
                    <a:pt x="258" y="218"/>
                    <a:pt x="256" y="206"/>
                    <a:pt x="252" y="202"/>
                  </a:cubicBezTo>
                  <a:cubicBezTo>
                    <a:pt x="248" y="198"/>
                    <a:pt x="224" y="203"/>
                    <a:pt x="214" y="202"/>
                  </a:cubicBezTo>
                  <a:cubicBezTo>
                    <a:pt x="205" y="200"/>
                    <a:pt x="204" y="187"/>
                    <a:pt x="197" y="187"/>
                  </a:cubicBezTo>
                  <a:cubicBezTo>
                    <a:pt x="190" y="187"/>
                    <a:pt x="177" y="200"/>
                    <a:pt x="161" y="200"/>
                  </a:cubicBezTo>
                  <a:cubicBezTo>
                    <a:pt x="145" y="200"/>
                    <a:pt x="153" y="187"/>
                    <a:pt x="130" y="188"/>
                  </a:cubicBezTo>
                  <a:cubicBezTo>
                    <a:pt x="108" y="190"/>
                    <a:pt x="130" y="198"/>
                    <a:pt x="122" y="208"/>
                  </a:cubicBezTo>
                  <a:cubicBezTo>
                    <a:pt x="114" y="219"/>
                    <a:pt x="86" y="224"/>
                    <a:pt x="86" y="224"/>
                  </a:cubicBezTo>
                  <a:cubicBezTo>
                    <a:pt x="86" y="239"/>
                    <a:pt x="86" y="239"/>
                    <a:pt x="86" y="239"/>
                  </a:cubicBezTo>
                  <a:cubicBezTo>
                    <a:pt x="68" y="248"/>
                    <a:pt x="68" y="248"/>
                    <a:pt x="68" y="248"/>
                  </a:cubicBezTo>
                  <a:cubicBezTo>
                    <a:pt x="68" y="248"/>
                    <a:pt x="86" y="263"/>
                    <a:pt x="72" y="278"/>
                  </a:cubicBezTo>
                  <a:cubicBezTo>
                    <a:pt x="57" y="292"/>
                    <a:pt x="29" y="250"/>
                    <a:pt x="17" y="251"/>
                  </a:cubicBezTo>
                  <a:cubicBezTo>
                    <a:pt x="5" y="252"/>
                    <a:pt x="13" y="271"/>
                    <a:pt x="13" y="279"/>
                  </a:cubicBezTo>
                  <a:cubicBezTo>
                    <a:pt x="13" y="287"/>
                    <a:pt x="0" y="284"/>
                    <a:pt x="0" y="284"/>
                  </a:cubicBezTo>
                  <a:cubicBezTo>
                    <a:pt x="2" y="308"/>
                    <a:pt x="2" y="308"/>
                    <a:pt x="2" y="308"/>
                  </a:cubicBezTo>
                  <a:cubicBezTo>
                    <a:pt x="2" y="308"/>
                    <a:pt x="8" y="314"/>
                    <a:pt x="8" y="322"/>
                  </a:cubicBezTo>
                  <a:cubicBezTo>
                    <a:pt x="8" y="330"/>
                    <a:pt x="0" y="342"/>
                    <a:pt x="0" y="358"/>
                  </a:cubicBezTo>
                  <a:cubicBezTo>
                    <a:pt x="0" y="374"/>
                    <a:pt x="10" y="364"/>
                    <a:pt x="22" y="370"/>
                  </a:cubicBezTo>
                  <a:cubicBezTo>
                    <a:pt x="34" y="375"/>
                    <a:pt x="20" y="390"/>
                    <a:pt x="32" y="395"/>
                  </a:cubicBezTo>
                  <a:cubicBezTo>
                    <a:pt x="44" y="400"/>
                    <a:pt x="68" y="391"/>
                    <a:pt x="73" y="394"/>
                  </a:cubicBezTo>
                  <a:cubicBezTo>
                    <a:pt x="78" y="396"/>
                    <a:pt x="117" y="436"/>
                    <a:pt x="117" y="444"/>
                  </a:cubicBezTo>
                  <a:cubicBezTo>
                    <a:pt x="117" y="452"/>
                    <a:pt x="94" y="443"/>
                    <a:pt x="94" y="451"/>
                  </a:cubicBezTo>
                  <a:cubicBezTo>
                    <a:pt x="94" y="459"/>
                    <a:pt x="129" y="470"/>
                    <a:pt x="129" y="470"/>
                  </a:cubicBezTo>
                  <a:cubicBezTo>
                    <a:pt x="136" y="460"/>
                    <a:pt x="136" y="460"/>
                    <a:pt x="136" y="460"/>
                  </a:cubicBezTo>
                  <a:cubicBezTo>
                    <a:pt x="136" y="460"/>
                    <a:pt x="145" y="462"/>
                    <a:pt x="152" y="455"/>
                  </a:cubicBezTo>
                  <a:cubicBezTo>
                    <a:pt x="158" y="448"/>
                    <a:pt x="208" y="427"/>
                    <a:pt x="214" y="430"/>
                  </a:cubicBezTo>
                  <a:cubicBezTo>
                    <a:pt x="221" y="432"/>
                    <a:pt x="242" y="448"/>
                    <a:pt x="252" y="448"/>
                  </a:cubicBezTo>
                  <a:cubicBezTo>
                    <a:pt x="261" y="448"/>
                    <a:pt x="269" y="430"/>
                    <a:pt x="289" y="455"/>
                  </a:cubicBezTo>
                  <a:cubicBezTo>
                    <a:pt x="309" y="480"/>
                    <a:pt x="293" y="488"/>
                    <a:pt x="290" y="496"/>
                  </a:cubicBezTo>
                  <a:cubicBezTo>
                    <a:pt x="288" y="504"/>
                    <a:pt x="309" y="520"/>
                    <a:pt x="316" y="523"/>
                  </a:cubicBezTo>
                  <a:cubicBezTo>
                    <a:pt x="322" y="526"/>
                    <a:pt x="333" y="511"/>
                    <a:pt x="341" y="507"/>
                  </a:cubicBezTo>
                  <a:cubicBezTo>
                    <a:pt x="349" y="503"/>
                    <a:pt x="352" y="516"/>
                    <a:pt x="352" y="524"/>
                  </a:cubicBezTo>
                  <a:cubicBezTo>
                    <a:pt x="352" y="532"/>
                    <a:pt x="364" y="542"/>
                    <a:pt x="364" y="542"/>
                  </a:cubicBezTo>
                  <a:cubicBezTo>
                    <a:pt x="337" y="543"/>
                    <a:pt x="337" y="543"/>
                    <a:pt x="337" y="543"/>
                  </a:cubicBezTo>
                  <a:cubicBezTo>
                    <a:pt x="337" y="543"/>
                    <a:pt x="338" y="563"/>
                    <a:pt x="325" y="554"/>
                  </a:cubicBezTo>
                  <a:cubicBezTo>
                    <a:pt x="312" y="544"/>
                    <a:pt x="338" y="531"/>
                    <a:pt x="338" y="531"/>
                  </a:cubicBezTo>
                  <a:cubicBezTo>
                    <a:pt x="338" y="531"/>
                    <a:pt x="290" y="528"/>
                    <a:pt x="282" y="526"/>
                  </a:cubicBezTo>
                  <a:cubicBezTo>
                    <a:pt x="274" y="523"/>
                    <a:pt x="232" y="515"/>
                    <a:pt x="232" y="515"/>
                  </a:cubicBezTo>
                  <a:cubicBezTo>
                    <a:pt x="240" y="538"/>
                    <a:pt x="240" y="538"/>
                    <a:pt x="240" y="538"/>
                  </a:cubicBezTo>
                  <a:cubicBezTo>
                    <a:pt x="240" y="538"/>
                    <a:pt x="224" y="531"/>
                    <a:pt x="218" y="544"/>
                  </a:cubicBezTo>
                  <a:cubicBezTo>
                    <a:pt x="213" y="558"/>
                    <a:pt x="249" y="559"/>
                    <a:pt x="248" y="567"/>
                  </a:cubicBezTo>
                  <a:cubicBezTo>
                    <a:pt x="246" y="575"/>
                    <a:pt x="198" y="550"/>
                    <a:pt x="193" y="562"/>
                  </a:cubicBezTo>
                  <a:cubicBezTo>
                    <a:pt x="188" y="574"/>
                    <a:pt x="221" y="582"/>
                    <a:pt x="221" y="582"/>
                  </a:cubicBezTo>
                  <a:cubicBezTo>
                    <a:pt x="221" y="582"/>
                    <a:pt x="221" y="590"/>
                    <a:pt x="228" y="598"/>
                  </a:cubicBezTo>
                  <a:cubicBezTo>
                    <a:pt x="234" y="606"/>
                    <a:pt x="248" y="622"/>
                    <a:pt x="248" y="622"/>
                  </a:cubicBezTo>
                  <a:cubicBezTo>
                    <a:pt x="246" y="636"/>
                    <a:pt x="246" y="636"/>
                    <a:pt x="246" y="636"/>
                  </a:cubicBezTo>
                  <a:cubicBezTo>
                    <a:pt x="269" y="639"/>
                    <a:pt x="269" y="639"/>
                    <a:pt x="269" y="639"/>
                  </a:cubicBezTo>
                  <a:cubicBezTo>
                    <a:pt x="274" y="654"/>
                    <a:pt x="274" y="654"/>
                    <a:pt x="274" y="654"/>
                  </a:cubicBezTo>
                  <a:cubicBezTo>
                    <a:pt x="274" y="654"/>
                    <a:pt x="309" y="654"/>
                    <a:pt x="320" y="664"/>
                  </a:cubicBezTo>
                  <a:cubicBezTo>
                    <a:pt x="330" y="675"/>
                    <a:pt x="308" y="686"/>
                    <a:pt x="306" y="696"/>
                  </a:cubicBezTo>
                  <a:cubicBezTo>
                    <a:pt x="305" y="707"/>
                    <a:pt x="316" y="708"/>
                    <a:pt x="316" y="708"/>
                  </a:cubicBezTo>
                  <a:cubicBezTo>
                    <a:pt x="317" y="704"/>
                    <a:pt x="323" y="707"/>
                    <a:pt x="328" y="709"/>
                  </a:cubicBezTo>
                  <a:cubicBezTo>
                    <a:pt x="330" y="703"/>
                    <a:pt x="336" y="683"/>
                    <a:pt x="344" y="682"/>
                  </a:cubicBezTo>
                  <a:cubicBezTo>
                    <a:pt x="349" y="681"/>
                    <a:pt x="357" y="682"/>
                    <a:pt x="363" y="683"/>
                  </a:cubicBezTo>
                  <a:cubicBezTo>
                    <a:pt x="364" y="681"/>
                    <a:pt x="364" y="679"/>
                    <a:pt x="365" y="678"/>
                  </a:cubicBezTo>
                  <a:cubicBezTo>
                    <a:pt x="368" y="674"/>
                    <a:pt x="400" y="686"/>
                    <a:pt x="408" y="690"/>
                  </a:cubicBezTo>
                  <a:cubicBezTo>
                    <a:pt x="416" y="694"/>
                    <a:pt x="426" y="707"/>
                    <a:pt x="426" y="707"/>
                  </a:cubicBezTo>
                  <a:cubicBezTo>
                    <a:pt x="426" y="707"/>
                    <a:pt x="444" y="732"/>
                    <a:pt x="454" y="738"/>
                  </a:cubicBezTo>
                  <a:cubicBezTo>
                    <a:pt x="463" y="742"/>
                    <a:pt x="464" y="732"/>
                    <a:pt x="468" y="729"/>
                  </a:cubicBezTo>
                  <a:cubicBezTo>
                    <a:pt x="468" y="729"/>
                    <a:pt x="468" y="729"/>
                    <a:pt x="468" y="729"/>
                  </a:cubicBezTo>
                  <a:cubicBezTo>
                    <a:pt x="433" y="542"/>
                    <a:pt x="433" y="542"/>
                    <a:pt x="433" y="542"/>
                  </a:cubicBezTo>
                  <a:cubicBezTo>
                    <a:pt x="529" y="511"/>
                    <a:pt x="529" y="511"/>
                    <a:pt x="529" y="511"/>
                  </a:cubicBezTo>
                  <a:cubicBezTo>
                    <a:pt x="536" y="514"/>
                    <a:pt x="536" y="514"/>
                    <a:pt x="536" y="514"/>
                  </a:cubicBezTo>
                  <a:cubicBezTo>
                    <a:pt x="536" y="513"/>
                    <a:pt x="536" y="513"/>
                    <a:pt x="536" y="513"/>
                  </a:cubicBezTo>
                  <a:cubicBezTo>
                    <a:pt x="536" y="513"/>
                    <a:pt x="540" y="501"/>
                    <a:pt x="541" y="491"/>
                  </a:cubicBezTo>
                  <a:cubicBezTo>
                    <a:pt x="542" y="481"/>
                    <a:pt x="561" y="486"/>
                    <a:pt x="561" y="486"/>
                  </a:cubicBezTo>
                  <a:cubicBezTo>
                    <a:pt x="566" y="501"/>
                    <a:pt x="566" y="501"/>
                    <a:pt x="566" y="501"/>
                  </a:cubicBezTo>
                  <a:cubicBezTo>
                    <a:pt x="566" y="501"/>
                    <a:pt x="580" y="495"/>
                    <a:pt x="582" y="492"/>
                  </a:cubicBezTo>
                  <a:cubicBezTo>
                    <a:pt x="584" y="489"/>
                    <a:pt x="568" y="471"/>
                    <a:pt x="568" y="471"/>
                  </a:cubicBezTo>
                  <a:cubicBezTo>
                    <a:pt x="578" y="471"/>
                    <a:pt x="578" y="471"/>
                    <a:pt x="578" y="471"/>
                  </a:cubicBezTo>
                  <a:cubicBezTo>
                    <a:pt x="587" y="480"/>
                    <a:pt x="587" y="480"/>
                    <a:pt x="587" y="480"/>
                  </a:cubicBezTo>
                  <a:cubicBezTo>
                    <a:pt x="604" y="479"/>
                    <a:pt x="604" y="479"/>
                    <a:pt x="604" y="479"/>
                  </a:cubicBezTo>
                  <a:cubicBezTo>
                    <a:pt x="604" y="479"/>
                    <a:pt x="618" y="483"/>
                    <a:pt x="621" y="479"/>
                  </a:cubicBezTo>
                  <a:cubicBezTo>
                    <a:pt x="624" y="475"/>
                    <a:pt x="619" y="471"/>
                    <a:pt x="615" y="471"/>
                  </a:cubicBezTo>
                  <a:cubicBezTo>
                    <a:pt x="611" y="471"/>
                    <a:pt x="603" y="466"/>
                    <a:pt x="603" y="466"/>
                  </a:cubicBezTo>
                  <a:cubicBezTo>
                    <a:pt x="603" y="466"/>
                    <a:pt x="587" y="470"/>
                    <a:pt x="584" y="460"/>
                  </a:cubicBezTo>
                  <a:cubicBezTo>
                    <a:pt x="581" y="450"/>
                    <a:pt x="604" y="452"/>
                    <a:pt x="604" y="452"/>
                  </a:cubicBezTo>
                  <a:cubicBezTo>
                    <a:pt x="613" y="444"/>
                    <a:pt x="613" y="444"/>
                    <a:pt x="613" y="444"/>
                  </a:cubicBezTo>
                  <a:cubicBezTo>
                    <a:pt x="613" y="444"/>
                    <a:pt x="625" y="461"/>
                    <a:pt x="628" y="461"/>
                  </a:cubicBezTo>
                  <a:cubicBezTo>
                    <a:pt x="631" y="461"/>
                    <a:pt x="636" y="455"/>
                    <a:pt x="636" y="455"/>
                  </a:cubicBezTo>
                  <a:cubicBezTo>
                    <a:pt x="636" y="455"/>
                    <a:pt x="645" y="465"/>
                    <a:pt x="642" y="471"/>
                  </a:cubicBezTo>
                  <a:cubicBezTo>
                    <a:pt x="639" y="477"/>
                    <a:pt x="625" y="481"/>
                    <a:pt x="625" y="481"/>
                  </a:cubicBezTo>
                  <a:cubicBezTo>
                    <a:pt x="625" y="481"/>
                    <a:pt x="617" y="488"/>
                    <a:pt x="613" y="492"/>
                  </a:cubicBezTo>
                  <a:cubicBezTo>
                    <a:pt x="609" y="496"/>
                    <a:pt x="593" y="491"/>
                    <a:pt x="590" y="493"/>
                  </a:cubicBezTo>
                  <a:cubicBezTo>
                    <a:pt x="587" y="495"/>
                    <a:pt x="587" y="506"/>
                    <a:pt x="587" y="506"/>
                  </a:cubicBezTo>
                  <a:cubicBezTo>
                    <a:pt x="587" y="506"/>
                    <a:pt x="602" y="512"/>
                    <a:pt x="606" y="513"/>
                  </a:cubicBezTo>
                  <a:cubicBezTo>
                    <a:pt x="610" y="514"/>
                    <a:pt x="613" y="523"/>
                    <a:pt x="607" y="532"/>
                  </a:cubicBezTo>
                  <a:cubicBezTo>
                    <a:pt x="604" y="536"/>
                    <a:pt x="607" y="542"/>
                    <a:pt x="610" y="549"/>
                  </a:cubicBezTo>
                  <a:cubicBezTo>
                    <a:pt x="656" y="571"/>
                    <a:pt x="656" y="571"/>
                    <a:pt x="656" y="571"/>
                  </a:cubicBezTo>
                  <a:cubicBezTo>
                    <a:pt x="705" y="619"/>
                    <a:pt x="705" y="619"/>
                    <a:pt x="705" y="619"/>
                  </a:cubicBezTo>
                  <a:cubicBezTo>
                    <a:pt x="705" y="619"/>
                    <a:pt x="742" y="612"/>
                    <a:pt x="758" y="612"/>
                  </a:cubicBezTo>
                  <a:cubicBezTo>
                    <a:pt x="774" y="612"/>
                    <a:pt x="812" y="616"/>
                    <a:pt x="812" y="616"/>
                  </a:cubicBezTo>
                  <a:cubicBezTo>
                    <a:pt x="812" y="616"/>
                    <a:pt x="830" y="604"/>
                    <a:pt x="837" y="604"/>
                  </a:cubicBezTo>
                  <a:cubicBezTo>
                    <a:pt x="844" y="604"/>
                    <a:pt x="874" y="647"/>
                    <a:pt x="874" y="647"/>
                  </a:cubicBezTo>
                  <a:cubicBezTo>
                    <a:pt x="874" y="647"/>
                    <a:pt x="889" y="646"/>
                    <a:pt x="894" y="647"/>
                  </a:cubicBezTo>
                  <a:cubicBezTo>
                    <a:pt x="900" y="648"/>
                    <a:pt x="893" y="696"/>
                    <a:pt x="902" y="699"/>
                  </a:cubicBezTo>
                  <a:cubicBezTo>
                    <a:pt x="912" y="702"/>
                    <a:pt x="912" y="688"/>
                    <a:pt x="921" y="699"/>
                  </a:cubicBezTo>
                  <a:cubicBezTo>
                    <a:pt x="930" y="710"/>
                    <a:pt x="932" y="734"/>
                    <a:pt x="942" y="739"/>
                  </a:cubicBezTo>
                  <a:cubicBezTo>
                    <a:pt x="953" y="744"/>
                    <a:pt x="1000" y="735"/>
                    <a:pt x="1006" y="744"/>
                  </a:cubicBezTo>
                  <a:cubicBezTo>
                    <a:pt x="1013" y="754"/>
                    <a:pt x="996" y="767"/>
                    <a:pt x="1006" y="770"/>
                  </a:cubicBezTo>
                  <a:cubicBezTo>
                    <a:pt x="1017" y="772"/>
                    <a:pt x="1028" y="778"/>
                    <a:pt x="1028" y="778"/>
                  </a:cubicBezTo>
                  <a:cubicBezTo>
                    <a:pt x="1028" y="778"/>
                    <a:pt x="1020" y="754"/>
                    <a:pt x="1029" y="747"/>
                  </a:cubicBezTo>
                  <a:cubicBezTo>
                    <a:pt x="1038" y="740"/>
                    <a:pt x="1046" y="740"/>
                    <a:pt x="1046" y="740"/>
                  </a:cubicBezTo>
                  <a:cubicBezTo>
                    <a:pt x="1046" y="740"/>
                    <a:pt x="1045" y="722"/>
                    <a:pt x="1056" y="719"/>
                  </a:cubicBezTo>
                  <a:cubicBezTo>
                    <a:pt x="1066" y="716"/>
                    <a:pt x="1078" y="714"/>
                    <a:pt x="1078" y="714"/>
                  </a:cubicBezTo>
                  <a:cubicBezTo>
                    <a:pt x="1086" y="696"/>
                    <a:pt x="1086" y="696"/>
                    <a:pt x="1086" y="696"/>
                  </a:cubicBezTo>
                  <a:cubicBezTo>
                    <a:pt x="1104" y="695"/>
                    <a:pt x="1104" y="695"/>
                    <a:pt x="1104" y="695"/>
                  </a:cubicBezTo>
                  <a:cubicBezTo>
                    <a:pt x="1123" y="686"/>
                    <a:pt x="1123" y="686"/>
                    <a:pt x="1123" y="686"/>
                  </a:cubicBezTo>
                  <a:cubicBezTo>
                    <a:pt x="1117" y="683"/>
                    <a:pt x="1107" y="683"/>
                    <a:pt x="1107" y="683"/>
                  </a:cubicBezTo>
                  <a:cubicBezTo>
                    <a:pt x="1107" y="683"/>
                    <a:pt x="1108" y="654"/>
                    <a:pt x="1131" y="653"/>
                  </a:cubicBezTo>
                  <a:cubicBezTo>
                    <a:pt x="1154" y="652"/>
                    <a:pt x="1185" y="672"/>
                    <a:pt x="1185" y="672"/>
                  </a:cubicBezTo>
                  <a:cubicBezTo>
                    <a:pt x="1208" y="672"/>
                    <a:pt x="1208" y="672"/>
                    <a:pt x="1208" y="672"/>
                  </a:cubicBezTo>
                  <a:cubicBezTo>
                    <a:pt x="1219" y="678"/>
                    <a:pt x="1219" y="678"/>
                    <a:pt x="1219" y="678"/>
                  </a:cubicBezTo>
                  <a:cubicBezTo>
                    <a:pt x="1219" y="678"/>
                    <a:pt x="1211" y="643"/>
                    <a:pt x="1214" y="640"/>
                  </a:cubicBezTo>
                  <a:cubicBezTo>
                    <a:pt x="1217" y="637"/>
                    <a:pt x="1230" y="635"/>
                    <a:pt x="1240" y="635"/>
                  </a:cubicBezTo>
                  <a:cubicBezTo>
                    <a:pt x="1250" y="635"/>
                    <a:pt x="1260" y="647"/>
                    <a:pt x="1264" y="647"/>
                  </a:cubicBezTo>
                  <a:cubicBezTo>
                    <a:pt x="1268" y="647"/>
                    <a:pt x="1296" y="653"/>
                    <a:pt x="1296" y="653"/>
                  </a:cubicBezTo>
                  <a:cubicBezTo>
                    <a:pt x="1308" y="649"/>
                    <a:pt x="1308" y="649"/>
                    <a:pt x="1308" y="649"/>
                  </a:cubicBezTo>
                  <a:cubicBezTo>
                    <a:pt x="1308" y="649"/>
                    <a:pt x="1356" y="649"/>
                    <a:pt x="1364" y="648"/>
                  </a:cubicBezTo>
                  <a:cubicBezTo>
                    <a:pt x="1372" y="647"/>
                    <a:pt x="1402" y="651"/>
                    <a:pt x="1402" y="651"/>
                  </a:cubicBezTo>
                  <a:cubicBezTo>
                    <a:pt x="1434" y="650"/>
                    <a:pt x="1434" y="650"/>
                    <a:pt x="1434" y="650"/>
                  </a:cubicBezTo>
                  <a:cubicBezTo>
                    <a:pt x="1442" y="658"/>
                    <a:pt x="1442" y="658"/>
                    <a:pt x="1442" y="658"/>
                  </a:cubicBezTo>
                  <a:cubicBezTo>
                    <a:pt x="1454" y="658"/>
                    <a:pt x="1454" y="658"/>
                    <a:pt x="1454" y="658"/>
                  </a:cubicBezTo>
                  <a:cubicBezTo>
                    <a:pt x="1471" y="676"/>
                    <a:pt x="1471" y="676"/>
                    <a:pt x="1471" y="676"/>
                  </a:cubicBezTo>
                  <a:cubicBezTo>
                    <a:pt x="1499" y="676"/>
                    <a:pt x="1499" y="676"/>
                    <a:pt x="1499" y="676"/>
                  </a:cubicBezTo>
                  <a:cubicBezTo>
                    <a:pt x="1513" y="681"/>
                    <a:pt x="1513" y="681"/>
                    <a:pt x="1513" y="681"/>
                  </a:cubicBezTo>
                  <a:cubicBezTo>
                    <a:pt x="1512" y="680"/>
                    <a:pt x="1512" y="680"/>
                    <a:pt x="1512" y="680"/>
                  </a:cubicBezTo>
                  <a:cubicBezTo>
                    <a:pt x="1507" y="675"/>
                    <a:pt x="1503" y="664"/>
                    <a:pt x="1503" y="659"/>
                  </a:cubicBezTo>
                  <a:cubicBezTo>
                    <a:pt x="1503" y="654"/>
                    <a:pt x="1517" y="656"/>
                    <a:pt x="1517" y="656"/>
                  </a:cubicBezTo>
                  <a:cubicBezTo>
                    <a:pt x="1517" y="656"/>
                    <a:pt x="1506" y="644"/>
                    <a:pt x="1506" y="641"/>
                  </a:cubicBezTo>
                  <a:cubicBezTo>
                    <a:pt x="1506" y="638"/>
                    <a:pt x="1522" y="641"/>
                    <a:pt x="1522" y="634"/>
                  </a:cubicBezTo>
                  <a:cubicBezTo>
                    <a:pt x="1522" y="627"/>
                    <a:pt x="1492" y="596"/>
                    <a:pt x="1484" y="587"/>
                  </a:cubicBezTo>
                  <a:cubicBezTo>
                    <a:pt x="1476" y="578"/>
                    <a:pt x="1476" y="552"/>
                    <a:pt x="1476" y="552"/>
                  </a:cubicBezTo>
                  <a:cubicBezTo>
                    <a:pt x="1476" y="552"/>
                    <a:pt x="1458" y="555"/>
                    <a:pt x="1451" y="546"/>
                  </a:cubicBezTo>
                  <a:cubicBezTo>
                    <a:pt x="1444" y="537"/>
                    <a:pt x="1475" y="530"/>
                    <a:pt x="1481" y="529"/>
                  </a:cubicBezTo>
                  <a:cubicBezTo>
                    <a:pt x="1487" y="528"/>
                    <a:pt x="1511" y="518"/>
                    <a:pt x="1516" y="518"/>
                  </a:cubicBezTo>
                  <a:cubicBezTo>
                    <a:pt x="1521" y="518"/>
                    <a:pt x="1530" y="532"/>
                    <a:pt x="1530" y="532"/>
                  </a:cubicBezTo>
                  <a:cubicBezTo>
                    <a:pt x="1543" y="525"/>
                    <a:pt x="1543" y="525"/>
                    <a:pt x="1543" y="525"/>
                  </a:cubicBezTo>
                  <a:cubicBezTo>
                    <a:pt x="1543" y="525"/>
                    <a:pt x="1550" y="539"/>
                    <a:pt x="1559" y="528"/>
                  </a:cubicBezTo>
                  <a:cubicBezTo>
                    <a:pt x="1568" y="517"/>
                    <a:pt x="1545" y="515"/>
                    <a:pt x="1541" y="513"/>
                  </a:cubicBezTo>
                  <a:cubicBezTo>
                    <a:pt x="1537" y="511"/>
                    <a:pt x="1541" y="459"/>
                    <a:pt x="1541" y="447"/>
                  </a:cubicBezTo>
                  <a:cubicBezTo>
                    <a:pt x="1541" y="435"/>
                    <a:pt x="1540" y="420"/>
                    <a:pt x="1546" y="420"/>
                  </a:cubicBezTo>
                  <a:cubicBezTo>
                    <a:pt x="1552" y="420"/>
                    <a:pt x="1577" y="432"/>
                    <a:pt x="1585" y="434"/>
                  </a:cubicBezTo>
                  <a:cubicBezTo>
                    <a:pt x="1593" y="436"/>
                    <a:pt x="1614" y="434"/>
                    <a:pt x="1614" y="434"/>
                  </a:cubicBezTo>
                  <a:cubicBezTo>
                    <a:pt x="1623" y="442"/>
                    <a:pt x="1623" y="442"/>
                    <a:pt x="1623" y="442"/>
                  </a:cubicBezTo>
                  <a:cubicBezTo>
                    <a:pt x="1634" y="430"/>
                    <a:pt x="1634" y="430"/>
                    <a:pt x="1634" y="430"/>
                  </a:cubicBezTo>
                  <a:cubicBezTo>
                    <a:pt x="1634" y="430"/>
                    <a:pt x="1642" y="431"/>
                    <a:pt x="1649" y="426"/>
                  </a:cubicBezTo>
                  <a:cubicBezTo>
                    <a:pt x="1656" y="421"/>
                    <a:pt x="1650" y="410"/>
                    <a:pt x="1641" y="397"/>
                  </a:cubicBezTo>
                  <a:cubicBezTo>
                    <a:pt x="1632" y="384"/>
                    <a:pt x="1622" y="375"/>
                    <a:pt x="1627" y="361"/>
                  </a:cubicBezTo>
                  <a:cubicBezTo>
                    <a:pt x="1632" y="347"/>
                    <a:pt x="1661" y="357"/>
                    <a:pt x="1667" y="348"/>
                  </a:cubicBezTo>
                  <a:cubicBezTo>
                    <a:pt x="1673" y="339"/>
                    <a:pt x="1654" y="336"/>
                    <a:pt x="1655" y="327"/>
                  </a:cubicBezTo>
                  <a:close/>
                  <a:moveTo>
                    <a:pt x="1385" y="465"/>
                  </a:moveTo>
                  <a:cubicBezTo>
                    <a:pt x="1380" y="470"/>
                    <a:pt x="1363" y="466"/>
                    <a:pt x="1363" y="466"/>
                  </a:cubicBezTo>
                  <a:cubicBezTo>
                    <a:pt x="1363" y="466"/>
                    <a:pt x="1361" y="472"/>
                    <a:pt x="1356" y="473"/>
                  </a:cubicBezTo>
                  <a:cubicBezTo>
                    <a:pt x="1351" y="474"/>
                    <a:pt x="1340" y="464"/>
                    <a:pt x="1340" y="464"/>
                  </a:cubicBezTo>
                  <a:cubicBezTo>
                    <a:pt x="1320" y="467"/>
                    <a:pt x="1320" y="467"/>
                    <a:pt x="1320" y="467"/>
                  </a:cubicBezTo>
                  <a:cubicBezTo>
                    <a:pt x="1299" y="463"/>
                    <a:pt x="1299" y="463"/>
                    <a:pt x="1299" y="463"/>
                  </a:cubicBezTo>
                  <a:cubicBezTo>
                    <a:pt x="1287" y="464"/>
                    <a:pt x="1287" y="464"/>
                    <a:pt x="1287" y="464"/>
                  </a:cubicBezTo>
                  <a:cubicBezTo>
                    <a:pt x="1270" y="459"/>
                    <a:pt x="1270" y="459"/>
                    <a:pt x="1270" y="459"/>
                  </a:cubicBezTo>
                  <a:cubicBezTo>
                    <a:pt x="1270" y="459"/>
                    <a:pt x="1259" y="460"/>
                    <a:pt x="1246" y="460"/>
                  </a:cubicBezTo>
                  <a:cubicBezTo>
                    <a:pt x="1233" y="460"/>
                    <a:pt x="1236" y="454"/>
                    <a:pt x="1236" y="454"/>
                  </a:cubicBezTo>
                  <a:cubicBezTo>
                    <a:pt x="1236" y="454"/>
                    <a:pt x="1228" y="462"/>
                    <a:pt x="1222" y="464"/>
                  </a:cubicBezTo>
                  <a:cubicBezTo>
                    <a:pt x="1216" y="466"/>
                    <a:pt x="1215" y="476"/>
                    <a:pt x="1209" y="484"/>
                  </a:cubicBezTo>
                  <a:cubicBezTo>
                    <a:pt x="1203" y="492"/>
                    <a:pt x="1195" y="489"/>
                    <a:pt x="1195" y="489"/>
                  </a:cubicBezTo>
                  <a:cubicBezTo>
                    <a:pt x="1199" y="507"/>
                    <a:pt x="1199" y="507"/>
                    <a:pt x="1199" y="507"/>
                  </a:cubicBezTo>
                  <a:cubicBezTo>
                    <a:pt x="1191" y="514"/>
                    <a:pt x="1191" y="514"/>
                    <a:pt x="1191" y="514"/>
                  </a:cubicBezTo>
                  <a:cubicBezTo>
                    <a:pt x="1201" y="525"/>
                    <a:pt x="1201" y="525"/>
                    <a:pt x="1201" y="525"/>
                  </a:cubicBezTo>
                  <a:cubicBezTo>
                    <a:pt x="1200" y="542"/>
                    <a:pt x="1200" y="542"/>
                    <a:pt x="1200" y="542"/>
                  </a:cubicBezTo>
                  <a:cubicBezTo>
                    <a:pt x="1196" y="541"/>
                    <a:pt x="1167" y="507"/>
                    <a:pt x="1167" y="507"/>
                  </a:cubicBezTo>
                  <a:cubicBezTo>
                    <a:pt x="1167" y="507"/>
                    <a:pt x="1163" y="492"/>
                    <a:pt x="1163" y="481"/>
                  </a:cubicBezTo>
                  <a:cubicBezTo>
                    <a:pt x="1163" y="470"/>
                    <a:pt x="1181" y="467"/>
                    <a:pt x="1185" y="466"/>
                  </a:cubicBezTo>
                  <a:cubicBezTo>
                    <a:pt x="1189" y="465"/>
                    <a:pt x="1187" y="454"/>
                    <a:pt x="1193" y="448"/>
                  </a:cubicBezTo>
                  <a:cubicBezTo>
                    <a:pt x="1199" y="442"/>
                    <a:pt x="1224" y="448"/>
                    <a:pt x="1228" y="448"/>
                  </a:cubicBezTo>
                  <a:cubicBezTo>
                    <a:pt x="1232" y="448"/>
                    <a:pt x="1240" y="442"/>
                    <a:pt x="1253" y="443"/>
                  </a:cubicBezTo>
                  <a:cubicBezTo>
                    <a:pt x="1266" y="444"/>
                    <a:pt x="1274" y="451"/>
                    <a:pt x="1281" y="452"/>
                  </a:cubicBezTo>
                  <a:cubicBezTo>
                    <a:pt x="1288" y="453"/>
                    <a:pt x="1293" y="456"/>
                    <a:pt x="1306" y="458"/>
                  </a:cubicBezTo>
                  <a:cubicBezTo>
                    <a:pt x="1319" y="460"/>
                    <a:pt x="1315" y="449"/>
                    <a:pt x="1328" y="449"/>
                  </a:cubicBezTo>
                  <a:cubicBezTo>
                    <a:pt x="1341" y="449"/>
                    <a:pt x="1360" y="454"/>
                    <a:pt x="1360" y="454"/>
                  </a:cubicBezTo>
                  <a:cubicBezTo>
                    <a:pt x="1360" y="454"/>
                    <a:pt x="1370" y="445"/>
                    <a:pt x="1384" y="443"/>
                  </a:cubicBezTo>
                  <a:cubicBezTo>
                    <a:pt x="1398" y="441"/>
                    <a:pt x="1390" y="460"/>
                    <a:pt x="1385" y="465"/>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202" name="Freeform 163"/>
            <p:cNvSpPr>
              <a:spLocks/>
            </p:cNvSpPr>
            <p:nvPr/>
          </p:nvSpPr>
          <p:spPr bwMode="gray">
            <a:xfrm>
              <a:off x="5033963" y="4291013"/>
              <a:ext cx="284162" cy="498475"/>
            </a:xfrm>
            <a:custGeom>
              <a:avLst/>
              <a:gdLst>
                <a:gd name="T0" fmla="*/ 507 w 508"/>
                <a:gd name="T1" fmla="*/ 210 h 891"/>
                <a:gd name="T2" fmla="*/ 499 w 508"/>
                <a:gd name="T3" fmla="*/ 170 h 891"/>
                <a:gd name="T4" fmla="*/ 502 w 508"/>
                <a:gd name="T5" fmla="*/ 155 h 891"/>
                <a:gd name="T6" fmla="*/ 503 w 508"/>
                <a:gd name="T7" fmla="*/ 104 h 891"/>
                <a:gd name="T8" fmla="*/ 505 w 508"/>
                <a:gd name="T9" fmla="*/ 13 h 891"/>
                <a:gd name="T10" fmla="*/ 497 w 508"/>
                <a:gd name="T11" fmla="*/ 0 h 891"/>
                <a:gd name="T12" fmla="*/ 425 w 508"/>
                <a:gd name="T13" fmla="*/ 38 h 891"/>
                <a:gd name="T14" fmla="*/ 393 w 508"/>
                <a:gd name="T15" fmla="*/ 45 h 891"/>
                <a:gd name="T16" fmla="*/ 354 w 508"/>
                <a:gd name="T17" fmla="*/ 66 h 891"/>
                <a:gd name="T18" fmla="*/ 325 w 508"/>
                <a:gd name="T19" fmla="*/ 61 h 891"/>
                <a:gd name="T20" fmla="*/ 279 w 508"/>
                <a:gd name="T21" fmla="*/ 51 h 891"/>
                <a:gd name="T22" fmla="*/ 237 w 508"/>
                <a:gd name="T23" fmla="*/ 62 h 891"/>
                <a:gd name="T24" fmla="*/ 224 w 508"/>
                <a:gd name="T25" fmla="*/ 89 h 891"/>
                <a:gd name="T26" fmla="*/ 228 w 508"/>
                <a:gd name="T27" fmla="*/ 144 h 891"/>
                <a:gd name="T28" fmla="*/ 235 w 508"/>
                <a:gd name="T29" fmla="*/ 166 h 891"/>
                <a:gd name="T30" fmla="*/ 281 w 508"/>
                <a:gd name="T31" fmla="*/ 231 h 891"/>
                <a:gd name="T32" fmla="*/ 268 w 508"/>
                <a:gd name="T33" fmla="*/ 300 h 891"/>
                <a:gd name="T34" fmla="*/ 246 w 508"/>
                <a:gd name="T35" fmla="*/ 333 h 891"/>
                <a:gd name="T36" fmla="*/ 234 w 508"/>
                <a:gd name="T37" fmla="*/ 340 h 891"/>
                <a:gd name="T38" fmla="*/ 202 w 508"/>
                <a:gd name="T39" fmla="*/ 297 h 891"/>
                <a:gd name="T40" fmla="*/ 208 w 508"/>
                <a:gd name="T41" fmla="*/ 279 h 891"/>
                <a:gd name="T42" fmla="*/ 210 w 508"/>
                <a:gd name="T43" fmla="*/ 263 h 891"/>
                <a:gd name="T44" fmla="*/ 208 w 508"/>
                <a:gd name="T45" fmla="*/ 234 h 891"/>
                <a:gd name="T46" fmla="*/ 189 w 508"/>
                <a:gd name="T47" fmla="*/ 218 h 891"/>
                <a:gd name="T48" fmla="*/ 148 w 508"/>
                <a:gd name="T49" fmla="*/ 189 h 891"/>
                <a:gd name="T50" fmla="*/ 43 w 508"/>
                <a:gd name="T51" fmla="*/ 227 h 891"/>
                <a:gd name="T52" fmla="*/ 5 w 508"/>
                <a:gd name="T53" fmla="*/ 243 h 891"/>
                <a:gd name="T54" fmla="*/ 17 w 508"/>
                <a:gd name="T55" fmla="*/ 297 h 891"/>
                <a:gd name="T56" fmla="*/ 64 w 508"/>
                <a:gd name="T57" fmla="*/ 309 h 891"/>
                <a:gd name="T58" fmla="*/ 89 w 508"/>
                <a:gd name="T59" fmla="*/ 322 h 891"/>
                <a:gd name="T60" fmla="*/ 120 w 508"/>
                <a:gd name="T61" fmla="*/ 331 h 891"/>
                <a:gd name="T62" fmla="*/ 129 w 508"/>
                <a:gd name="T63" fmla="*/ 357 h 891"/>
                <a:gd name="T64" fmla="*/ 131 w 508"/>
                <a:gd name="T65" fmla="*/ 375 h 891"/>
                <a:gd name="T66" fmla="*/ 129 w 508"/>
                <a:gd name="T67" fmla="*/ 395 h 891"/>
                <a:gd name="T68" fmla="*/ 131 w 508"/>
                <a:gd name="T69" fmla="*/ 434 h 891"/>
                <a:gd name="T70" fmla="*/ 117 w 508"/>
                <a:gd name="T71" fmla="*/ 450 h 891"/>
                <a:gd name="T72" fmla="*/ 117 w 508"/>
                <a:gd name="T73" fmla="*/ 482 h 891"/>
                <a:gd name="T74" fmla="*/ 125 w 508"/>
                <a:gd name="T75" fmla="*/ 518 h 891"/>
                <a:gd name="T76" fmla="*/ 105 w 508"/>
                <a:gd name="T77" fmla="*/ 542 h 891"/>
                <a:gd name="T78" fmla="*/ 96 w 508"/>
                <a:gd name="T79" fmla="*/ 570 h 891"/>
                <a:gd name="T80" fmla="*/ 95 w 508"/>
                <a:gd name="T81" fmla="*/ 586 h 891"/>
                <a:gd name="T82" fmla="*/ 57 w 508"/>
                <a:gd name="T83" fmla="*/ 702 h 891"/>
                <a:gd name="T84" fmla="*/ 78 w 508"/>
                <a:gd name="T85" fmla="*/ 809 h 891"/>
                <a:gd name="T86" fmla="*/ 76 w 508"/>
                <a:gd name="T87" fmla="*/ 830 h 891"/>
                <a:gd name="T88" fmla="*/ 83 w 508"/>
                <a:gd name="T89" fmla="*/ 861 h 891"/>
                <a:gd name="T90" fmla="*/ 98 w 508"/>
                <a:gd name="T91" fmla="*/ 877 h 891"/>
                <a:gd name="T92" fmla="*/ 115 w 508"/>
                <a:gd name="T93" fmla="*/ 871 h 891"/>
                <a:gd name="T94" fmla="*/ 109 w 508"/>
                <a:gd name="T95" fmla="*/ 819 h 891"/>
                <a:gd name="T96" fmla="*/ 242 w 508"/>
                <a:gd name="T97" fmla="*/ 735 h 891"/>
                <a:gd name="T98" fmla="*/ 230 w 508"/>
                <a:gd name="T99" fmla="*/ 713 h 891"/>
                <a:gd name="T100" fmla="*/ 241 w 508"/>
                <a:gd name="T101" fmla="*/ 650 h 891"/>
                <a:gd name="T102" fmla="*/ 246 w 508"/>
                <a:gd name="T103" fmla="*/ 626 h 891"/>
                <a:gd name="T104" fmla="*/ 238 w 508"/>
                <a:gd name="T105" fmla="*/ 612 h 891"/>
                <a:gd name="T106" fmla="*/ 225 w 508"/>
                <a:gd name="T107" fmla="*/ 555 h 891"/>
                <a:gd name="T108" fmla="*/ 222 w 508"/>
                <a:gd name="T109" fmla="*/ 503 h 891"/>
                <a:gd name="T110" fmla="*/ 267 w 508"/>
                <a:gd name="T111" fmla="*/ 455 h 891"/>
                <a:gd name="T112" fmla="*/ 312 w 508"/>
                <a:gd name="T113" fmla="*/ 419 h 891"/>
                <a:gd name="T114" fmla="*/ 417 w 508"/>
                <a:gd name="T115" fmla="*/ 348 h 891"/>
                <a:gd name="T116" fmla="*/ 458 w 508"/>
                <a:gd name="T117" fmla="*/ 314 h 891"/>
                <a:gd name="T118" fmla="*/ 498 w 508"/>
                <a:gd name="T119" fmla="*/ 263 h 891"/>
                <a:gd name="T120" fmla="*/ 508 w 508"/>
                <a:gd name="T121" fmla="*/ 229 h 8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08" h="891">
                  <a:moveTo>
                    <a:pt x="508" y="229"/>
                  </a:moveTo>
                  <a:cubicBezTo>
                    <a:pt x="508" y="221"/>
                    <a:pt x="507" y="210"/>
                    <a:pt x="507" y="210"/>
                  </a:cubicBezTo>
                  <a:cubicBezTo>
                    <a:pt x="499" y="211"/>
                    <a:pt x="499" y="211"/>
                    <a:pt x="499" y="211"/>
                  </a:cubicBezTo>
                  <a:cubicBezTo>
                    <a:pt x="499" y="170"/>
                    <a:pt x="499" y="170"/>
                    <a:pt x="499" y="170"/>
                  </a:cubicBezTo>
                  <a:cubicBezTo>
                    <a:pt x="491" y="162"/>
                    <a:pt x="491" y="162"/>
                    <a:pt x="491" y="162"/>
                  </a:cubicBezTo>
                  <a:cubicBezTo>
                    <a:pt x="502" y="155"/>
                    <a:pt x="502" y="155"/>
                    <a:pt x="502" y="155"/>
                  </a:cubicBezTo>
                  <a:cubicBezTo>
                    <a:pt x="495" y="124"/>
                    <a:pt x="495" y="124"/>
                    <a:pt x="495" y="124"/>
                  </a:cubicBezTo>
                  <a:cubicBezTo>
                    <a:pt x="503" y="104"/>
                    <a:pt x="503" y="104"/>
                    <a:pt x="503" y="104"/>
                  </a:cubicBezTo>
                  <a:cubicBezTo>
                    <a:pt x="493" y="78"/>
                    <a:pt x="493" y="78"/>
                    <a:pt x="493" y="78"/>
                  </a:cubicBezTo>
                  <a:cubicBezTo>
                    <a:pt x="493" y="78"/>
                    <a:pt x="505" y="21"/>
                    <a:pt x="505" y="13"/>
                  </a:cubicBezTo>
                  <a:cubicBezTo>
                    <a:pt x="505" y="5"/>
                    <a:pt x="497" y="0"/>
                    <a:pt x="497" y="0"/>
                  </a:cubicBezTo>
                  <a:cubicBezTo>
                    <a:pt x="497" y="0"/>
                    <a:pt x="497" y="0"/>
                    <a:pt x="497" y="0"/>
                  </a:cubicBezTo>
                  <a:cubicBezTo>
                    <a:pt x="444" y="37"/>
                    <a:pt x="444" y="37"/>
                    <a:pt x="444" y="37"/>
                  </a:cubicBezTo>
                  <a:cubicBezTo>
                    <a:pt x="425" y="38"/>
                    <a:pt x="425" y="38"/>
                    <a:pt x="425" y="38"/>
                  </a:cubicBezTo>
                  <a:cubicBezTo>
                    <a:pt x="425" y="38"/>
                    <a:pt x="404" y="51"/>
                    <a:pt x="400" y="52"/>
                  </a:cubicBezTo>
                  <a:cubicBezTo>
                    <a:pt x="396" y="53"/>
                    <a:pt x="393" y="45"/>
                    <a:pt x="393" y="45"/>
                  </a:cubicBezTo>
                  <a:cubicBezTo>
                    <a:pt x="377" y="45"/>
                    <a:pt x="377" y="45"/>
                    <a:pt x="377" y="45"/>
                  </a:cubicBezTo>
                  <a:cubicBezTo>
                    <a:pt x="377" y="45"/>
                    <a:pt x="361" y="63"/>
                    <a:pt x="354" y="66"/>
                  </a:cubicBezTo>
                  <a:cubicBezTo>
                    <a:pt x="347" y="69"/>
                    <a:pt x="343" y="67"/>
                    <a:pt x="343" y="67"/>
                  </a:cubicBezTo>
                  <a:cubicBezTo>
                    <a:pt x="343" y="67"/>
                    <a:pt x="329" y="59"/>
                    <a:pt x="325" y="61"/>
                  </a:cubicBezTo>
                  <a:cubicBezTo>
                    <a:pt x="321" y="63"/>
                    <a:pt x="316" y="72"/>
                    <a:pt x="311" y="72"/>
                  </a:cubicBezTo>
                  <a:cubicBezTo>
                    <a:pt x="306" y="72"/>
                    <a:pt x="287" y="51"/>
                    <a:pt x="279" y="51"/>
                  </a:cubicBezTo>
                  <a:cubicBezTo>
                    <a:pt x="271" y="51"/>
                    <a:pt x="267" y="61"/>
                    <a:pt x="267" y="61"/>
                  </a:cubicBezTo>
                  <a:cubicBezTo>
                    <a:pt x="267" y="61"/>
                    <a:pt x="250" y="62"/>
                    <a:pt x="237" y="62"/>
                  </a:cubicBezTo>
                  <a:cubicBezTo>
                    <a:pt x="236" y="66"/>
                    <a:pt x="236" y="70"/>
                    <a:pt x="236" y="72"/>
                  </a:cubicBezTo>
                  <a:cubicBezTo>
                    <a:pt x="236" y="75"/>
                    <a:pt x="233" y="81"/>
                    <a:pt x="224" y="89"/>
                  </a:cubicBezTo>
                  <a:cubicBezTo>
                    <a:pt x="215" y="97"/>
                    <a:pt x="225" y="104"/>
                    <a:pt x="229" y="109"/>
                  </a:cubicBezTo>
                  <a:cubicBezTo>
                    <a:pt x="233" y="114"/>
                    <a:pt x="233" y="132"/>
                    <a:pt x="228" y="144"/>
                  </a:cubicBezTo>
                  <a:cubicBezTo>
                    <a:pt x="225" y="151"/>
                    <a:pt x="225" y="159"/>
                    <a:pt x="226" y="164"/>
                  </a:cubicBezTo>
                  <a:cubicBezTo>
                    <a:pt x="229" y="165"/>
                    <a:pt x="233" y="165"/>
                    <a:pt x="235" y="166"/>
                  </a:cubicBezTo>
                  <a:cubicBezTo>
                    <a:pt x="239" y="169"/>
                    <a:pt x="257" y="196"/>
                    <a:pt x="261" y="204"/>
                  </a:cubicBezTo>
                  <a:cubicBezTo>
                    <a:pt x="265" y="212"/>
                    <a:pt x="275" y="222"/>
                    <a:pt x="281" y="231"/>
                  </a:cubicBezTo>
                  <a:cubicBezTo>
                    <a:pt x="287" y="240"/>
                    <a:pt x="270" y="258"/>
                    <a:pt x="270" y="258"/>
                  </a:cubicBezTo>
                  <a:cubicBezTo>
                    <a:pt x="270" y="258"/>
                    <a:pt x="274" y="293"/>
                    <a:pt x="268" y="300"/>
                  </a:cubicBezTo>
                  <a:cubicBezTo>
                    <a:pt x="262" y="307"/>
                    <a:pt x="244" y="299"/>
                    <a:pt x="238" y="317"/>
                  </a:cubicBezTo>
                  <a:cubicBezTo>
                    <a:pt x="232" y="335"/>
                    <a:pt x="242" y="323"/>
                    <a:pt x="246" y="333"/>
                  </a:cubicBezTo>
                  <a:cubicBezTo>
                    <a:pt x="250" y="343"/>
                    <a:pt x="243" y="360"/>
                    <a:pt x="232" y="358"/>
                  </a:cubicBezTo>
                  <a:cubicBezTo>
                    <a:pt x="221" y="356"/>
                    <a:pt x="235" y="346"/>
                    <a:pt x="234" y="340"/>
                  </a:cubicBezTo>
                  <a:cubicBezTo>
                    <a:pt x="233" y="334"/>
                    <a:pt x="202" y="314"/>
                    <a:pt x="202" y="314"/>
                  </a:cubicBezTo>
                  <a:cubicBezTo>
                    <a:pt x="202" y="297"/>
                    <a:pt x="202" y="297"/>
                    <a:pt x="202" y="297"/>
                  </a:cubicBezTo>
                  <a:cubicBezTo>
                    <a:pt x="202" y="297"/>
                    <a:pt x="197" y="297"/>
                    <a:pt x="195" y="294"/>
                  </a:cubicBezTo>
                  <a:cubicBezTo>
                    <a:pt x="193" y="291"/>
                    <a:pt x="208" y="279"/>
                    <a:pt x="208" y="279"/>
                  </a:cubicBezTo>
                  <a:cubicBezTo>
                    <a:pt x="200" y="266"/>
                    <a:pt x="200" y="266"/>
                    <a:pt x="200" y="266"/>
                  </a:cubicBezTo>
                  <a:cubicBezTo>
                    <a:pt x="210" y="263"/>
                    <a:pt x="210" y="263"/>
                    <a:pt x="210" y="263"/>
                  </a:cubicBezTo>
                  <a:cubicBezTo>
                    <a:pt x="213" y="242"/>
                    <a:pt x="213" y="242"/>
                    <a:pt x="213" y="242"/>
                  </a:cubicBezTo>
                  <a:cubicBezTo>
                    <a:pt x="213" y="242"/>
                    <a:pt x="207" y="243"/>
                    <a:pt x="208" y="234"/>
                  </a:cubicBezTo>
                  <a:cubicBezTo>
                    <a:pt x="209" y="225"/>
                    <a:pt x="205" y="214"/>
                    <a:pt x="205" y="214"/>
                  </a:cubicBezTo>
                  <a:cubicBezTo>
                    <a:pt x="199" y="211"/>
                    <a:pt x="189" y="218"/>
                    <a:pt x="189" y="218"/>
                  </a:cubicBezTo>
                  <a:cubicBezTo>
                    <a:pt x="169" y="221"/>
                    <a:pt x="169" y="221"/>
                    <a:pt x="169" y="221"/>
                  </a:cubicBezTo>
                  <a:cubicBezTo>
                    <a:pt x="148" y="189"/>
                    <a:pt x="148" y="189"/>
                    <a:pt x="148" y="189"/>
                  </a:cubicBezTo>
                  <a:cubicBezTo>
                    <a:pt x="148" y="189"/>
                    <a:pt x="104" y="209"/>
                    <a:pt x="95" y="214"/>
                  </a:cubicBezTo>
                  <a:cubicBezTo>
                    <a:pt x="85" y="219"/>
                    <a:pt x="43" y="227"/>
                    <a:pt x="43" y="227"/>
                  </a:cubicBezTo>
                  <a:cubicBezTo>
                    <a:pt x="31" y="238"/>
                    <a:pt x="31" y="238"/>
                    <a:pt x="31" y="238"/>
                  </a:cubicBezTo>
                  <a:cubicBezTo>
                    <a:pt x="31" y="238"/>
                    <a:pt x="11" y="239"/>
                    <a:pt x="5" y="243"/>
                  </a:cubicBezTo>
                  <a:cubicBezTo>
                    <a:pt x="0" y="247"/>
                    <a:pt x="15" y="261"/>
                    <a:pt x="15" y="261"/>
                  </a:cubicBezTo>
                  <a:cubicBezTo>
                    <a:pt x="17" y="297"/>
                    <a:pt x="17" y="297"/>
                    <a:pt x="17" y="297"/>
                  </a:cubicBezTo>
                  <a:cubicBezTo>
                    <a:pt x="56" y="297"/>
                    <a:pt x="56" y="297"/>
                    <a:pt x="56" y="297"/>
                  </a:cubicBezTo>
                  <a:cubicBezTo>
                    <a:pt x="64" y="309"/>
                    <a:pt x="64" y="309"/>
                    <a:pt x="64" y="309"/>
                  </a:cubicBezTo>
                  <a:cubicBezTo>
                    <a:pt x="79" y="306"/>
                    <a:pt x="79" y="306"/>
                    <a:pt x="79" y="306"/>
                  </a:cubicBezTo>
                  <a:cubicBezTo>
                    <a:pt x="89" y="322"/>
                    <a:pt x="89" y="322"/>
                    <a:pt x="89" y="322"/>
                  </a:cubicBezTo>
                  <a:cubicBezTo>
                    <a:pt x="89" y="322"/>
                    <a:pt x="99" y="319"/>
                    <a:pt x="107" y="319"/>
                  </a:cubicBezTo>
                  <a:cubicBezTo>
                    <a:pt x="115" y="319"/>
                    <a:pt x="120" y="331"/>
                    <a:pt x="120" y="331"/>
                  </a:cubicBezTo>
                  <a:cubicBezTo>
                    <a:pt x="120" y="331"/>
                    <a:pt x="135" y="331"/>
                    <a:pt x="139" y="339"/>
                  </a:cubicBezTo>
                  <a:cubicBezTo>
                    <a:pt x="143" y="347"/>
                    <a:pt x="129" y="357"/>
                    <a:pt x="129" y="357"/>
                  </a:cubicBezTo>
                  <a:cubicBezTo>
                    <a:pt x="137" y="366"/>
                    <a:pt x="137" y="366"/>
                    <a:pt x="137" y="366"/>
                  </a:cubicBezTo>
                  <a:cubicBezTo>
                    <a:pt x="131" y="375"/>
                    <a:pt x="131" y="375"/>
                    <a:pt x="131" y="375"/>
                  </a:cubicBezTo>
                  <a:cubicBezTo>
                    <a:pt x="137" y="383"/>
                    <a:pt x="137" y="383"/>
                    <a:pt x="137" y="383"/>
                  </a:cubicBezTo>
                  <a:cubicBezTo>
                    <a:pt x="137" y="383"/>
                    <a:pt x="132" y="390"/>
                    <a:pt x="129" y="395"/>
                  </a:cubicBezTo>
                  <a:cubicBezTo>
                    <a:pt x="127" y="401"/>
                    <a:pt x="135" y="407"/>
                    <a:pt x="137" y="421"/>
                  </a:cubicBezTo>
                  <a:cubicBezTo>
                    <a:pt x="140" y="434"/>
                    <a:pt x="131" y="434"/>
                    <a:pt x="131" y="434"/>
                  </a:cubicBezTo>
                  <a:cubicBezTo>
                    <a:pt x="131" y="443"/>
                    <a:pt x="131" y="443"/>
                    <a:pt x="131" y="443"/>
                  </a:cubicBezTo>
                  <a:cubicBezTo>
                    <a:pt x="117" y="450"/>
                    <a:pt x="117" y="450"/>
                    <a:pt x="117" y="450"/>
                  </a:cubicBezTo>
                  <a:cubicBezTo>
                    <a:pt x="131" y="466"/>
                    <a:pt x="131" y="466"/>
                    <a:pt x="131" y="466"/>
                  </a:cubicBezTo>
                  <a:cubicBezTo>
                    <a:pt x="131" y="466"/>
                    <a:pt x="119" y="477"/>
                    <a:pt x="117" y="482"/>
                  </a:cubicBezTo>
                  <a:cubicBezTo>
                    <a:pt x="116" y="487"/>
                    <a:pt x="133" y="498"/>
                    <a:pt x="135" y="505"/>
                  </a:cubicBezTo>
                  <a:cubicBezTo>
                    <a:pt x="136" y="511"/>
                    <a:pt x="125" y="518"/>
                    <a:pt x="125" y="518"/>
                  </a:cubicBezTo>
                  <a:cubicBezTo>
                    <a:pt x="125" y="518"/>
                    <a:pt x="123" y="525"/>
                    <a:pt x="121" y="533"/>
                  </a:cubicBezTo>
                  <a:cubicBezTo>
                    <a:pt x="120" y="541"/>
                    <a:pt x="105" y="542"/>
                    <a:pt x="105" y="542"/>
                  </a:cubicBezTo>
                  <a:cubicBezTo>
                    <a:pt x="104" y="565"/>
                    <a:pt x="104" y="565"/>
                    <a:pt x="104" y="565"/>
                  </a:cubicBezTo>
                  <a:cubicBezTo>
                    <a:pt x="96" y="570"/>
                    <a:pt x="96" y="570"/>
                    <a:pt x="96" y="570"/>
                  </a:cubicBezTo>
                  <a:cubicBezTo>
                    <a:pt x="105" y="583"/>
                    <a:pt x="105" y="583"/>
                    <a:pt x="105" y="583"/>
                  </a:cubicBezTo>
                  <a:cubicBezTo>
                    <a:pt x="95" y="586"/>
                    <a:pt x="95" y="586"/>
                    <a:pt x="95" y="586"/>
                  </a:cubicBezTo>
                  <a:cubicBezTo>
                    <a:pt x="48" y="642"/>
                    <a:pt x="48" y="642"/>
                    <a:pt x="48" y="642"/>
                  </a:cubicBezTo>
                  <a:cubicBezTo>
                    <a:pt x="48" y="642"/>
                    <a:pt x="55" y="693"/>
                    <a:pt x="57" y="702"/>
                  </a:cubicBezTo>
                  <a:cubicBezTo>
                    <a:pt x="59" y="711"/>
                    <a:pt x="80" y="743"/>
                    <a:pt x="79" y="752"/>
                  </a:cubicBezTo>
                  <a:cubicBezTo>
                    <a:pt x="78" y="761"/>
                    <a:pt x="78" y="809"/>
                    <a:pt x="78" y="809"/>
                  </a:cubicBezTo>
                  <a:cubicBezTo>
                    <a:pt x="60" y="833"/>
                    <a:pt x="60" y="833"/>
                    <a:pt x="60" y="833"/>
                  </a:cubicBezTo>
                  <a:cubicBezTo>
                    <a:pt x="76" y="830"/>
                    <a:pt x="76" y="830"/>
                    <a:pt x="76" y="830"/>
                  </a:cubicBezTo>
                  <a:cubicBezTo>
                    <a:pt x="76" y="830"/>
                    <a:pt x="71" y="847"/>
                    <a:pt x="73" y="854"/>
                  </a:cubicBezTo>
                  <a:cubicBezTo>
                    <a:pt x="76" y="861"/>
                    <a:pt x="83" y="861"/>
                    <a:pt x="83" y="861"/>
                  </a:cubicBezTo>
                  <a:cubicBezTo>
                    <a:pt x="87" y="877"/>
                    <a:pt x="87" y="877"/>
                    <a:pt x="87" y="877"/>
                  </a:cubicBezTo>
                  <a:cubicBezTo>
                    <a:pt x="91" y="876"/>
                    <a:pt x="95" y="875"/>
                    <a:pt x="98" y="877"/>
                  </a:cubicBezTo>
                  <a:cubicBezTo>
                    <a:pt x="102" y="879"/>
                    <a:pt x="107" y="885"/>
                    <a:pt x="111" y="891"/>
                  </a:cubicBezTo>
                  <a:cubicBezTo>
                    <a:pt x="113" y="883"/>
                    <a:pt x="115" y="876"/>
                    <a:pt x="115" y="871"/>
                  </a:cubicBezTo>
                  <a:cubicBezTo>
                    <a:pt x="116" y="856"/>
                    <a:pt x="107" y="845"/>
                    <a:pt x="107" y="845"/>
                  </a:cubicBezTo>
                  <a:cubicBezTo>
                    <a:pt x="107" y="845"/>
                    <a:pt x="88" y="839"/>
                    <a:pt x="109" y="819"/>
                  </a:cubicBezTo>
                  <a:cubicBezTo>
                    <a:pt x="130" y="799"/>
                    <a:pt x="165" y="785"/>
                    <a:pt x="186" y="773"/>
                  </a:cubicBezTo>
                  <a:cubicBezTo>
                    <a:pt x="207" y="761"/>
                    <a:pt x="242" y="744"/>
                    <a:pt x="242" y="735"/>
                  </a:cubicBezTo>
                  <a:cubicBezTo>
                    <a:pt x="242" y="726"/>
                    <a:pt x="242" y="718"/>
                    <a:pt x="242" y="718"/>
                  </a:cubicBezTo>
                  <a:cubicBezTo>
                    <a:pt x="242" y="718"/>
                    <a:pt x="231" y="727"/>
                    <a:pt x="230" y="713"/>
                  </a:cubicBezTo>
                  <a:cubicBezTo>
                    <a:pt x="229" y="699"/>
                    <a:pt x="249" y="684"/>
                    <a:pt x="247" y="674"/>
                  </a:cubicBezTo>
                  <a:cubicBezTo>
                    <a:pt x="245" y="664"/>
                    <a:pt x="241" y="650"/>
                    <a:pt x="241" y="650"/>
                  </a:cubicBezTo>
                  <a:cubicBezTo>
                    <a:pt x="248" y="631"/>
                    <a:pt x="248" y="631"/>
                    <a:pt x="248" y="631"/>
                  </a:cubicBezTo>
                  <a:cubicBezTo>
                    <a:pt x="246" y="626"/>
                    <a:pt x="246" y="626"/>
                    <a:pt x="246" y="626"/>
                  </a:cubicBezTo>
                  <a:cubicBezTo>
                    <a:pt x="235" y="639"/>
                    <a:pt x="235" y="639"/>
                    <a:pt x="235" y="639"/>
                  </a:cubicBezTo>
                  <a:cubicBezTo>
                    <a:pt x="238" y="612"/>
                    <a:pt x="238" y="612"/>
                    <a:pt x="238" y="612"/>
                  </a:cubicBezTo>
                  <a:cubicBezTo>
                    <a:pt x="238" y="612"/>
                    <a:pt x="223" y="597"/>
                    <a:pt x="222" y="587"/>
                  </a:cubicBezTo>
                  <a:cubicBezTo>
                    <a:pt x="221" y="577"/>
                    <a:pt x="230" y="567"/>
                    <a:pt x="225" y="555"/>
                  </a:cubicBezTo>
                  <a:cubicBezTo>
                    <a:pt x="220" y="543"/>
                    <a:pt x="208" y="554"/>
                    <a:pt x="208" y="541"/>
                  </a:cubicBezTo>
                  <a:cubicBezTo>
                    <a:pt x="208" y="528"/>
                    <a:pt x="219" y="507"/>
                    <a:pt x="222" y="503"/>
                  </a:cubicBezTo>
                  <a:cubicBezTo>
                    <a:pt x="225" y="499"/>
                    <a:pt x="249" y="493"/>
                    <a:pt x="252" y="484"/>
                  </a:cubicBezTo>
                  <a:cubicBezTo>
                    <a:pt x="255" y="475"/>
                    <a:pt x="260" y="460"/>
                    <a:pt x="267" y="455"/>
                  </a:cubicBezTo>
                  <a:cubicBezTo>
                    <a:pt x="274" y="450"/>
                    <a:pt x="279" y="455"/>
                    <a:pt x="287" y="449"/>
                  </a:cubicBezTo>
                  <a:cubicBezTo>
                    <a:pt x="295" y="443"/>
                    <a:pt x="310" y="435"/>
                    <a:pt x="312" y="419"/>
                  </a:cubicBezTo>
                  <a:cubicBezTo>
                    <a:pt x="314" y="403"/>
                    <a:pt x="331" y="385"/>
                    <a:pt x="348" y="377"/>
                  </a:cubicBezTo>
                  <a:cubicBezTo>
                    <a:pt x="365" y="369"/>
                    <a:pt x="409" y="355"/>
                    <a:pt x="417" y="348"/>
                  </a:cubicBezTo>
                  <a:cubicBezTo>
                    <a:pt x="425" y="341"/>
                    <a:pt x="458" y="324"/>
                    <a:pt x="458" y="324"/>
                  </a:cubicBezTo>
                  <a:cubicBezTo>
                    <a:pt x="458" y="314"/>
                    <a:pt x="458" y="314"/>
                    <a:pt x="458" y="314"/>
                  </a:cubicBezTo>
                  <a:cubicBezTo>
                    <a:pt x="458" y="314"/>
                    <a:pt x="476" y="295"/>
                    <a:pt x="476" y="290"/>
                  </a:cubicBezTo>
                  <a:cubicBezTo>
                    <a:pt x="476" y="285"/>
                    <a:pt x="498" y="263"/>
                    <a:pt x="498" y="263"/>
                  </a:cubicBezTo>
                  <a:cubicBezTo>
                    <a:pt x="496" y="254"/>
                    <a:pt x="496" y="254"/>
                    <a:pt x="496" y="254"/>
                  </a:cubicBezTo>
                  <a:cubicBezTo>
                    <a:pt x="496" y="254"/>
                    <a:pt x="508" y="237"/>
                    <a:pt x="508" y="229"/>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203" name="Freeform 164"/>
            <p:cNvSpPr>
              <a:spLocks/>
            </p:cNvSpPr>
            <p:nvPr/>
          </p:nvSpPr>
          <p:spPr bwMode="gray">
            <a:xfrm>
              <a:off x="5103813" y="4259263"/>
              <a:ext cx="90487" cy="233363"/>
            </a:xfrm>
            <a:custGeom>
              <a:avLst/>
              <a:gdLst>
                <a:gd name="T0" fmla="*/ 156 w 162"/>
                <a:gd name="T1" fmla="*/ 287 h 416"/>
                <a:gd name="T2" fmla="*/ 136 w 162"/>
                <a:gd name="T3" fmla="*/ 260 h 416"/>
                <a:gd name="T4" fmla="*/ 110 w 162"/>
                <a:gd name="T5" fmla="*/ 222 h 416"/>
                <a:gd name="T6" fmla="*/ 101 w 162"/>
                <a:gd name="T7" fmla="*/ 220 h 416"/>
                <a:gd name="T8" fmla="*/ 105 w 162"/>
                <a:gd name="T9" fmla="*/ 229 h 416"/>
                <a:gd name="T10" fmla="*/ 114 w 162"/>
                <a:gd name="T11" fmla="*/ 237 h 416"/>
                <a:gd name="T12" fmla="*/ 113 w 162"/>
                <a:gd name="T13" fmla="*/ 264 h 416"/>
                <a:gd name="T14" fmla="*/ 105 w 162"/>
                <a:gd name="T15" fmla="*/ 253 h 416"/>
                <a:gd name="T16" fmla="*/ 90 w 162"/>
                <a:gd name="T17" fmla="*/ 257 h 416"/>
                <a:gd name="T18" fmla="*/ 86 w 162"/>
                <a:gd name="T19" fmla="*/ 234 h 416"/>
                <a:gd name="T20" fmla="*/ 81 w 162"/>
                <a:gd name="T21" fmla="*/ 220 h 416"/>
                <a:gd name="T22" fmla="*/ 81 w 162"/>
                <a:gd name="T23" fmla="*/ 195 h 416"/>
                <a:gd name="T24" fmla="*/ 64 w 162"/>
                <a:gd name="T25" fmla="*/ 171 h 416"/>
                <a:gd name="T26" fmla="*/ 59 w 162"/>
                <a:gd name="T27" fmla="*/ 154 h 416"/>
                <a:gd name="T28" fmla="*/ 77 w 162"/>
                <a:gd name="T29" fmla="*/ 126 h 416"/>
                <a:gd name="T30" fmla="*/ 84 w 162"/>
                <a:gd name="T31" fmla="*/ 108 h 416"/>
                <a:gd name="T32" fmla="*/ 81 w 162"/>
                <a:gd name="T33" fmla="*/ 90 h 416"/>
                <a:gd name="T34" fmla="*/ 78 w 162"/>
                <a:gd name="T35" fmla="*/ 51 h 416"/>
                <a:gd name="T36" fmla="*/ 64 w 162"/>
                <a:gd name="T37" fmla="*/ 37 h 416"/>
                <a:gd name="T38" fmla="*/ 60 w 162"/>
                <a:gd name="T39" fmla="*/ 10 h 416"/>
                <a:gd name="T40" fmla="*/ 41 w 162"/>
                <a:gd name="T41" fmla="*/ 10 h 416"/>
                <a:gd name="T42" fmla="*/ 35 w 162"/>
                <a:gd name="T43" fmla="*/ 0 h 416"/>
                <a:gd name="T44" fmla="*/ 20 w 162"/>
                <a:gd name="T45" fmla="*/ 1 h 416"/>
                <a:gd name="T46" fmla="*/ 20 w 162"/>
                <a:gd name="T47" fmla="*/ 9 h 416"/>
                <a:gd name="T48" fmla="*/ 35 w 162"/>
                <a:gd name="T49" fmla="*/ 16 h 416"/>
                <a:gd name="T50" fmla="*/ 37 w 162"/>
                <a:gd name="T51" fmla="*/ 42 h 416"/>
                <a:gd name="T52" fmla="*/ 46 w 162"/>
                <a:gd name="T53" fmla="*/ 41 h 416"/>
                <a:gd name="T54" fmla="*/ 46 w 162"/>
                <a:gd name="T55" fmla="*/ 54 h 416"/>
                <a:gd name="T56" fmla="*/ 52 w 162"/>
                <a:gd name="T57" fmla="*/ 64 h 416"/>
                <a:gd name="T58" fmla="*/ 30 w 162"/>
                <a:gd name="T59" fmla="*/ 75 h 416"/>
                <a:gd name="T60" fmla="*/ 30 w 162"/>
                <a:gd name="T61" fmla="*/ 86 h 416"/>
                <a:gd name="T62" fmla="*/ 37 w 162"/>
                <a:gd name="T63" fmla="*/ 92 h 416"/>
                <a:gd name="T64" fmla="*/ 33 w 162"/>
                <a:gd name="T65" fmla="*/ 105 h 416"/>
                <a:gd name="T66" fmla="*/ 34 w 162"/>
                <a:gd name="T67" fmla="*/ 153 h 416"/>
                <a:gd name="T68" fmla="*/ 42 w 162"/>
                <a:gd name="T69" fmla="*/ 157 h 416"/>
                <a:gd name="T70" fmla="*/ 14 w 162"/>
                <a:gd name="T71" fmla="*/ 175 h 416"/>
                <a:gd name="T72" fmla="*/ 16 w 162"/>
                <a:gd name="T73" fmla="*/ 200 h 416"/>
                <a:gd name="T74" fmla="*/ 1 w 162"/>
                <a:gd name="T75" fmla="*/ 226 h 416"/>
                <a:gd name="T76" fmla="*/ 23 w 162"/>
                <a:gd name="T77" fmla="*/ 245 h 416"/>
                <a:gd name="T78" fmla="*/ 44 w 162"/>
                <a:gd name="T79" fmla="*/ 277 h 416"/>
                <a:gd name="T80" fmla="*/ 64 w 162"/>
                <a:gd name="T81" fmla="*/ 274 h 416"/>
                <a:gd name="T82" fmla="*/ 80 w 162"/>
                <a:gd name="T83" fmla="*/ 270 h 416"/>
                <a:gd name="T84" fmla="*/ 83 w 162"/>
                <a:gd name="T85" fmla="*/ 290 h 416"/>
                <a:gd name="T86" fmla="*/ 88 w 162"/>
                <a:gd name="T87" fmla="*/ 298 h 416"/>
                <a:gd name="T88" fmla="*/ 85 w 162"/>
                <a:gd name="T89" fmla="*/ 319 h 416"/>
                <a:gd name="T90" fmla="*/ 75 w 162"/>
                <a:gd name="T91" fmla="*/ 322 h 416"/>
                <a:gd name="T92" fmla="*/ 83 w 162"/>
                <a:gd name="T93" fmla="*/ 335 h 416"/>
                <a:gd name="T94" fmla="*/ 70 w 162"/>
                <a:gd name="T95" fmla="*/ 350 h 416"/>
                <a:gd name="T96" fmla="*/ 77 w 162"/>
                <a:gd name="T97" fmla="*/ 353 h 416"/>
                <a:gd name="T98" fmla="*/ 77 w 162"/>
                <a:gd name="T99" fmla="*/ 370 h 416"/>
                <a:gd name="T100" fmla="*/ 109 w 162"/>
                <a:gd name="T101" fmla="*/ 396 h 416"/>
                <a:gd name="T102" fmla="*/ 107 w 162"/>
                <a:gd name="T103" fmla="*/ 414 h 416"/>
                <a:gd name="T104" fmla="*/ 121 w 162"/>
                <a:gd name="T105" fmla="*/ 389 h 416"/>
                <a:gd name="T106" fmla="*/ 113 w 162"/>
                <a:gd name="T107" fmla="*/ 373 h 416"/>
                <a:gd name="T108" fmla="*/ 143 w 162"/>
                <a:gd name="T109" fmla="*/ 356 h 416"/>
                <a:gd name="T110" fmla="*/ 145 w 162"/>
                <a:gd name="T111" fmla="*/ 314 h 416"/>
                <a:gd name="T112" fmla="*/ 156 w 162"/>
                <a:gd name="T113" fmla="*/ 287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 h="416">
                  <a:moveTo>
                    <a:pt x="156" y="287"/>
                  </a:moveTo>
                  <a:cubicBezTo>
                    <a:pt x="150" y="278"/>
                    <a:pt x="140" y="268"/>
                    <a:pt x="136" y="260"/>
                  </a:cubicBezTo>
                  <a:cubicBezTo>
                    <a:pt x="132" y="252"/>
                    <a:pt x="114" y="225"/>
                    <a:pt x="110" y="222"/>
                  </a:cubicBezTo>
                  <a:cubicBezTo>
                    <a:pt x="108" y="221"/>
                    <a:pt x="104" y="221"/>
                    <a:pt x="101" y="220"/>
                  </a:cubicBezTo>
                  <a:cubicBezTo>
                    <a:pt x="101" y="225"/>
                    <a:pt x="103" y="228"/>
                    <a:pt x="105" y="229"/>
                  </a:cubicBezTo>
                  <a:cubicBezTo>
                    <a:pt x="110" y="231"/>
                    <a:pt x="114" y="237"/>
                    <a:pt x="114" y="237"/>
                  </a:cubicBezTo>
                  <a:cubicBezTo>
                    <a:pt x="114" y="237"/>
                    <a:pt x="119" y="262"/>
                    <a:pt x="113" y="264"/>
                  </a:cubicBezTo>
                  <a:cubicBezTo>
                    <a:pt x="107" y="266"/>
                    <a:pt x="105" y="253"/>
                    <a:pt x="105" y="253"/>
                  </a:cubicBezTo>
                  <a:cubicBezTo>
                    <a:pt x="105" y="253"/>
                    <a:pt x="93" y="259"/>
                    <a:pt x="90" y="257"/>
                  </a:cubicBezTo>
                  <a:cubicBezTo>
                    <a:pt x="87" y="255"/>
                    <a:pt x="87" y="241"/>
                    <a:pt x="86" y="234"/>
                  </a:cubicBezTo>
                  <a:cubicBezTo>
                    <a:pt x="85" y="227"/>
                    <a:pt x="83" y="224"/>
                    <a:pt x="81" y="220"/>
                  </a:cubicBezTo>
                  <a:cubicBezTo>
                    <a:pt x="79" y="216"/>
                    <a:pt x="81" y="203"/>
                    <a:pt x="81" y="195"/>
                  </a:cubicBezTo>
                  <a:cubicBezTo>
                    <a:pt x="81" y="187"/>
                    <a:pt x="76" y="181"/>
                    <a:pt x="64" y="171"/>
                  </a:cubicBezTo>
                  <a:cubicBezTo>
                    <a:pt x="52" y="161"/>
                    <a:pt x="61" y="163"/>
                    <a:pt x="59" y="154"/>
                  </a:cubicBezTo>
                  <a:cubicBezTo>
                    <a:pt x="57" y="145"/>
                    <a:pt x="67" y="137"/>
                    <a:pt x="77" y="126"/>
                  </a:cubicBezTo>
                  <a:cubicBezTo>
                    <a:pt x="87" y="115"/>
                    <a:pt x="83" y="113"/>
                    <a:pt x="84" y="108"/>
                  </a:cubicBezTo>
                  <a:cubicBezTo>
                    <a:pt x="85" y="103"/>
                    <a:pt x="81" y="98"/>
                    <a:pt x="81" y="90"/>
                  </a:cubicBezTo>
                  <a:cubicBezTo>
                    <a:pt x="81" y="82"/>
                    <a:pt x="79" y="67"/>
                    <a:pt x="78" y="51"/>
                  </a:cubicBezTo>
                  <a:cubicBezTo>
                    <a:pt x="77" y="35"/>
                    <a:pt x="75" y="44"/>
                    <a:pt x="64" y="37"/>
                  </a:cubicBezTo>
                  <a:cubicBezTo>
                    <a:pt x="53" y="30"/>
                    <a:pt x="61" y="21"/>
                    <a:pt x="60" y="10"/>
                  </a:cubicBezTo>
                  <a:cubicBezTo>
                    <a:pt x="41" y="10"/>
                    <a:pt x="41" y="10"/>
                    <a:pt x="41" y="10"/>
                  </a:cubicBezTo>
                  <a:cubicBezTo>
                    <a:pt x="35" y="0"/>
                    <a:pt x="35" y="0"/>
                    <a:pt x="35" y="0"/>
                  </a:cubicBezTo>
                  <a:cubicBezTo>
                    <a:pt x="20" y="1"/>
                    <a:pt x="20" y="1"/>
                    <a:pt x="20" y="1"/>
                  </a:cubicBezTo>
                  <a:cubicBezTo>
                    <a:pt x="20" y="9"/>
                    <a:pt x="20" y="9"/>
                    <a:pt x="20" y="9"/>
                  </a:cubicBezTo>
                  <a:cubicBezTo>
                    <a:pt x="20" y="9"/>
                    <a:pt x="34" y="9"/>
                    <a:pt x="35" y="16"/>
                  </a:cubicBezTo>
                  <a:cubicBezTo>
                    <a:pt x="36" y="23"/>
                    <a:pt x="34" y="42"/>
                    <a:pt x="37" y="42"/>
                  </a:cubicBezTo>
                  <a:cubicBezTo>
                    <a:pt x="40" y="42"/>
                    <a:pt x="46" y="41"/>
                    <a:pt x="46" y="41"/>
                  </a:cubicBezTo>
                  <a:cubicBezTo>
                    <a:pt x="46" y="54"/>
                    <a:pt x="46" y="54"/>
                    <a:pt x="46" y="54"/>
                  </a:cubicBezTo>
                  <a:cubicBezTo>
                    <a:pt x="46" y="54"/>
                    <a:pt x="58" y="57"/>
                    <a:pt x="52" y="64"/>
                  </a:cubicBezTo>
                  <a:cubicBezTo>
                    <a:pt x="46" y="71"/>
                    <a:pt x="30" y="75"/>
                    <a:pt x="30" y="75"/>
                  </a:cubicBezTo>
                  <a:cubicBezTo>
                    <a:pt x="30" y="86"/>
                    <a:pt x="30" y="86"/>
                    <a:pt x="30" y="86"/>
                  </a:cubicBezTo>
                  <a:cubicBezTo>
                    <a:pt x="37" y="92"/>
                    <a:pt x="37" y="92"/>
                    <a:pt x="37" y="92"/>
                  </a:cubicBezTo>
                  <a:cubicBezTo>
                    <a:pt x="33" y="105"/>
                    <a:pt x="33" y="105"/>
                    <a:pt x="33" y="105"/>
                  </a:cubicBezTo>
                  <a:cubicBezTo>
                    <a:pt x="34" y="153"/>
                    <a:pt x="34" y="153"/>
                    <a:pt x="34" y="153"/>
                  </a:cubicBezTo>
                  <a:cubicBezTo>
                    <a:pt x="34" y="153"/>
                    <a:pt x="45" y="150"/>
                    <a:pt x="42" y="157"/>
                  </a:cubicBezTo>
                  <a:cubicBezTo>
                    <a:pt x="39" y="164"/>
                    <a:pt x="14" y="175"/>
                    <a:pt x="14" y="175"/>
                  </a:cubicBezTo>
                  <a:cubicBezTo>
                    <a:pt x="16" y="200"/>
                    <a:pt x="16" y="200"/>
                    <a:pt x="16" y="200"/>
                  </a:cubicBezTo>
                  <a:cubicBezTo>
                    <a:pt x="16" y="200"/>
                    <a:pt x="0" y="223"/>
                    <a:pt x="1" y="226"/>
                  </a:cubicBezTo>
                  <a:cubicBezTo>
                    <a:pt x="2" y="229"/>
                    <a:pt x="23" y="245"/>
                    <a:pt x="23" y="245"/>
                  </a:cubicBezTo>
                  <a:cubicBezTo>
                    <a:pt x="44" y="277"/>
                    <a:pt x="44" y="277"/>
                    <a:pt x="44" y="277"/>
                  </a:cubicBezTo>
                  <a:cubicBezTo>
                    <a:pt x="64" y="274"/>
                    <a:pt x="64" y="274"/>
                    <a:pt x="64" y="274"/>
                  </a:cubicBezTo>
                  <a:cubicBezTo>
                    <a:pt x="64" y="274"/>
                    <a:pt x="74" y="267"/>
                    <a:pt x="80" y="270"/>
                  </a:cubicBezTo>
                  <a:cubicBezTo>
                    <a:pt x="80" y="270"/>
                    <a:pt x="84" y="281"/>
                    <a:pt x="83" y="290"/>
                  </a:cubicBezTo>
                  <a:cubicBezTo>
                    <a:pt x="82" y="299"/>
                    <a:pt x="88" y="298"/>
                    <a:pt x="88" y="298"/>
                  </a:cubicBezTo>
                  <a:cubicBezTo>
                    <a:pt x="85" y="319"/>
                    <a:pt x="85" y="319"/>
                    <a:pt x="85" y="319"/>
                  </a:cubicBezTo>
                  <a:cubicBezTo>
                    <a:pt x="75" y="322"/>
                    <a:pt x="75" y="322"/>
                    <a:pt x="75" y="322"/>
                  </a:cubicBezTo>
                  <a:cubicBezTo>
                    <a:pt x="83" y="335"/>
                    <a:pt x="83" y="335"/>
                    <a:pt x="83" y="335"/>
                  </a:cubicBezTo>
                  <a:cubicBezTo>
                    <a:pt x="83" y="335"/>
                    <a:pt x="68" y="347"/>
                    <a:pt x="70" y="350"/>
                  </a:cubicBezTo>
                  <a:cubicBezTo>
                    <a:pt x="72" y="353"/>
                    <a:pt x="77" y="353"/>
                    <a:pt x="77" y="353"/>
                  </a:cubicBezTo>
                  <a:cubicBezTo>
                    <a:pt x="77" y="370"/>
                    <a:pt x="77" y="370"/>
                    <a:pt x="77" y="370"/>
                  </a:cubicBezTo>
                  <a:cubicBezTo>
                    <a:pt x="77" y="370"/>
                    <a:pt x="108" y="390"/>
                    <a:pt x="109" y="396"/>
                  </a:cubicBezTo>
                  <a:cubicBezTo>
                    <a:pt x="110" y="402"/>
                    <a:pt x="96" y="412"/>
                    <a:pt x="107" y="414"/>
                  </a:cubicBezTo>
                  <a:cubicBezTo>
                    <a:pt x="118" y="416"/>
                    <a:pt x="125" y="399"/>
                    <a:pt x="121" y="389"/>
                  </a:cubicBezTo>
                  <a:cubicBezTo>
                    <a:pt x="117" y="379"/>
                    <a:pt x="107" y="391"/>
                    <a:pt x="113" y="373"/>
                  </a:cubicBezTo>
                  <a:cubicBezTo>
                    <a:pt x="119" y="355"/>
                    <a:pt x="137" y="363"/>
                    <a:pt x="143" y="356"/>
                  </a:cubicBezTo>
                  <a:cubicBezTo>
                    <a:pt x="149" y="349"/>
                    <a:pt x="145" y="314"/>
                    <a:pt x="145" y="314"/>
                  </a:cubicBezTo>
                  <a:cubicBezTo>
                    <a:pt x="145" y="314"/>
                    <a:pt x="162" y="296"/>
                    <a:pt x="156" y="287"/>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204" name="Freeform 165"/>
            <p:cNvSpPr>
              <a:spLocks/>
            </p:cNvSpPr>
            <p:nvPr/>
          </p:nvSpPr>
          <p:spPr bwMode="gray">
            <a:xfrm>
              <a:off x="4821238" y="4221163"/>
              <a:ext cx="314325" cy="300038"/>
            </a:xfrm>
            <a:custGeom>
              <a:avLst/>
              <a:gdLst>
                <a:gd name="T0" fmla="*/ 551 w 563"/>
                <a:gd name="T1" fmla="*/ 109 h 536"/>
                <a:gd name="T2" fmla="*/ 540 w 563"/>
                <a:gd name="T3" fmla="*/ 84 h 536"/>
                <a:gd name="T4" fmla="*/ 525 w 563"/>
                <a:gd name="T5" fmla="*/ 69 h 536"/>
                <a:gd name="T6" fmla="*/ 502 w 563"/>
                <a:gd name="T7" fmla="*/ 60 h 536"/>
                <a:gd name="T8" fmla="*/ 485 w 563"/>
                <a:gd name="T9" fmla="*/ 51 h 536"/>
                <a:gd name="T10" fmla="*/ 461 w 563"/>
                <a:gd name="T11" fmla="*/ 38 h 536"/>
                <a:gd name="T12" fmla="*/ 436 w 563"/>
                <a:gd name="T13" fmla="*/ 26 h 536"/>
                <a:gd name="T14" fmla="*/ 419 w 563"/>
                <a:gd name="T15" fmla="*/ 25 h 536"/>
                <a:gd name="T16" fmla="*/ 402 w 563"/>
                <a:gd name="T17" fmla="*/ 0 h 536"/>
                <a:gd name="T18" fmla="*/ 333 w 563"/>
                <a:gd name="T19" fmla="*/ 15 h 536"/>
                <a:gd name="T20" fmla="*/ 306 w 563"/>
                <a:gd name="T21" fmla="*/ 57 h 536"/>
                <a:gd name="T22" fmla="*/ 320 w 563"/>
                <a:gd name="T23" fmla="*/ 87 h 536"/>
                <a:gd name="T24" fmla="*/ 304 w 563"/>
                <a:gd name="T25" fmla="*/ 189 h 536"/>
                <a:gd name="T26" fmla="*/ 351 w 563"/>
                <a:gd name="T27" fmla="*/ 230 h 536"/>
                <a:gd name="T28" fmla="*/ 364 w 563"/>
                <a:gd name="T29" fmla="*/ 214 h 536"/>
                <a:gd name="T30" fmla="*/ 367 w 563"/>
                <a:gd name="T31" fmla="*/ 282 h 536"/>
                <a:gd name="T32" fmla="*/ 344 w 563"/>
                <a:gd name="T33" fmla="*/ 281 h 536"/>
                <a:gd name="T34" fmla="*/ 324 w 563"/>
                <a:gd name="T35" fmla="*/ 251 h 536"/>
                <a:gd name="T36" fmla="*/ 305 w 563"/>
                <a:gd name="T37" fmla="*/ 228 h 536"/>
                <a:gd name="T38" fmla="*/ 282 w 563"/>
                <a:gd name="T39" fmla="*/ 216 h 536"/>
                <a:gd name="T40" fmla="*/ 267 w 563"/>
                <a:gd name="T41" fmla="*/ 203 h 536"/>
                <a:gd name="T42" fmla="*/ 246 w 563"/>
                <a:gd name="T43" fmla="*/ 179 h 536"/>
                <a:gd name="T44" fmla="*/ 165 w 563"/>
                <a:gd name="T45" fmla="*/ 188 h 536"/>
                <a:gd name="T46" fmla="*/ 128 w 563"/>
                <a:gd name="T47" fmla="*/ 168 h 536"/>
                <a:gd name="T48" fmla="*/ 117 w 563"/>
                <a:gd name="T49" fmla="*/ 151 h 536"/>
                <a:gd name="T50" fmla="*/ 101 w 563"/>
                <a:gd name="T51" fmla="*/ 144 h 536"/>
                <a:gd name="T52" fmla="*/ 107 w 563"/>
                <a:gd name="T53" fmla="*/ 178 h 536"/>
                <a:gd name="T54" fmla="*/ 98 w 563"/>
                <a:gd name="T55" fmla="*/ 218 h 536"/>
                <a:gd name="T56" fmla="*/ 93 w 563"/>
                <a:gd name="T57" fmla="*/ 232 h 536"/>
                <a:gd name="T58" fmla="*/ 84 w 563"/>
                <a:gd name="T59" fmla="*/ 262 h 536"/>
                <a:gd name="T60" fmla="*/ 0 w 563"/>
                <a:gd name="T61" fmla="*/ 427 h 536"/>
                <a:gd name="T62" fmla="*/ 6 w 563"/>
                <a:gd name="T63" fmla="*/ 449 h 536"/>
                <a:gd name="T64" fmla="*/ 79 w 563"/>
                <a:gd name="T65" fmla="*/ 511 h 536"/>
                <a:gd name="T66" fmla="*/ 108 w 563"/>
                <a:gd name="T67" fmla="*/ 498 h 536"/>
                <a:gd name="T68" fmla="*/ 138 w 563"/>
                <a:gd name="T69" fmla="*/ 504 h 536"/>
                <a:gd name="T70" fmla="*/ 177 w 563"/>
                <a:gd name="T71" fmla="*/ 517 h 536"/>
                <a:gd name="T72" fmla="*/ 202 w 563"/>
                <a:gd name="T73" fmla="*/ 521 h 536"/>
                <a:gd name="T74" fmla="*/ 267 w 563"/>
                <a:gd name="T75" fmla="*/ 491 h 536"/>
                <a:gd name="T76" fmla="*/ 323 w 563"/>
                <a:gd name="T77" fmla="*/ 449 h 536"/>
                <a:gd name="T78" fmla="*/ 356 w 563"/>
                <a:gd name="T79" fmla="*/ 405 h 536"/>
                <a:gd name="T80" fmla="*/ 395 w 563"/>
                <a:gd name="T81" fmla="*/ 385 h 536"/>
                <a:gd name="T82" fmla="*/ 411 w 563"/>
                <a:gd name="T83" fmla="*/ 362 h 536"/>
                <a:gd name="T84" fmla="*/ 475 w 563"/>
                <a:gd name="T85" fmla="*/ 338 h 536"/>
                <a:gd name="T86" fmla="*/ 506 w 563"/>
                <a:gd name="T87" fmla="*/ 294 h 536"/>
                <a:gd name="T88" fmla="*/ 519 w 563"/>
                <a:gd name="T89" fmla="*/ 243 h 536"/>
                <a:gd name="T90" fmla="*/ 539 w 563"/>
                <a:gd name="T91" fmla="*/ 221 h 536"/>
                <a:gd name="T92" fmla="*/ 542 w 563"/>
                <a:gd name="T93" fmla="*/ 160 h 536"/>
                <a:gd name="T94" fmla="*/ 535 w 563"/>
                <a:gd name="T95" fmla="*/ 143 h 536"/>
                <a:gd name="T96" fmla="*/ 551 w 563"/>
                <a:gd name="T97" fmla="*/ 122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63" h="536">
                  <a:moveTo>
                    <a:pt x="551" y="122"/>
                  </a:moveTo>
                  <a:cubicBezTo>
                    <a:pt x="551" y="109"/>
                    <a:pt x="551" y="109"/>
                    <a:pt x="551" y="109"/>
                  </a:cubicBezTo>
                  <a:cubicBezTo>
                    <a:pt x="551" y="109"/>
                    <a:pt x="545" y="110"/>
                    <a:pt x="542" y="110"/>
                  </a:cubicBezTo>
                  <a:cubicBezTo>
                    <a:pt x="539" y="110"/>
                    <a:pt x="541" y="91"/>
                    <a:pt x="540" y="84"/>
                  </a:cubicBezTo>
                  <a:cubicBezTo>
                    <a:pt x="539" y="77"/>
                    <a:pt x="525" y="77"/>
                    <a:pt x="525" y="77"/>
                  </a:cubicBezTo>
                  <a:cubicBezTo>
                    <a:pt x="525" y="69"/>
                    <a:pt x="525" y="69"/>
                    <a:pt x="525" y="69"/>
                  </a:cubicBezTo>
                  <a:cubicBezTo>
                    <a:pt x="514" y="59"/>
                    <a:pt x="514" y="59"/>
                    <a:pt x="514" y="59"/>
                  </a:cubicBezTo>
                  <a:cubicBezTo>
                    <a:pt x="502" y="60"/>
                    <a:pt x="502" y="60"/>
                    <a:pt x="502" y="60"/>
                  </a:cubicBezTo>
                  <a:cubicBezTo>
                    <a:pt x="500" y="49"/>
                    <a:pt x="500" y="49"/>
                    <a:pt x="500" y="49"/>
                  </a:cubicBezTo>
                  <a:cubicBezTo>
                    <a:pt x="500" y="49"/>
                    <a:pt x="490" y="55"/>
                    <a:pt x="485" y="51"/>
                  </a:cubicBezTo>
                  <a:cubicBezTo>
                    <a:pt x="480" y="47"/>
                    <a:pt x="473" y="38"/>
                    <a:pt x="473" y="38"/>
                  </a:cubicBezTo>
                  <a:cubicBezTo>
                    <a:pt x="473" y="38"/>
                    <a:pt x="464" y="41"/>
                    <a:pt x="461" y="38"/>
                  </a:cubicBezTo>
                  <a:cubicBezTo>
                    <a:pt x="458" y="35"/>
                    <a:pt x="456" y="23"/>
                    <a:pt x="456" y="23"/>
                  </a:cubicBezTo>
                  <a:cubicBezTo>
                    <a:pt x="456" y="23"/>
                    <a:pt x="444" y="27"/>
                    <a:pt x="436" y="26"/>
                  </a:cubicBezTo>
                  <a:cubicBezTo>
                    <a:pt x="434" y="31"/>
                    <a:pt x="431" y="36"/>
                    <a:pt x="428" y="38"/>
                  </a:cubicBezTo>
                  <a:cubicBezTo>
                    <a:pt x="420" y="42"/>
                    <a:pt x="419" y="25"/>
                    <a:pt x="419" y="25"/>
                  </a:cubicBezTo>
                  <a:cubicBezTo>
                    <a:pt x="419" y="25"/>
                    <a:pt x="411" y="20"/>
                    <a:pt x="400" y="16"/>
                  </a:cubicBezTo>
                  <a:cubicBezTo>
                    <a:pt x="393" y="13"/>
                    <a:pt x="398" y="6"/>
                    <a:pt x="402" y="0"/>
                  </a:cubicBezTo>
                  <a:cubicBezTo>
                    <a:pt x="394" y="4"/>
                    <a:pt x="387" y="6"/>
                    <a:pt x="383" y="7"/>
                  </a:cubicBezTo>
                  <a:cubicBezTo>
                    <a:pt x="370" y="10"/>
                    <a:pt x="333" y="15"/>
                    <a:pt x="333" y="15"/>
                  </a:cubicBezTo>
                  <a:cubicBezTo>
                    <a:pt x="333" y="15"/>
                    <a:pt x="333" y="28"/>
                    <a:pt x="333" y="35"/>
                  </a:cubicBezTo>
                  <a:cubicBezTo>
                    <a:pt x="333" y="42"/>
                    <a:pt x="306" y="57"/>
                    <a:pt x="306" y="57"/>
                  </a:cubicBezTo>
                  <a:cubicBezTo>
                    <a:pt x="306" y="57"/>
                    <a:pt x="312" y="64"/>
                    <a:pt x="315" y="66"/>
                  </a:cubicBezTo>
                  <a:cubicBezTo>
                    <a:pt x="318" y="68"/>
                    <a:pt x="320" y="87"/>
                    <a:pt x="320" y="87"/>
                  </a:cubicBezTo>
                  <a:cubicBezTo>
                    <a:pt x="320" y="87"/>
                    <a:pt x="324" y="121"/>
                    <a:pt x="324" y="135"/>
                  </a:cubicBezTo>
                  <a:cubicBezTo>
                    <a:pt x="324" y="149"/>
                    <a:pt x="302" y="171"/>
                    <a:pt x="304" y="189"/>
                  </a:cubicBezTo>
                  <a:cubicBezTo>
                    <a:pt x="306" y="207"/>
                    <a:pt x="317" y="202"/>
                    <a:pt x="323" y="209"/>
                  </a:cubicBezTo>
                  <a:cubicBezTo>
                    <a:pt x="329" y="216"/>
                    <a:pt x="341" y="230"/>
                    <a:pt x="351" y="230"/>
                  </a:cubicBezTo>
                  <a:cubicBezTo>
                    <a:pt x="361" y="230"/>
                    <a:pt x="358" y="217"/>
                    <a:pt x="358" y="217"/>
                  </a:cubicBezTo>
                  <a:cubicBezTo>
                    <a:pt x="364" y="214"/>
                    <a:pt x="364" y="214"/>
                    <a:pt x="364" y="214"/>
                  </a:cubicBezTo>
                  <a:cubicBezTo>
                    <a:pt x="372" y="214"/>
                    <a:pt x="372" y="214"/>
                    <a:pt x="372" y="214"/>
                  </a:cubicBezTo>
                  <a:cubicBezTo>
                    <a:pt x="372" y="214"/>
                    <a:pt x="373" y="279"/>
                    <a:pt x="367" y="282"/>
                  </a:cubicBezTo>
                  <a:cubicBezTo>
                    <a:pt x="361" y="285"/>
                    <a:pt x="359" y="271"/>
                    <a:pt x="359" y="271"/>
                  </a:cubicBezTo>
                  <a:cubicBezTo>
                    <a:pt x="344" y="281"/>
                    <a:pt x="344" y="281"/>
                    <a:pt x="344" y="281"/>
                  </a:cubicBezTo>
                  <a:cubicBezTo>
                    <a:pt x="332" y="281"/>
                    <a:pt x="332" y="281"/>
                    <a:pt x="332" y="281"/>
                  </a:cubicBezTo>
                  <a:cubicBezTo>
                    <a:pt x="332" y="281"/>
                    <a:pt x="329" y="258"/>
                    <a:pt x="324" y="251"/>
                  </a:cubicBezTo>
                  <a:cubicBezTo>
                    <a:pt x="319" y="244"/>
                    <a:pt x="313" y="247"/>
                    <a:pt x="313" y="247"/>
                  </a:cubicBezTo>
                  <a:cubicBezTo>
                    <a:pt x="313" y="247"/>
                    <a:pt x="311" y="236"/>
                    <a:pt x="305" y="228"/>
                  </a:cubicBezTo>
                  <a:cubicBezTo>
                    <a:pt x="299" y="220"/>
                    <a:pt x="294" y="228"/>
                    <a:pt x="290" y="228"/>
                  </a:cubicBezTo>
                  <a:cubicBezTo>
                    <a:pt x="286" y="228"/>
                    <a:pt x="287" y="220"/>
                    <a:pt x="282" y="216"/>
                  </a:cubicBezTo>
                  <a:cubicBezTo>
                    <a:pt x="277" y="212"/>
                    <a:pt x="275" y="218"/>
                    <a:pt x="267" y="217"/>
                  </a:cubicBezTo>
                  <a:cubicBezTo>
                    <a:pt x="259" y="216"/>
                    <a:pt x="267" y="207"/>
                    <a:pt x="267" y="203"/>
                  </a:cubicBezTo>
                  <a:cubicBezTo>
                    <a:pt x="267" y="199"/>
                    <a:pt x="257" y="199"/>
                    <a:pt x="253" y="194"/>
                  </a:cubicBezTo>
                  <a:cubicBezTo>
                    <a:pt x="249" y="189"/>
                    <a:pt x="258" y="184"/>
                    <a:pt x="246" y="179"/>
                  </a:cubicBezTo>
                  <a:cubicBezTo>
                    <a:pt x="234" y="174"/>
                    <a:pt x="237" y="200"/>
                    <a:pt x="232" y="204"/>
                  </a:cubicBezTo>
                  <a:cubicBezTo>
                    <a:pt x="227" y="208"/>
                    <a:pt x="175" y="195"/>
                    <a:pt x="165" y="188"/>
                  </a:cubicBezTo>
                  <a:cubicBezTo>
                    <a:pt x="155" y="181"/>
                    <a:pt x="159" y="162"/>
                    <a:pt x="159" y="162"/>
                  </a:cubicBezTo>
                  <a:cubicBezTo>
                    <a:pt x="128" y="168"/>
                    <a:pt x="128" y="168"/>
                    <a:pt x="128" y="168"/>
                  </a:cubicBezTo>
                  <a:cubicBezTo>
                    <a:pt x="128" y="168"/>
                    <a:pt x="142" y="178"/>
                    <a:pt x="125" y="177"/>
                  </a:cubicBezTo>
                  <a:cubicBezTo>
                    <a:pt x="108" y="176"/>
                    <a:pt x="117" y="151"/>
                    <a:pt x="117" y="151"/>
                  </a:cubicBezTo>
                  <a:cubicBezTo>
                    <a:pt x="106" y="153"/>
                    <a:pt x="106" y="153"/>
                    <a:pt x="106" y="153"/>
                  </a:cubicBezTo>
                  <a:cubicBezTo>
                    <a:pt x="101" y="144"/>
                    <a:pt x="101" y="144"/>
                    <a:pt x="101" y="144"/>
                  </a:cubicBezTo>
                  <a:cubicBezTo>
                    <a:pt x="96" y="154"/>
                    <a:pt x="96" y="154"/>
                    <a:pt x="96" y="154"/>
                  </a:cubicBezTo>
                  <a:cubicBezTo>
                    <a:pt x="96" y="154"/>
                    <a:pt x="110" y="175"/>
                    <a:pt x="107" y="178"/>
                  </a:cubicBezTo>
                  <a:cubicBezTo>
                    <a:pt x="104" y="181"/>
                    <a:pt x="96" y="183"/>
                    <a:pt x="96" y="183"/>
                  </a:cubicBezTo>
                  <a:cubicBezTo>
                    <a:pt x="98" y="218"/>
                    <a:pt x="98" y="218"/>
                    <a:pt x="98" y="218"/>
                  </a:cubicBezTo>
                  <a:cubicBezTo>
                    <a:pt x="106" y="229"/>
                    <a:pt x="106" y="229"/>
                    <a:pt x="106" y="229"/>
                  </a:cubicBezTo>
                  <a:cubicBezTo>
                    <a:pt x="93" y="232"/>
                    <a:pt x="93" y="232"/>
                    <a:pt x="93" y="232"/>
                  </a:cubicBezTo>
                  <a:cubicBezTo>
                    <a:pt x="93" y="232"/>
                    <a:pt x="99" y="248"/>
                    <a:pt x="97" y="255"/>
                  </a:cubicBezTo>
                  <a:cubicBezTo>
                    <a:pt x="95" y="262"/>
                    <a:pt x="84" y="262"/>
                    <a:pt x="84" y="262"/>
                  </a:cubicBezTo>
                  <a:cubicBezTo>
                    <a:pt x="1" y="260"/>
                    <a:pt x="1" y="260"/>
                    <a:pt x="1" y="260"/>
                  </a:cubicBezTo>
                  <a:cubicBezTo>
                    <a:pt x="0" y="427"/>
                    <a:pt x="0" y="427"/>
                    <a:pt x="0" y="427"/>
                  </a:cubicBezTo>
                  <a:cubicBezTo>
                    <a:pt x="6" y="437"/>
                    <a:pt x="6" y="437"/>
                    <a:pt x="6" y="437"/>
                  </a:cubicBezTo>
                  <a:cubicBezTo>
                    <a:pt x="6" y="449"/>
                    <a:pt x="6" y="449"/>
                    <a:pt x="6" y="449"/>
                  </a:cubicBezTo>
                  <a:cubicBezTo>
                    <a:pt x="64" y="507"/>
                    <a:pt x="64" y="507"/>
                    <a:pt x="64" y="507"/>
                  </a:cubicBezTo>
                  <a:cubicBezTo>
                    <a:pt x="79" y="511"/>
                    <a:pt x="79" y="511"/>
                    <a:pt x="79" y="511"/>
                  </a:cubicBezTo>
                  <a:cubicBezTo>
                    <a:pt x="92" y="503"/>
                    <a:pt x="92" y="503"/>
                    <a:pt x="92" y="503"/>
                  </a:cubicBezTo>
                  <a:cubicBezTo>
                    <a:pt x="92" y="503"/>
                    <a:pt x="99" y="498"/>
                    <a:pt x="108" y="498"/>
                  </a:cubicBezTo>
                  <a:cubicBezTo>
                    <a:pt x="117" y="498"/>
                    <a:pt x="118" y="506"/>
                    <a:pt x="118" y="506"/>
                  </a:cubicBezTo>
                  <a:cubicBezTo>
                    <a:pt x="138" y="504"/>
                    <a:pt x="138" y="504"/>
                    <a:pt x="138" y="504"/>
                  </a:cubicBezTo>
                  <a:cubicBezTo>
                    <a:pt x="151" y="517"/>
                    <a:pt x="151" y="517"/>
                    <a:pt x="151" y="517"/>
                  </a:cubicBezTo>
                  <a:cubicBezTo>
                    <a:pt x="151" y="517"/>
                    <a:pt x="175" y="513"/>
                    <a:pt x="177" y="517"/>
                  </a:cubicBezTo>
                  <a:cubicBezTo>
                    <a:pt x="179" y="521"/>
                    <a:pt x="185" y="527"/>
                    <a:pt x="189" y="527"/>
                  </a:cubicBezTo>
                  <a:cubicBezTo>
                    <a:pt x="193" y="527"/>
                    <a:pt x="195" y="515"/>
                    <a:pt x="202" y="521"/>
                  </a:cubicBezTo>
                  <a:cubicBezTo>
                    <a:pt x="209" y="527"/>
                    <a:pt x="210" y="536"/>
                    <a:pt x="228" y="527"/>
                  </a:cubicBezTo>
                  <a:cubicBezTo>
                    <a:pt x="246" y="518"/>
                    <a:pt x="267" y="491"/>
                    <a:pt x="267" y="491"/>
                  </a:cubicBezTo>
                  <a:cubicBezTo>
                    <a:pt x="267" y="491"/>
                    <a:pt x="269" y="475"/>
                    <a:pt x="276" y="468"/>
                  </a:cubicBezTo>
                  <a:cubicBezTo>
                    <a:pt x="283" y="461"/>
                    <a:pt x="322" y="450"/>
                    <a:pt x="323" y="449"/>
                  </a:cubicBezTo>
                  <a:cubicBezTo>
                    <a:pt x="324" y="448"/>
                    <a:pt x="321" y="425"/>
                    <a:pt x="321" y="425"/>
                  </a:cubicBezTo>
                  <a:cubicBezTo>
                    <a:pt x="321" y="425"/>
                    <a:pt x="339" y="411"/>
                    <a:pt x="356" y="405"/>
                  </a:cubicBezTo>
                  <a:cubicBezTo>
                    <a:pt x="369" y="400"/>
                    <a:pt x="387" y="400"/>
                    <a:pt x="396" y="401"/>
                  </a:cubicBezTo>
                  <a:cubicBezTo>
                    <a:pt x="395" y="385"/>
                    <a:pt x="395" y="385"/>
                    <a:pt x="395" y="385"/>
                  </a:cubicBezTo>
                  <a:cubicBezTo>
                    <a:pt x="395" y="385"/>
                    <a:pt x="380" y="371"/>
                    <a:pt x="385" y="367"/>
                  </a:cubicBezTo>
                  <a:cubicBezTo>
                    <a:pt x="391" y="363"/>
                    <a:pt x="411" y="362"/>
                    <a:pt x="411" y="362"/>
                  </a:cubicBezTo>
                  <a:cubicBezTo>
                    <a:pt x="423" y="351"/>
                    <a:pt x="423" y="351"/>
                    <a:pt x="423" y="351"/>
                  </a:cubicBezTo>
                  <a:cubicBezTo>
                    <a:pt x="423" y="351"/>
                    <a:pt x="465" y="343"/>
                    <a:pt x="475" y="338"/>
                  </a:cubicBezTo>
                  <a:cubicBezTo>
                    <a:pt x="484" y="333"/>
                    <a:pt x="528" y="313"/>
                    <a:pt x="528" y="313"/>
                  </a:cubicBezTo>
                  <a:cubicBezTo>
                    <a:pt x="528" y="313"/>
                    <a:pt x="507" y="297"/>
                    <a:pt x="506" y="294"/>
                  </a:cubicBezTo>
                  <a:cubicBezTo>
                    <a:pt x="505" y="291"/>
                    <a:pt x="521" y="268"/>
                    <a:pt x="521" y="268"/>
                  </a:cubicBezTo>
                  <a:cubicBezTo>
                    <a:pt x="519" y="243"/>
                    <a:pt x="519" y="243"/>
                    <a:pt x="519" y="243"/>
                  </a:cubicBezTo>
                  <a:cubicBezTo>
                    <a:pt x="519" y="243"/>
                    <a:pt x="544" y="232"/>
                    <a:pt x="547" y="225"/>
                  </a:cubicBezTo>
                  <a:cubicBezTo>
                    <a:pt x="550" y="218"/>
                    <a:pt x="539" y="221"/>
                    <a:pt x="539" y="221"/>
                  </a:cubicBezTo>
                  <a:cubicBezTo>
                    <a:pt x="538" y="173"/>
                    <a:pt x="538" y="173"/>
                    <a:pt x="538" y="173"/>
                  </a:cubicBezTo>
                  <a:cubicBezTo>
                    <a:pt x="542" y="160"/>
                    <a:pt x="542" y="160"/>
                    <a:pt x="542" y="160"/>
                  </a:cubicBezTo>
                  <a:cubicBezTo>
                    <a:pt x="535" y="154"/>
                    <a:pt x="535" y="154"/>
                    <a:pt x="535" y="154"/>
                  </a:cubicBezTo>
                  <a:cubicBezTo>
                    <a:pt x="535" y="143"/>
                    <a:pt x="535" y="143"/>
                    <a:pt x="535" y="143"/>
                  </a:cubicBezTo>
                  <a:cubicBezTo>
                    <a:pt x="535" y="143"/>
                    <a:pt x="551" y="139"/>
                    <a:pt x="557" y="132"/>
                  </a:cubicBezTo>
                  <a:cubicBezTo>
                    <a:pt x="563" y="125"/>
                    <a:pt x="551" y="122"/>
                    <a:pt x="551" y="122"/>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205" name="Freeform 166"/>
            <p:cNvSpPr>
              <a:spLocks/>
            </p:cNvSpPr>
            <p:nvPr/>
          </p:nvSpPr>
          <p:spPr bwMode="gray">
            <a:xfrm>
              <a:off x="4567238" y="3813175"/>
              <a:ext cx="504825" cy="568325"/>
            </a:xfrm>
            <a:custGeom>
              <a:avLst/>
              <a:gdLst>
                <a:gd name="T0" fmla="*/ 838 w 902"/>
                <a:gd name="T1" fmla="*/ 264 h 1016"/>
                <a:gd name="T2" fmla="*/ 853 w 902"/>
                <a:gd name="T3" fmla="*/ 230 h 1016"/>
                <a:gd name="T4" fmla="*/ 890 w 902"/>
                <a:gd name="T5" fmla="*/ 163 h 1016"/>
                <a:gd name="T6" fmla="*/ 873 w 902"/>
                <a:gd name="T7" fmla="*/ 127 h 1016"/>
                <a:gd name="T8" fmla="*/ 869 w 902"/>
                <a:gd name="T9" fmla="*/ 98 h 1016"/>
                <a:gd name="T10" fmla="*/ 820 w 902"/>
                <a:gd name="T11" fmla="*/ 39 h 1016"/>
                <a:gd name="T12" fmla="*/ 765 w 902"/>
                <a:gd name="T13" fmla="*/ 61 h 1016"/>
                <a:gd name="T14" fmla="*/ 713 w 902"/>
                <a:gd name="T15" fmla="*/ 13 h 1016"/>
                <a:gd name="T16" fmla="*/ 659 w 902"/>
                <a:gd name="T17" fmla="*/ 10 h 1016"/>
                <a:gd name="T18" fmla="*/ 611 w 902"/>
                <a:gd name="T19" fmla="*/ 23 h 1016"/>
                <a:gd name="T20" fmla="*/ 560 w 902"/>
                <a:gd name="T21" fmla="*/ 32 h 1016"/>
                <a:gd name="T22" fmla="*/ 509 w 902"/>
                <a:gd name="T23" fmla="*/ 30 h 1016"/>
                <a:gd name="T24" fmla="*/ 462 w 902"/>
                <a:gd name="T25" fmla="*/ 63 h 1016"/>
                <a:gd name="T26" fmla="*/ 394 w 902"/>
                <a:gd name="T27" fmla="*/ 53 h 1016"/>
                <a:gd name="T28" fmla="*/ 346 w 902"/>
                <a:gd name="T29" fmla="*/ 15 h 1016"/>
                <a:gd name="T30" fmla="*/ 302 w 902"/>
                <a:gd name="T31" fmla="*/ 72 h 1016"/>
                <a:gd name="T32" fmla="*/ 301 w 902"/>
                <a:gd name="T33" fmla="*/ 103 h 1016"/>
                <a:gd name="T34" fmla="*/ 276 w 902"/>
                <a:gd name="T35" fmla="*/ 217 h 1016"/>
                <a:gd name="T36" fmla="*/ 262 w 902"/>
                <a:gd name="T37" fmla="*/ 289 h 1016"/>
                <a:gd name="T38" fmla="*/ 213 w 902"/>
                <a:gd name="T39" fmla="*/ 359 h 1016"/>
                <a:gd name="T40" fmla="*/ 187 w 902"/>
                <a:gd name="T41" fmla="*/ 477 h 1016"/>
                <a:gd name="T42" fmla="*/ 129 w 902"/>
                <a:gd name="T43" fmla="*/ 540 h 1016"/>
                <a:gd name="T44" fmla="*/ 83 w 902"/>
                <a:gd name="T45" fmla="*/ 533 h 1016"/>
                <a:gd name="T46" fmla="*/ 43 w 902"/>
                <a:gd name="T47" fmla="*/ 537 h 1016"/>
                <a:gd name="T48" fmla="*/ 9 w 902"/>
                <a:gd name="T49" fmla="*/ 565 h 1016"/>
                <a:gd name="T50" fmla="*/ 12 w 902"/>
                <a:gd name="T51" fmla="*/ 617 h 1016"/>
                <a:gd name="T52" fmla="*/ 57 w 902"/>
                <a:gd name="T53" fmla="*/ 607 h 1016"/>
                <a:gd name="T54" fmla="*/ 98 w 902"/>
                <a:gd name="T55" fmla="*/ 611 h 1016"/>
                <a:gd name="T56" fmla="*/ 153 w 902"/>
                <a:gd name="T57" fmla="*/ 609 h 1016"/>
                <a:gd name="T58" fmla="*/ 200 w 902"/>
                <a:gd name="T59" fmla="*/ 608 h 1016"/>
                <a:gd name="T60" fmla="*/ 223 w 902"/>
                <a:gd name="T61" fmla="*/ 664 h 1016"/>
                <a:gd name="T62" fmla="*/ 240 w 902"/>
                <a:gd name="T63" fmla="*/ 709 h 1016"/>
                <a:gd name="T64" fmla="*/ 270 w 902"/>
                <a:gd name="T65" fmla="*/ 726 h 1016"/>
                <a:gd name="T66" fmla="*/ 296 w 902"/>
                <a:gd name="T67" fmla="*/ 724 h 1016"/>
                <a:gd name="T68" fmla="*/ 337 w 902"/>
                <a:gd name="T69" fmla="*/ 720 h 1016"/>
                <a:gd name="T70" fmla="*/ 343 w 902"/>
                <a:gd name="T71" fmla="*/ 672 h 1016"/>
                <a:gd name="T72" fmla="*/ 391 w 902"/>
                <a:gd name="T73" fmla="*/ 678 h 1016"/>
                <a:gd name="T74" fmla="*/ 452 w 902"/>
                <a:gd name="T75" fmla="*/ 703 h 1016"/>
                <a:gd name="T76" fmla="*/ 461 w 902"/>
                <a:gd name="T77" fmla="*/ 747 h 1016"/>
                <a:gd name="T78" fmla="*/ 451 w 902"/>
                <a:gd name="T79" fmla="*/ 799 h 1016"/>
                <a:gd name="T80" fmla="*/ 471 w 902"/>
                <a:gd name="T81" fmla="*/ 869 h 1016"/>
                <a:gd name="T82" fmla="*/ 485 w 902"/>
                <a:gd name="T83" fmla="*/ 886 h 1016"/>
                <a:gd name="T84" fmla="*/ 526 w 902"/>
                <a:gd name="T85" fmla="*/ 880 h 1016"/>
                <a:gd name="T86" fmla="*/ 556 w 902"/>
                <a:gd name="T87" fmla="*/ 875 h 1016"/>
                <a:gd name="T88" fmla="*/ 580 w 902"/>
                <a:gd name="T89" fmla="*/ 908 h 1016"/>
                <a:gd name="T90" fmla="*/ 620 w 902"/>
                <a:gd name="T91" fmla="*/ 919 h 1016"/>
                <a:gd name="T92" fmla="*/ 708 w 902"/>
                <a:gd name="T93" fmla="*/ 925 h 1016"/>
                <a:gd name="T94" fmla="*/ 737 w 902"/>
                <a:gd name="T95" fmla="*/ 947 h 1016"/>
                <a:gd name="T96" fmla="*/ 768 w 902"/>
                <a:gd name="T97" fmla="*/ 978 h 1016"/>
                <a:gd name="T98" fmla="*/ 799 w 902"/>
                <a:gd name="T99" fmla="*/ 1012 h 1016"/>
                <a:gd name="T100" fmla="*/ 827 w 902"/>
                <a:gd name="T101" fmla="*/ 945 h 1016"/>
                <a:gd name="T102" fmla="*/ 806 w 902"/>
                <a:gd name="T103" fmla="*/ 961 h 1016"/>
                <a:gd name="T104" fmla="*/ 779 w 902"/>
                <a:gd name="T105" fmla="*/ 866 h 1016"/>
                <a:gd name="T106" fmla="*/ 761 w 902"/>
                <a:gd name="T107" fmla="*/ 788 h 1016"/>
                <a:gd name="T108" fmla="*/ 838 w 902"/>
                <a:gd name="T109" fmla="*/ 738 h 1016"/>
                <a:gd name="T110" fmla="*/ 850 w 902"/>
                <a:gd name="T111" fmla="*/ 710 h 1016"/>
                <a:gd name="T112" fmla="*/ 828 w 902"/>
                <a:gd name="T113" fmla="*/ 658 h 1016"/>
                <a:gd name="T114" fmla="*/ 810 w 902"/>
                <a:gd name="T115" fmla="*/ 589 h 1016"/>
                <a:gd name="T116" fmla="*/ 802 w 902"/>
                <a:gd name="T117" fmla="*/ 502 h 1016"/>
                <a:gd name="T118" fmla="*/ 816 w 902"/>
                <a:gd name="T119" fmla="*/ 471 h 1016"/>
                <a:gd name="T120" fmla="*/ 795 w 902"/>
                <a:gd name="T121" fmla="*/ 434 h 1016"/>
                <a:gd name="T122" fmla="*/ 799 w 902"/>
                <a:gd name="T123" fmla="*/ 384 h 10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2" h="1016">
                  <a:moveTo>
                    <a:pt x="828" y="315"/>
                  </a:moveTo>
                  <a:cubicBezTo>
                    <a:pt x="828" y="295"/>
                    <a:pt x="828" y="295"/>
                    <a:pt x="828" y="295"/>
                  </a:cubicBezTo>
                  <a:cubicBezTo>
                    <a:pt x="838" y="264"/>
                    <a:pt x="838" y="264"/>
                    <a:pt x="838" y="264"/>
                  </a:cubicBezTo>
                  <a:cubicBezTo>
                    <a:pt x="840" y="247"/>
                    <a:pt x="840" y="247"/>
                    <a:pt x="840" y="247"/>
                  </a:cubicBezTo>
                  <a:cubicBezTo>
                    <a:pt x="853" y="239"/>
                    <a:pt x="853" y="239"/>
                    <a:pt x="853" y="239"/>
                  </a:cubicBezTo>
                  <a:cubicBezTo>
                    <a:pt x="853" y="230"/>
                    <a:pt x="853" y="230"/>
                    <a:pt x="853" y="230"/>
                  </a:cubicBezTo>
                  <a:cubicBezTo>
                    <a:pt x="869" y="222"/>
                    <a:pt x="869" y="222"/>
                    <a:pt x="869" y="222"/>
                  </a:cubicBezTo>
                  <a:cubicBezTo>
                    <a:pt x="869" y="222"/>
                    <a:pt x="902" y="182"/>
                    <a:pt x="902" y="174"/>
                  </a:cubicBezTo>
                  <a:cubicBezTo>
                    <a:pt x="902" y="166"/>
                    <a:pt x="890" y="163"/>
                    <a:pt x="890" y="163"/>
                  </a:cubicBezTo>
                  <a:cubicBezTo>
                    <a:pt x="890" y="163"/>
                    <a:pt x="879" y="164"/>
                    <a:pt x="876" y="158"/>
                  </a:cubicBezTo>
                  <a:cubicBezTo>
                    <a:pt x="873" y="153"/>
                    <a:pt x="882" y="142"/>
                    <a:pt x="883" y="137"/>
                  </a:cubicBezTo>
                  <a:cubicBezTo>
                    <a:pt x="884" y="131"/>
                    <a:pt x="873" y="127"/>
                    <a:pt x="873" y="127"/>
                  </a:cubicBezTo>
                  <a:cubicBezTo>
                    <a:pt x="886" y="113"/>
                    <a:pt x="886" y="113"/>
                    <a:pt x="886" y="113"/>
                  </a:cubicBezTo>
                  <a:cubicBezTo>
                    <a:pt x="880" y="100"/>
                    <a:pt x="880" y="100"/>
                    <a:pt x="880" y="100"/>
                  </a:cubicBezTo>
                  <a:cubicBezTo>
                    <a:pt x="869" y="98"/>
                    <a:pt x="869" y="98"/>
                    <a:pt x="869" y="98"/>
                  </a:cubicBezTo>
                  <a:cubicBezTo>
                    <a:pt x="866" y="84"/>
                    <a:pt x="866" y="84"/>
                    <a:pt x="866" y="84"/>
                  </a:cubicBezTo>
                  <a:cubicBezTo>
                    <a:pt x="866" y="84"/>
                    <a:pt x="847" y="80"/>
                    <a:pt x="839" y="68"/>
                  </a:cubicBezTo>
                  <a:cubicBezTo>
                    <a:pt x="831" y="56"/>
                    <a:pt x="827" y="39"/>
                    <a:pt x="820" y="39"/>
                  </a:cubicBezTo>
                  <a:cubicBezTo>
                    <a:pt x="813" y="39"/>
                    <a:pt x="814" y="57"/>
                    <a:pt x="803" y="57"/>
                  </a:cubicBezTo>
                  <a:cubicBezTo>
                    <a:pt x="792" y="57"/>
                    <a:pt x="791" y="45"/>
                    <a:pt x="782" y="45"/>
                  </a:cubicBezTo>
                  <a:cubicBezTo>
                    <a:pt x="773" y="45"/>
                    <a:pt x="765" y="61"/>
                    <a:pt x="765" y="61"/>
                  </a:cubicBezTo>
                  <a:cubicBezTo>
                    <a:pt x="734" y="46"/>
                    <a:pt x="734" y="46"/>
                    <a:pt x="734" y="46"/>
                  </a:cubicBezTo>
                  <a:cubicBezTo>
                    <a:pt x="734" y="32"/>
                    <a:pt x="734" y="32"/>
                    <a:pt x="734" y="32"/>
                  </a:cubicBezTo>
                  <a:cubicBezTo>
                    <a:pt x="713" y="13"/>
                    <a:pt x="713" y="13"/>
                    <a:pt x="713" y="13"/>
                  </a:cubicBezTo>
                  <a:cubicBezTo>
                    <a:pt x="709" y="5"/>
                    <a:pt x="709" y="5"/>
                    <a:pt x="709" y="5"/>
                  </a:cubicBezTo>
                  <a:cubicBezTo>
                    <a:pt x="709" y="5"/>
                    <a:pt x="705" y="16"/>
                    <a:pt x="685" y="21"/>
                  </a:cubicBezTo>
                  <a:cubicBezTo>
                    <a:pt x="665" y="26"/>
                    <a:pt x="659" y="10"/>
                    <a:pt x="659" y="10"/>
                  </a:cubicBezTo>
                  <a:cubicBezTo>
                    <a:pt x="638" y="13"/>
                    <a:pt x="638" y="13"/>
                    <a:pt x="638" y="13"/>
                  </a:cubicBezTo>
                  <a:cubicBezTo>
                    <a:pt x="638" y="13"/>
                    <a:pt x="630" y="0"/>
                    <a:pt x="623" y="1"/>
                  </a:cubicBezTo>
                  <a:cubicBezTo>
                    <a:pt x="616" y="2"/>
                    <a:pt x="611" y="23"/>
                    <a:pt x="611" y="23"/>
                  </a:cubicBezTo>
                  <a:cubicBezTo>
                    <a:pt x="611" y="23"/>
                    <a:pt x="593" y="28"/>
                    <a:pt x="589" y="28"/>
                  </a:cubicBezTo>
                  <a:cubicBezTo>
                    <a:pt x="585" y="28"/>
                    <a:pt x="576" y="18"/>
                    <a:pt x="576" y="18"/>
                  </a:cubicBezTo>
                  <a:cubicBezTo>
                    <a:pt x="560" y="32"/>
                    <a:pt x="560" y="32"/>
                    <a:pt x="560" y="32"/>
                  </a:cubicBezTo>
                  <a:cubicBezTo>
                    <a:pt x="548" y="32"/>
                    <a:pt x="548" y="32"/>
                    <a:pt x="548" y="32"/>
                  </a:cubicBezTo>
                  <a:cubicBezTo>
                    <a:pt x="548" y="32"/>
                    <a:pt x="535" y="41"/>
                    <a:pt x="529" y="46"/>
                  </a:cubicBezTo>
                  <a:cubicBezTo>
                    <a:pt x="523" y="51"/>
                    <a:pt x="509" y="30"/>
                    <a:pt x="509" y="30"/>
                  </a:cubicBezTo>
                  <a:cubicBezTo>
                    <a:pt x="509" y="30"/>
                    <a:pt x="502" y="43"/>
                    <a:pt x="495" y="46"/>
                  </a:cubicBezTo>
                  <a:cubicBezTo>
                    <a:pt x="488" y="49"/>
                    <a:pt x="493" y="63"/>
                    <a:pt x="484" y="70"/>
                  </a:cubicBezTo>
                  <a:cubicBezTo>
                    <a:pt x="475" y="77"/>
                    <a:pt x="462" y="63"/>
                    <a:pt x="462" y="63"/>
                  </a:cubicBezTo>
                  <a:cubicBezTo>
                    <a:pt x="462" y="63"/>
                    <a:pt x="444" y="63"/>
                    <a:pt x="434" y="64"/>
                  </a:cubicBezTo>
                  <a:cubicBezTo>
                    <a:pt x="424" y="65"/>
                    <a:pt x="418" y="53"/>
                    <a:pt x="418" y="53"/>
                  </a:cubicBezTo>
                  <a:cubicBezTo>
                    <a:pt x="418" y="53"/>
                    <a:pt x="409" y="53"/>
                    <a:pt x="394" y="53"/>
                  </a:cubicBezTo>
                  <a:cubicBezTo>
                    <a:pt x="379" y="53"/>
                    <a:pt x="391" y="38"/>
                    <a:pt x="388" y="34"/>
                  </a:cubicBezTo>
                  <a:cubicBezTo>
                    <a:pt x="385" y="30"/>
                    <a:pt x="372" y="32"/>
                    <a:pt x="372" y="32"/>
                  </a:cubicBezTo>
                  <a:cubicBezTo>
                    <a:pt x="372" y="32"/>
                    <a:pt x="375" y="17"/>
                    <a:pt x="346" y="15"/>
                  </a:cubicBezTo>
                  <a:cubicBezTo>
                    <a:pt x="317" y="13"/>
                    <a:pt x="327" y="32"/>
                    <a:pt x="317" y="46"/>
                  </a:cubicBezTo>
                  <a:cubicBezTo>
                    <a:pt x="307" y="60"/>
                    <a:pt x="308" y="49"/>
                    <a:pt x="300" y="59"/>
                  </a:cubicBezTo>
                  <a:cubicBezTo>
                    <a:pt x="292" y="69"/>
                    <a:pt x="302" y="72"/>
                    <a:pt x="302" y="72"/>
                  </a:cubicBezTo>
                  <a:cubicBezTo>
                    <a:pt x="302" y="82"/>
                    <a:pt x="302" y="82"/>
                    <a:pt x="302" y="82"/>
                  </a:cubicBezTo>
                  <a:cubicBezTo>
                    <a:pt x="292" y="96"/>
                    <a:pt x="292" y="96"/>
                    <a:pt x="292" y="96"/>
                  </a:cubicBezTo>
                  <a:cubicBezTo>
                    <a:pt x="301" y="103"/>
                    <a:pt x="301" y="103"/>
                    <a:pt x="301" y="103"/>
                  </a:cubicBezTo>
                  <a:cubicBezTo>
                    <a:pt x="301" y="103"/>
                    <a:pt x="301" y="114"/>
                    <a:pt x="301" y="122"/>
                  </a:cubicBezTo>
                  <a:cubicBezTo>
                    <a:pt x="301" y="130"/>
                    <a:pt x="286" y="159"/>
                    <a:pt x="277" y="169"/>
                  </a:cubicBezTo>
                  <a:cubicBezTo>
                    <a:pt x="268" y="179"/>
                    <a:pt x="275" y="206"/>
                    <a:pt x="276" y="217"/>
                  </a:cubicBezTo>
                  <a:cubicBezTo>
                    <a:pt x="277" y="228"/>
                    <a:pt x="267" y="236"/>
                    <a:pt x="265" y="244"/>
                  </a:cubicBezTo>
                  <a:cubicBezTo>
                    <a:pt x="263" y="252"/>
                    <a:pt x="272" y="259"/>
                    <a:pt x="272" y="270"/>
                  </a:cubicBezTo>
                  <a:cubicBezTo>
                    <a:pt x="272" y="281"/>
                    <a:pt x="262" y="289"/>
                    <a:pt x="262" y="289"/>
                  </a:cubicBezTo>
                  <a:cubicBezTo>
                    <a:pt x="259" y="321"/>
                    <a:pt x="259" y="321"/>
                    <a:pt x="259" y="321"/>
                  </a:cubicBezTo>
                  <a:cubicBezTo>
                    <a:pt x="259" y="321"/>
                    <a:pt x="253" y="336"/>
                    <a:pt x="243" y="343"/>
                  </a:cubicBezTo>
                  <a:cubicBezTo>
                    <a:pt x="233" y="350"/>
                    <a:pt x="220" y="356"/>
                    <a:pt x="213" y="359"/>
                  </a:cubicBezTo>
                  <a:cubicBezTo>
                    <a:pt x="206" y="362"/>
                    <a:pt x="206" y="385"/>
                    <a:pt x="205" y="394"/>
                  </a:cubicBezTo>
                  <a:cubicBezTo>
                    <a:pt x="204" y="403"/>
                    <a:pt x="186" y="410"/>
                    <a:pt x="186" y="410"/>
                  </a:cubicBezTo>
                  <a:cubicBezTo>
                    <a:pt x="187" y="477"/>
                    <a:pt x="187" y="477"/>
                    <a:pt x="187" y="477"/>
                  </a:cubicBezTo>
                  <a:cubicBezTo>
                    <a:pt x="170" y="507"/>
                    <a:pt x="170" y="507"/>
                    <a:pt x="170" y="507"/>
                  </a:cubicBezTo>
                  <a:cubicBezTo>
                    <a:pt x="170" y="507"/>
                    <a:pt x="160" y="510"/>
                    <a:pt x="154" y="510"/>
                  </a:cubicBezTo>
                  <a:cubicBezTo>
                    <a:pt x="148" y="510"/>
                    <a:pt x="136" y="531"/>
                    <a:pt x="129" y="540"/>
                  </a:cubicBezTo>
                  <a:cubicBezTo>
                    <a:pt x="122" y="549"/>
                    <a:pt x="119" y="554"/>
                    <a:pt x="104" y="554"/>
                  </a:cubicBezTo>
                  <a:cubicBezTo>
                    <a:pt x="89" y="554"/>
                    <a:pt x="107" y="531"/>
                    <a:pt x="100" y="524"/>
                  </a:cubicBezTo>
                  <a:cubicBezTo>
                    <a:pt x="93" y="517"/>
                    <a:pt x="83" y="533"/>
                    <a:pt x="83" y="533"/>
                  </a:cubicBezTo>
                  <a:cubicBezTo>
                    <a:pt x="70" y="532"/>
                    <a:pt x="70" y="532"/>
                    <a:pt x="70" y="532"/>
                  </a:cubicBezTo>
                  <a:cubicBezTo>
                    <a:pt x="70" y="532"/>
                    <a:pt x="71" y="548"/>
                    <a:pt x="59" y="553"/>
                  </a:cubicBezTo>
                  <a:cubicBezTo>
                    <a:pt x="47" y="558"/>
                    <a:pt x="43" y="537"/>
                    <a:pt x="43" y="537"/>
                  </a:cubicBezTo>
                  <a:cubicBezTo>
                    <a:pt x="36" y="540"/>
                    <a:pt x="36" y="540"/>
                    <a:pt x="36" y="540"/>
                  </a:cubicBezTo>
                  <a:cubicBezTo>
                    <a:pt x="33" y="548"/>
                    <a:pt x="33" y="548"/>
                    <a:pt x="33" y="548"/>
                  </a:cubicBezTo>
                  <a:cubicBezTo>
                    <a:pt x="9" y="565"/>
                    <a:pt x="9" y="565"/>
                    <a:pt x="9" y="565"/>
                  </a:cubicBezTo>
                  <a:cubicBezTo>
                    <a:pt x="9" y="565"/>
                    <a:pt x="21" y="591"/>
                    <a:pt x="13" y="595"/>
                  </a:cubicBezTo>
                  <a:cubicBezTo>
                    <a:pt x="10" y="597"/>
                    <a:pt x="5" y="599"/>
                    <a:pt x="0" y="602"/>
                  </a:cubicBezTo>
                  <a:cubicBezTo>
                    <a:pt x="4" y="605"/>
                    <a:pt x="11" y="612"/>
                    <a:pt x="12" y="617"/>
                  </a:cubicBezTo>
                  <a:cubicBezTo>
                    <a:pt x="35" y="607"/>
                    <a:pt x="35" y="607"/>
                    <a:pt x="35" y="607"/>
                  </a:cubicBezTo>
                  <a:cubicBezTo>
                    <a:pt x="52" y="609"/>
                    <a:pt x="52" y="609"/>
                    <a:pt x="52" y="609"/>
                  </a:cubicBezTo>
                  <a:cubicBezTo>
                    <a:pt x="57" y="607"/>
                    <a:pt x="57" y="607"/>
                    <a:pt x="57" y="607"/>
                  </a:cubicBezTo>
                  <a:cubicBezTo>
                    <a:pt x="65" y="609"/>
                    <a:pt x="65" y="609"/>
                    <a:pt x="65" y="609"/>
                  </a:cubicBezTo>
                  <a:cubicBezTo>
                    <a:pt x="80" y="605"/>
                    <a:pt x="80" y="605"/>
                    <a:pt x="80" y="605"/>
                  </a:cubicBezTo>
                  <a:cubicBezTo>
                    <a:pt x="80" y="605"/>
                    <a:pt x="91" y="612"/>
                    <a:pt x="98" y="611"/>
                  </a:cubicBezTo>
                  <a:cubicBezTo>
                    <a:pt x="105" y="610"/>
                    <a:pt x="123" y="607"/>
                    <a:pt x="123" y="607"/>
                  </a:cubicBezTo>
                  <a:cubicBezTo>
                    <a:pt x="123" y="607"/>
                    <a:pt x="136" y="609"/>
                    <a:pt x="141" y="609"/>
                  </a:cubicBezTo>
                  <a:cubicBezTo>
                    <a:pt x="146" y="609"/>
                    <a:pt x="153" y="609"/>
                    <a:pt x="153" y="609"/>
                  </a:cubicBezTo>
                  <a:cubicBezTo>
                    <a:pt x="163" y="606"/>
                    <a:pt x="163" y="606"/>
                    <a:pt x="163" y="606"/>
                  </a:cubicBezTo>
                  <a:cubicBezTo>
                    <a:pt x="177" y="607"/>
                    <a:pt x="177" y="607"/>
                    <a:pt x="177" y="607"/>
                  </a:cubicBezTo>
                  <a:cubicBezTo>
                    <a:pt x="177" y="607"/>
                    <a:pt x="195" y="599"/>
                    <a:pt x="200" y="608"/>
                  </a:cubicBezTo>
                  <a:cubicBezTo>
                    <a:pt x="205" y="617"/>
                    <a:pt x="211" y="621"/>
                    <a:pt x="211" y="621"/>
                  </a:cubicBezTo>
                  <a:cubicBezTo>
                    <a:pt x="212" y="651"/>
                    <a:pt x="212" y="651"/>
                    <a:pt x="212" y="651"/>
                  </a:cubicBezTo>
                  <a:cubicBezTo>
                    <a:pt x="212" y="651"/>
                    <a:pt x="222" y="658"/>
                    <a:pt x="223" y="664"/>
                  </a:cubicBezTo>
                  <a:cubicBezTo>
                    <a:pt x="224" y="670"/>
                    <a:pt x="222" y="686"/>
                    <a:pt x="222" y="686"/>
                  </a:cubicBezTo>
                  <a:cubicBezTo>
                    <a:pt x="222" y="686"/>
                    <a:pt x="228" y="689"/>
                    <a:pt x="233" y="695"/>
                  </a:cubicBezTo>
                  <a:cubicBezTo>
                    <a:pt x="238" y="701"/>
                    <a:pt x="240" y="709"/>
                    <a:pt x="240" y="709"/>
                  </a:cubicBezTo>
                  <a:cubicBezTo>
                    <a:pt x="246" y="717"/>
                    <a:pt x="246" y="717"/>
                    <a:pt x="246" y="717"/>
                  </a:cubicBezTo>
                  <a:cubicBezTo>
                    <a:pt x="249" y="727"/>
                    <a:pt x="249" y="727"/>
                    <a:pt x="249" y="727"/>
                  </a:cubicBezTo>
                  <a:cubicBezTo>
                    <a:pt x="270" y="726"/>
                    <a:pt x="270" y="726"/>
                    <a:pt x="270" y="726"/>
                  </a:cubicBezTo>
                  <a:cubicBezTo>
                    <a:pt x="277" y="731"/>
                    <a:pt x="277" y="731"/>
                    <a:pt x="277" y="731"/>
                  </a:cubicBezTo>
                  <a:cubicBezTo>
                    <a:pt x="281" y="724"/>
                    <a:pt x="281" y="724"/>
                    <a:pt x="281" y="724"/>
                  </a:cubicBezTo>
                  <a:cubicBezTo>
                    <a:pt x="296" y="724"/>
                    <a:pt x="296" y="724"/>
                    <a:pt x="296" y="724"/>
                  </a:cubicBezTo>
                  <a:cubicBezTo>
                    <a:pt x="303" y="718"/>
                    <a:pt x="303" y="718"/>
                    <a:pt x="303" y="718"/>
                  </a:cubicBezTo>
                  <a:cubicBezTo>
                    <a:pt x="307" y="723"/>
                    <a:pt x="307" y="723"/>
                    <a:pt x="307" y="723"/>
                  </a:cubicBezTo>
                  <a:cubicBezTo>
                    <a:pt x="337" y="720"/>
                    <a:pt x="337" y="720"/>
                    <a:pt x="337" y="720"/>
                  </a:cubicBezTo>
                  <a:cubicBezTo>
                    <a:pt x="337" y="720"/>
                    <a:pt x="336" y="706"/>
                    <a:pt x="339" y="702"/>
                  </a:cubicBezTo>
                  <a:cubicBezTo>
                    <a:pt x="342" y="698"/>
                    <a:pt x="349" y="698"/>
                    <a:pt x="349" y="693"/>
                  </a:cubicBezTo>
                  <a:cubicBezTo>
                    <a:pt x="349" y="688"/>
                    <a:pt x="338" y="676"/>
                    <a:pt x="343" y="672"/>
                  </a:cubicBezTo>
                  <a:cubicBezTo>
                    <a:pt x="348" y="668"/>
                    <a:pt x="377" y="671"/>
                    <a:pt x="377" y="671"/>
                  </a:cubicBezTo>
                  <a:cubicBezTo>
                    <a:pt x="377" y="671"/>
                    <a:pt x="377" y="663"/>
                    <a:pt x="386" y="666"/>
                  </a:cubicBezTo>
                  <a:cubicBezTo>
                    <a:pt x="395" y="669"/>
                    <a:pt x="391" y="678"/>
                    <a:pt x="391" y="678"/>
                  </a:cubicBezTo>
                  <a:cubicBezTo>
                    <a:pt x="392" y="686"/>
                    <a:pt x="392" y="686"/>
                    <a:pt x="392" y="686"/>
                  </a:cubicBezTo>
                  <a:cubicBezTo>
                    <a:pt x="452" y="685"/>
                    <a:pt x="452" y="685"/>
                    <a:pt x="452" y="685"/>
                  </a:cubicBezTo>
                  <a:cubicBezTo>
                    <a:pt x="452" y="703"/>
                    <a:pt x="452" y="703"/>
                    <a:pt x="452" y="703"/>
                  </a:cubicBezTo>
                  <a:cubicBezTo>
                    <a:pt x="445" y="713"/>
                    <a:pt x="445" y="713"/>
                    <a:pt x="445" y="713"/>
                  </a:cubicBezTo>
                  <a:cubicBezTo>
                    <a:pt x="448" y="727"/>
                    <a:pt x="448" y="727"/>
                    <a:pt x="448" y="727"/>
                  </a:cubicBezTo>
                  <a:cubicBezTo>
                    <a:pt x="448" y="727"/>
                    <a:pt x="461" y="740"/>
                    <a:pt x="461" y="747"/>
                  </a:cubicBezTo>
                  <a:cubicBezTo>
                    <a:pt x="461" y="754"/>
                    <a:pt x="453" y="763"/>
                    <a:pt x="453" y="763"/>
                  </a:cubicBezTo>
                  <a:cubicBezTo>
                    <a:pt x="456" y="779"/>
                    <a:pt x="456" y="779"/>
                    <a:pt x="456" y="779"/>
                  </a:cubicBezTo>
                  <a:cubicBezTo>
                    <a:pt x="456" y="779"/>
                    <a:pt x="451" y="791"/>
                    <a:pt x="451" y="799"/>
                  </a:cubicBezTo>
                  <a:cubicBezTo>
                    <a:pt x="451" y="807"/>
                    <a:pt x="457" y="815"/>
                    <a:pt x="464" y="822"/>
                  </a:cubicBezTo>
                  <a:cubicBezTo>
                    <a:pt x="471" y="829"/>
                    <a:pt x="475" y="847"/>
                    <a:pt x="475" y="847"/>
                  </a:cubicBezTo>
                  <a:cubicBezTo>
                    <a:pt x="475" y="847"/>
                    <a:pt x="474" y="862"/>
                    <a:pt x="471" y="869"/>
                  </a:cubicBezTo>
                  <a:cubicBezTo>
                    <a:pt x="468" y="876"/>
                    <a:pt x="465" y="888"/>
                    <a:pt x="468" y="892"/>
                  </a:cubicBezTo>
                  <a:cubicBezTo>
                    <a:pt x="471" y="896"/>
                    <a:pt x="479" y="898"/>
                    <a:pt x="479" y="898"/>
                  </a:cubicBezTo>
                  <a:cubicBezTo>
                    <a:pt x="485" y="886"/>
                    <a:pt x="485" y="886"/>
                    <a:pt x="485" y="886"/>
                  </a:cubicBezTo>
                  <a:cubicBezTo>
                    <a:pt x="503" y="890"/>
                    <a:pt x="503" y="890"/>
                    <a:pt x="503" y="890"/>
                  </a:cubicBezTo>
                  <a:cubicBezTo>
                    <a:pt x="519" y="885"/>
                    <a:pt x="519" y="885"/>
                    <a:pt x="519" y="885"/>
                  </a:cubicBezTo>
                  <a:cubicBezTo>
                    <a:pt x="519" y="885"/>
                    <a:pt x="519" y="880"/>
                    <a:pt x="526" y="880"/>
                  </a:cubicBezTo>
                  <a:cubicBezTo>
                    <a:pt x="533" y="880"/>
                    <a:pt x="537" y="887"/>
                    <a:pt x="537" y="887"/>
                  </a:cubicBezTo>
                  <a:cubicBezTo>
                    <a:pt x="551" y="885"/>
                    <a:pt x="551" y="885"/>
                    <a:pt x="551" y="885"/>
                  </a:cubicBezTo>
                  <a:cubicBezTo>
                    <a:pt x="556" y="875"/>
                    <a:pt x="556" y="875"/>
                    <a:pt x="556" y="875"/>
                  </a:cubicBezTo>
                  <a:cubicBezTo>
                    <a:pt x="561" y="884"/>
                    <a:pt x="561" y="884"/>
                    <a:pt x="561" y="884"/>
                  </a:cubicBezTo>
                  <a:cubicBezTo>
                    <a:pt x="572" y="882"/>
                    <a:pt x="572" y="882"/>
                    <a:pt x="572" y="882"/>
                  </a:cubicBezTo>
                  <a:cubicBezTo>
                    <a:pt x="572" y="882"/>
                    <a:pt x="563" y="907"/>
                    <a:pt x="580" y="908"/>
                  </a:cubicBezTo>
                  <a:cubicBezTo>
                    <a:pt x="597" y="909"/>
                    <a:pt x="583" y="899"/>
                    <a:pt x="583" y="899"/>
                  </a:cubicBezTo>
                  <a:cubicBezTo>
                    <a:pt x="614" y="893"/>
                    <a:pt x="614" y="893"/>
                    <a:pt x="614" y="893"/>
                  </a:cubicBezTo>
                  <a:cubicBezTo>
                    <a:pt x="614" y="893"/>
                    <a:pt x="610" y="912"/>
                    <a:pt x="620" y="919"/>
                  </a:cubicBezTo>
                  <a:cubicBezTo>
                    <a:pt x="630" y="926"/>
                    <a:pt x="682" y="939"/>
                    <a:pt x="687" y="935"/>
                  </a:cubicBezTo>
                  <a:cubicBezTo>
                    <a:pt x="692" y="931"/>
                    <a:pt x="689" y="905"/>
                    <a:pt x="701" y="910"/>
                  </a:cubicBezTo>
                  <a:cubicBezTo>
                    <a:pt x="713" y="915"/>
                    <a:pt x="704" y="920"/>
                    <a:pt x="708" y="925"/>
                  </a:cubicBezTo>
                  <a:cubicBezTo>
                    <a:pt x="712" y="930"/>
                    <a:pt x="722" y="930"/>
                    <a:pt x="722" y="934"/>
                  </a:cubicBezTo>
                  <a:cubicBezTo>
                    <a:pt x="722" y="938"/>
                    <a:pt x="714" y="947"/>
                    <a:pt x="722" y="948"/>
                  </a:cubicBezTo>
                  <a:cubicBezTo>
                    <a:pt x="730" y="949"/>
                    <a:pt x="732" y="943"/>
                    <a:pt x="737" y="947"/>
                  </a:cubicBezTo>
                  <a:cubicBezTo>
                    <a:pt x="742" y="951"/>
                    <a:pt x="741" y="959"/>
                    <a:pt x="745" y="959"/>
                  </a:cubicBezTo>
                  <a:cubicBezTo>
                    <a:pt x="749" y="959"/>
                    <a:pt x="754" y="951"/>
                    <a:pt x="760" y="959"/>
                  </a:cubicBezTo>
                  <a:cubicBezTo>
                    <a:pt x="766" y="967"/>
                    <a:pt x="768" y="978"/>
                    <a:pt x="768" y="978"/>
                  </a:cubicBezTo>
                  <a:cubicBezTo>
                    <a:pt x="768" y="978"/>
                    <a:pt x="774" y="975"/>
                    <a:pt x="779" y="982"/>
                  </a:cubicBezTo>
                  <a:cubicBezTo>
                    <a:pt x="784" y="989"/>
                    <a:pt x="787" y="1012"/>
                    <a:pt x="787" y="1012"/>
                  </a:cubicBezTo>
                  <a:cubicBezTo>
                    <a:pt x="799" y="1012"/>
                    <a:pt x="799" y="1012"/>
                    <a:pt x="799" y="1012"/>
                  </a:cubicBezTo>
                  <a:cubicBezTo>
                    <a:pt x="814" y="1002"/>
                    <a:pt x="814" y="1002"/>
                    <a:pt x="814" y="1002"/>
                  </a:cubicBezTo>
                  <a:cubicBezTo>
                    <a:pt x="814" y="1002"/>
                    <a:pt x="816" y="1016"/>
                    <a:pt x="822" y="1013"/>
                  </a:cubicBezTo>
                  <a:cubicBezTo>
                    <a:pt x="828" y="1010"/>
                    <a:pt x="827" y="945"/>
                    <a:pt x="827" y="945"/>
                  </a:cubicBezTo>
                  <a:cubicBezTo>
                    <a:pt x="819" y="945"/>
                    <a:pt x="819" y="945"/>
                    <a:pt x="819" y="945"/>
                  </a:cubicBezTo>
                  <a:cubicBezTo>
                    <a:pt x="813" y="948"/>
                    <a:pt x="813" y="948"/>
                    <a:pt x="813" y="948"/>
                  </a:cubicBezTo>
                  <a:cubicBezTo>
                    <a:pt x="813" y="948"/>
                    <a:pt x="816" y="961"/>
                    <a:pt x="806" y="961"/>
                  </a:cubicBezTo>
                  <a:cubicBezTo>
                    <a:pt x="796" y="961"/>
                    <a:pt x="784" y="947"/>
                    <a:pt x="778" y="940"/>
                  </a:cubicBezTo>
                  <a:cubicBezTo>
                    <a:pt x="772" y="933"/>
                    <a:pt x="761" y="938"/>
                    <a:pt x="759" y="920"/>
                  </a:cubicBezTo>
                  <a:cubicBezTo>
                    <a:pt x="757" y="902"/>
                    <a:pt x="779" y="880"/>
                    <a:pt x="779" y="866"/>
                  </a:cubicBezTo>
                  <a:cubicBezTo>
                    <a:pt x="779" y="852"/>
                    <a:pt x="775" y="818"/>
                    <a:pt x="775" y="818"/>
                  </a:cubicBezTo>
                  <a:cubicBezTo>
                    <a:pt x="775" y="818"/>
                    <a:pt x="773" y="799"/>
                    <a:pt x="770" y="797"/>
                  </a:cubicBezTo>
                  <a:cubicBezTo>
                    <a:pt x="767" y="795"/>
                    <a:pt x="761" y="788"/>
                    <a:pt x="761" y="788"/>
                  </a:cubicBezTo>
                  <a:cubicBezTo>
                    <a:pt x="761" y="788"/>
                    <a:pt x="788" y="773"/>
                    <a:pt x="788" y="766"/>
                  </a:cubicBezTo>
                  <a:cubicBezTo>
                    <a:pt x="788" y="759"/>
                    <a:pt x="788" y="746"/>
                    <a:pt x="788" y="746"/>
                  </a:cubicBezTo>
                  <a:cubicBezTo>
                    <a:pt x="788" y="746"/>
                    <a:pt x="825" y="741"/>
                    <a:pt x="838" y="738"/>
                  </a:cubicBezTo>
                  <a:cubicBezTo>
                    <a:pt x="842" y="737"/>
                    <a:pt x="849" y="735"/>
                    <a:pt x="857" y="731"/>
                  </a:cubicBezTo>
                  <a:cubicBezTo>
                    <a:pt x="860" y="728"/>
                    <a:pt x="862" y="726"/>
                    <a:pt x="862" y="726"/>
                  </a:cubicBezTo>
                  <a:cubicBezTo>
                    <a:pt x="862" y="726"/>
                    <a:pt x="855" y="714"/>
                    <a:pt x="850" y="710"/>
                  </a:cubicBezTo>
                  <a:cubicBezTo>
                    <a:pt x="846" y="706"/>
                    <a:pt x="849" y="688"/>
                    <a:pt x="849" y="681"/>
                  </a:cubicBezTo>
                  <a:cubicBezTo>
                    <a:pt x="849" y="674"/>
                    <a:pt x="837" y="678"/>
                    <a:pt x="834" y="677"/>
                  </a:cubicBezTo>
                  <a:cubicBezTo>
                    <a:pt x="831" y="676"/>
                    <a:pt x="828" y="666"/>
                    <a:pt x="828" y="658"/>
                  </a:cubicBezTo>
                  <a:cubicBezTo>
                    <a:pt x="828" y="650"/>
                    <a:pt x="819" y="649"/>
                    <a:pt x="812" y="642"/>
                  </a:cubicBezTo>
                  <a:cubicBezTo>
                    <a:pt x="805" y="635"/>
                    <a:pt x="803" y="618"/>
                    <a:pt x="804" y="612"/>
                  </a:cubicBezTo>
                  <a:cubicBezTo>
                    <a:pt x="805" y="606"/>
                    <a:pt x="810" y="596"/>
                    <a:pt x="810" y="589"/>
                  </a:cubicBezTo>
                  <a:cubicBezTo>
                    <a:pt x="810" y="582"/>
                    <a:pt x="800" y="582"/>
                    <a:pt x="796" y="572"/>
                  </a:cubicBezTo>
                  <a:cubicBezTo>
                    <a:pt x="792" y="562"/>
                    <a:pt x="796" y="550"/>
                    <a:pt x="797" y="538"/>
                  </a:cubicBezTo>
                  <a:cubicBezTo>
                    <a:pt x="798" y="526"/>
                    <a:pt x="799" y="515"/>
                    <a:pt x="802" y="502"/>
                  </a:cubicBezTo>
                  <a:cubicBezTo>
                    <a:pt x="804" y="494"/>
                    <a:pt x="810" y="495"/>
                    <a:pt x="814" y="498"/>
                  </a:cubicBezTo>
                  <a:cubicBezTo>
                    <a:pt x="814" y="496"/>
                    <a:pt x="814" y="494"/>
                    <a:pt x="814" y="494"/>
                  </a:cubicBezTo>
                  <a:cubicBezTo>
                    <a:pt x="814" y="494"/>
                    <a:pt x="816" y="480"/>
                    <a:pt x="816" y="471"/>
                  </a:cubicBezTo>
                  <a:cubicBezTo>
                    <a:pt x="816" y="462"/>
                    <a:pt x="801" y="454"/>
                    <a:pt x="801" y="454"/>
                  </a:cubicBezTo>
                  <a:cubicBezTo>
                    <a:pt x="795" y="434"/>
                    <a:pt x="795" y="434"/>
                    <a:pt x="795" y="434"/>
                  </a:cubicBezTo>
                  <a:cubicBezTo>
                    <a:pt x="795" y="434"/>
                    <a:pt x="795" y="434"/>
                    <a:pt x="795" y="434"/>
                  </a:cubicBezTo>
                  <a:cubicBezTo>
                    <a:pt x="791" y="433"/>
                    <a:pt x="787" y="432"/>
                    <a:pt x="786" y="428"/>
                  </a:cubicBezTo>
                  <a:cubicBezTo>
                    <a:pt x="782" y="420"/>
                    <a:pt x="804" y="410"/>
                    <a:pt x="806" y="406"/>
                  </a:cubicBezTo>
                  <a:cubicBezTo>
                    <a:pt x="807" y="403"/>
                    <a:pt x="797" y="392"/>
                    <a:pt x="799" y="384"/>
                  </a:cubicBezTo>
                  <a:cubicBezTo>
                    <a:pt x="800" y="376"/>
                    <a:pt x="824" y="365"/>
                    <a:pt x="824" y="365"/>
                  </a:cubicBezTo>
                  <a:lnTo>
                    <a:pt x="828" y="315"/>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206" name="Freeform 167"/>
            <p:cNvSpPr>
              <a:spLocks/>
            </p:cNvSpPr>
            <p:nvPr/>
          </p:nvSpPr>
          <p:spPr bwMode="gray">
            <a:xfrm>
              <a:off x="5011738" y="4048125"/>
              <a:ext cx="47625" cy="63500"/>
            </a:xfrm>
            <a:custGeom>
              <a:avLst/>
              <a:gdLst>
                <a:gd name="T0" fmla="*/ 21 w 87"/>
                <a:gd name="T1" fmla="*/ 49 h 112"/>
                <a:gd name="T2" fmla="*/ 19 w 87"/>
                <a:gd name="T3" fmla="*/ 72 h 112"/>
                <a:gd name="T4" fmla="*/ 25 w 87"/>
                <a:gd name="T5" fmla="*/ 112 h 112"/>
                <a:gd name="T6" fmla="*/ 45 w 87"/>
                <a:gd name="T7" fmla="*/ 103 h 112"/>
                <a:gd name="T8" fmla="*/ 61 w 87"/>
                <a:gd name="T9" fmla="*/ 68 h 112"/>
                <a:gd name="T10" fmla="*/ 80 w 87"/>
                <a:gd name="T11" fmla="*/ 56 h 112"/>
                <a:gd name="T12" fmla="*/ 78 w 87"/>
                <a:gd name="T13" fmla="*/ 47 h 112"/>
                <a:gd name="T14" fmla="*/ 86 w 87"/>
                <a:gd name="T15" fmla="*/ 44 h 112"/>
                <a:gd name="T16" fmla="*/ 87 w 87"/>
                <a:gd name="T17" fmla="*/ 33 h 112"/>
                <a:gd name="T18" fmla="*/ 65 w 87"/>
                <a:gd name="T19" fmla="*/ 23 h 112"/>
                <a:gd name="T20" fmla="*/ 71 w 87"/>
                <a:gd name="T21" fmla="*/ 0 h 112"/>
                <a:gd name="T22" fmla="*/ 77 w 87"/>
                <a:gd name="T23" fmla="*/ 0 h 112"/>
                <a:gd name="T24" fmla="*/ 74 w 87"/>
                <a:gd name="T25" fmla="*/ 0 h 112"/>
                <a:gd name="T26" fmla="*/ 44 w 87"/>
                <a:gd name="T27" fmla="*/ 0 h 112"/>
                <a:gd name="T28" fmla="*/ 39 w 87"/>
                <a:gd name="T29" fmla="*/ 17 h 112"/>
                <a:gd name="T30" fmla="*/ 22 w 87"/>
                <a:gd name="T31" fmla="*/ 24 h 112"/>
                <a:gd name="T32" fmla="*/ 9 w 87"/>
                <a:gd name="T33" fmla="*/ 11 h 112"/>
                <a:gd name="T34" fmla="*/ 0 w 87"/>
                <a:gd name="T35" fmla="*/ 12 h 112"/>
                <a:gd name="T36" fmla="*/ 6 w 87"/>
                <a:gd name="T37" fmla="*/ 32 h 112"/>
                <a:gd name="T38" fmla="*/ 21 w 87"/>
                <a:gd name="T39" fmla="*/ 49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7" h="112">
                  <a:moveTo>
                    <a:pt x="21" y="49"/>
                  </a:moveTo>
                  <a:cubicBezTo>
                    <a:pt x="21" y="58"/>
                    <a:pt x="19" y="72"/>
                    <a:pt x="19" y="72"/>
                  </a:cubicBezTo>
                  <a:cubicBezTo>
                    <a:pt x="19" y="72"/>
                    <a:pt x="19" y="99"/>
                    <a:pt x="25" y="112"/>
                  </a:cubicBezTo>
                  <a:cubicBezTo>
                    <a:pt x="29" y="112"/>
                    <a:pt x="35" y="110"/>
                    <a:pt x="45" y="103"/>
                  </a:cubicBezTo>
                  <a:cubicBezTo>
                    <a:pt x="61" y="91"/>
                    <a:pt x="54" y="81"/>
                    <a:pt x="61" y="68"/>
                  </a:cubicBezTo>
                  <a:cubicBezTo>
                    <a:pt x="68" y="55"/>
                    <a:pt x="80" y="56"/>
                    <a:pt x="80" y="56"/>
                  </a:cubicBezTo>
                  <a:cubicBezTo>
                    <a:pt x="78" y="47"/>
                    <a:pt x="78" y="47"/>
                    <a:pt x="78" y="47"/>
                  </a:cubicBezTo>
                  <a:cubicBezTo>
                    <a:pt x="86" y="44"/>
                    <a:pt x="86" y="44"/>
                    <a:pt x="86" y="44"/>
                  </a:cubicBezTo>
                  <a:cubicBezTo>
                    <a:pt x="87" y="33"/>
                    <a:pt x="87" y="33"/>
                    <a:pt x="87" y="33"/>
                  </a:cubicBezTo>
                  <a:cubicBezTo>
                    <a:pt x="87" y="33"/>
                    <a:pt x="63" y="32"/>
                    <a:pt x="65" y="23"/>
                  </a:cubicBezTo>
                  <a:cubicBezTo>
                    <a:pt x="67" y="14"/>
                    <a:pt x="71" y="0"/>
                    <a:pt x="71" y="0"/>
                  </a:cubicBezTo>
                  <a:cubicBezTo>
                    <a:pt x="71" y="0"/>
                    <a:pt x="74" y="0"/>
                    <a:pt x="77" y="0"/>
                  </a:cubicBezTo>
                  <a:cubicBezTo>
                    <a:pt x="74" y="0"/>
                    <a:pt x="74" y="0"/>
                    <a:pt x="74" y="0"/>
                  </a:cubicBezTo>
                  <a:cubicBezTo>
                    <a:pt x="44" y="0"/>
                    <a:pt x="44" y="0"/>
                    <a:pt x="44" y="0"/>
                  </a:cubicBezTo>
                  <a:cubicBezTo>
                    <a:pt x="39" y="17"/>
                    <a:pt x="39" y="17"/>
                    <a:pt x="39" y="17"/>
                  </a:cubicBezTo>
                  <a:cubicBezTo>
                    <a:pt x="39" y="17"/>
                    <a:pt x="26" y="24"/>
                    <a:pt x="22" y="24"/>
                  </a:cubicBezTo>
                  <a:cubicBezTo>
                    <a:pt x="18" y="24"/>
                    <a:pt x="9" y="11"/>
                    <a:pt x="9" y="11"/>
                  </a:cubicBezTo>
                  <a:cubicBezTo>
                    <a:pt x="9" y="11"/>
                    <a:pt x="5" y="12"/>
                    <a:pt x="0" y="12"/>
                  </a:cubicBezTo>
                  <a:cubicBezTo>
                    <a:pt x="6" y="32"/>
                    <a:pt x="6" y="32"/>
                    <a:pt x="6" y="32"/>
                  </a:cubicBezTo>
                  <a:cubicBezTo>
                    <a:pt x="6" y="32"/>
                    <a:pt x="21" y="40"/>
                    <a:pt x="21" y="49"/>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207" name="Freeform 168"/>
            <p:cNvSpPr>
              <a:spLocks noEditPoints="1"/>
            </p:cNvSpPr>
            <p:nvPr/>
          </p:nvSpPr>
          <p:spPr bwMode="gray">
            <a:xfrm>
              <a:off x="5026025" y="4006850"/>
              <a:ext cx="285750" cy="323850"/>
            </a:xfrm>
            <a:custGeom>
              <a:avLst/>
              <a:gdLst>
                <a:gd name="T0" fmla="*/ 477 w 510"/>
                <a:gd name="T1" fmla="*/ 478 h 579"/>
                <a:gd name="T2" fmla="*/ 458 w 510"/>
                <a:gd name="T3" fmla="*/ 405 h 579"/>
                <a:gd name="T4" fmla="*/ 456 w 510"/>
                <a:gd name="T5" fmla="*/ 360 h 579"/>
                <a:gd name="T6" fmla="*/ 436 w 510"/>
                <a:gd name="T7" fmla="*/ 290 h 579"/>
                <a:gd name="T8" fmla="*/ 455 w 510"/>
                <a:gd name="T9" fmla="*/ 198 h 579"/>
                <a:gd name="T10" fmla="*/ 391 w 510"/>
                <a:gd name="T11" fmla="*/ 118 h 579"/>
                <a:gd name="T12" fmla="*/ 216 w 510"/>
                <a:gd name="T13" fmla="*/ 1 h 579"/>
                <a:gd name="T14" fmla="*/ 206 w 510"/>
                <a:gd name="T15" fmla="*/ 1 h 579"/>
                <a:gd name="T16" fmla="*/ 194 w 510"/>
                <a:gd name="T17" fmla="*/ 31 h 579"/>
                <a:gd name="T18" fmla="*/ 206 w 510"/>
                <a:gd name="T19" fmla="*/ 59 h 579"/>
                <a:gd name="T20" fmla="*/ 162 w 510"/>
                <a:gd name="T21" fmla="*/ 71 h 579"/>
                <a:gd name="T22" fmla="*/ 161 w 510"/>
                <a:gd name="T23" fmla="*/ 99 h 579"/>
                <a:gd name="T24" fmla="*/ 150 w 510"/>
                <a:gd name="T25" fmla="*/ 73 h 579"/>
                <a:gd name="T26" fmla="*/ 123 w 510"/>
                <a:gd name="T27" fmla="*/ 66 h 579"/>
                <a:gd name="T28" fmla="*/ 104 w 510"/>
                <a:gd name="T29" fmla="*/ 80 h 579"/>
                <a:gd name="T30" fmla="*/ 112 w 510"/>
                <a:gd name="T31" fmla="*/ 2 h 579"/>
                <a:gd name="T32" fmla="*/ 51 w 510"/>
                <a:gd name="T33" fmla="*/ 0 h 579"/>
                <a:gd name="T34" fmla="*/ 60 w 510"/>
                <a:gd name="T35" fmla="*/ 31 h 579"/>
                <a:gd name="T36" fmla="*/ 64 w 510"/>
                <a:gd name="T37" fmla="*/ 64 h 579"/>
                <a:gd name="T38" fmla="*/ 38 w 510"/>
                <a:gd name="T39" fmla="*/ 97 h 579"/>
                <a:gd name="T40" fmla="*/ 59 w 510"/>
                <a:gd name="T41" fmla="*/ 118 h 579"/>
                <a:gd name="T42" fmla="*/ 53 w 510"/>
                <a:gd name="T43" fmla="*/ 130 h 579"/>
                <a:gd name="T44" fmla="*/ 18 w 510"/>
                <a:gd name="T45" fmla="*/ 177 h 579"/>
                <a:gd name="T46" fmla="*/ 0 w 510"/>
                <a:gd name="T47" fmla="*/ 194 h 579"/>
                <a:gd name="T48" fmla="*/ 8 w 510"/>
                <a:gd name="T49" fmla="*/ 226 h 579"/>
                <a:gd name="T50" fmla="*/ 9 w 510"/>
                <a:gd name="T51" fmla="*/ 279 h 579"/>
                <a:gd name="T52" fmla="*/ 51 w 510"/>
                <a:gd name="T53" fmla="*/ 322 h 579"/>
                <a:gd name="T54" fmla="*/ 56 w 510"/>
                <a:gd name="T55" fmla="*/ 370 h 579"/>
                <a:gd name="T56" fmla="*/ 69 w 510"/>
                <a:gd name="T57" fmla="*/ 409 h 579"/>
                <a:gd name="T58" fmla="*/ 94 w 510"/>
                <a:gd name="T59" fmla="*/ 421 h 579"/>
                <a:gd name="T60" fmla="*/ 118 w 510"/>
                <a:gd name="T61" fmla="*/ 434 h 579"/>
                <a:gd name="T62" fmla="*/ 135 w 510"/>
                <a:gd name="T63" fmla="*/ 443 h 579"/>
                <a:gd name="T64" fmla="*/ 158 w 510"/>
                <a:gd name="T65" fmla="*/ 452 h 579"/>
                <a:gd name="T66" fmla="*/ 179 w 510"/>
                <a:gd name="T67" fmla="*/ 461 h 579"/>
                <a:gd name="T68" fmla="*/ 212 w 510"/>
                <a:gd name="T69" fmla="*/ 453 h 579"/>
                <a:gd name="T70" fmla="*/ 232 w 510"/>
                <a:gd name="T71" fmla="*/ 514 h 579"/>
                <a:gd name="T72" fmla="*/ 231 w 510"/>
                <a:gd name="T73" fmla="*/ 539 h 579"/>
                <a:gd name="T74" fmla="*/ 249 w 510"/>
                <a:gd name="T75" fmla="*/ 569 h 579"/>
                <a:gd name="T76" fmla="*/ 292 w 510"/>
                <a:gd name="T77" fmla="*/ 558 h 579"/>
                <a:gd name="T78" fmla="*/ 338 w 510"/>
                <a:gd name="T79" fmla="*/ 568 h 579"/>
                <a:gd name="T80" fmla="*/ 367 w 510"/>
                <a:gd name="T81" fmla="*/ 573 h 579"/>
                <a:gd name="T82" fmla="*/ 406 w 510"/>
                <a:gd name="T83" fmla="*/ 552 h 579"/>
                <a:gd name="T84" fmla="*/ 438 w 510"/>
                <a:gd name="T85" fmla="*/ 545 h 579"/>
                <a:gd name="T86" fmla="*/ 510 w 510"/>
                <a:gd name="T87" fmla="*/ 507 h 579"/>
                <a:gd name="T88" fmla="*/ 481 w 510"/>
                <a:gd name="T89" fmla="*/ 237 h 579"/>
                <a:gd name="T90" fmla="*/ 481 w 510"/>
                <a:gd name="T91" fmla="*/ 237 h 579"/>
                <a:gd name="T92" fmla="*/ 478 w 510"/>
                <a:gd name="T93" fmla="*/ 294 h 579"/>
                <a:gd name="T94" fmla="*/ 458 w 510"/>
                <a:gd name="T95" fmla="*/ 251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0" h="579">
                  <a:moveTo>
                    <a:pt x="507" y="496"/>
                  </a:moveTo>
                  <a:cubicBezTo>
                    <a:pt x="507" y="496"/>
                    <a:pt x="479" y="489"/>
                    <a:pt x="477" y="478"/>
                  </a:cubicBezTo>
                  <a:cubicBezTo>
                    <a:pt x="475" y="467"/>
                    <a:pt x="473" y="436"/>
                    <a:pt x="473" y="436"/>
                  </a:cubicBezTo>
                  <a:cubicBezTo>
                    <a:pt x="458" y="405"/>
                    <a:pt x="458" y="405"/>
                    <a:pt x="458" y="405"/>
                  </a:cubicBezTo>
                  <a:cubicBezTo>
                    <a:pt x="467" y="374"/>
                    <a:pt x="467" y="374"/>
                    <a:pt x="467" y="374"/>
                  </a:cubicBezTo>
                  <a:cubicBezTo>
                    <a:pt x="456" y="360"/>
                    <a:pt x="456" y="360"/>
                    <a:pt x="456" y="360"/>
                  </a:cubicBezTo>
                  <a:cubicBezTo>
                    <a:pt x="456" y="360"/>
                    <a:pt x="476" y="325"/>
                    <a:pt x="471" y="317"/>
                  </a:cubicBezTo>
                  <a:cubicBezTo>
                    <a:pt x="466" y="309"/>
                    <a:pt x="439" y="302"/>
                    <a:pt x="436" y="290"/>
                  </a:cubicBezTo>
                  <a:cubicBezTo>
                    <a:pt x="433" y="278"/>
                    <a:pt x="450" y="239"/>
                    <a:pt x="451" y="232"/>
                  </a:cubicBezTo>
                  <a:cubicBezTo>
                    <a:pt x="452" y="226"/>
                    <a:pt x="454" y="203"/>
                    <a:pt x="455" y="198"/>
                  </a:cubicBezTo>
                  <a:cubicBezTo>
                    <a:pt x="380" y="128"/>
                    <a:pt x="380" y="128"/>
                    <a:pt x="380" y="128"/>
                  </a:cubicBezTo>
                  <a:cubicBezTo>
                    <a:pt x="380" y="128"/>
                    <a:pt x="388" y="122"/>
                    <a:pt x="391" y="118"/>
                  </a:cubicBezTo>
                  <a:cubicBezTo>
                    <a:pt x="394" y="114"/>
                    <a:pt x="382" y="105"/>
                    <a:pt x="382" y="105"/>
                  </a:cubicBezTo>
                  <a:cubicBezTo>
                    <a:pt x="216" y="1"/>
                    <a:pt x="216" y="1"/>
                    <a:pt x="216" y="1"/>
                  </a:cubicBezTo>
                  <a:cubicBezTo>
                    <a:pt x="206" y="1"/>
                    <a:pt x="206" y="1"/>
                    <a:pt x="206" y="1"/>
                  </a:cubicBezTo>
                  <a:cubicBezTo>
                    <a:pt x="206" y="1"/>
                    <a:pt x="206" y="1"/>
                    <a:pt x="206" y="1"/>
                  </a:cubicBezTo>
                  <a:cubicBezTo>
                    <a:pt x="206" y="10"/>
                    <a:pt x="209" y="24"/>
                    <a:pt x="209" y="24"/>
                  </a:cubicBezTo>
                  <a:cubicBezTo>
                    <a:pt x="194" y="31"/>
                    <a:pt x="194" y="31"/>
                    <a:pt x="194" y="31"/>
                  </a:cubicBezTo>
                  <a:cubicBezTo>
                    <a:pt x="194" y="31"/>
                    <a:pt x="181" y="40"/>
                    <a:pt x="176" y="55"/>
                  </a:cubicBezTo>
                  <a:cubicBezTo>
                    <a:pt x="171" y="70"/>
                    <a:pt x="206" y="59"/>
                    <a:pt x="206" y="59"/>
                  </a:cubicBezTo>
                  <a:cubicBezTo>
                    <a:pt x="206" y="59"/>
                    <a:pt x="187" y="75"/>
                    <a:pt x="181" y="78"/>
                  </a:cubicBezTo>
                  <a:cubicBezTo>
                    <a:pt x="175" y="81"/>
                    <a:pt x="171" y="72"/>
                    <a:pt x="162" y="71"/>
                  </a:cubicBezTo>
                  <a:cubicBezTo>
                    <a:pt x="153" y="70"/>
                    <a:pt x="154" y="89"/>
                    <a:pt x="154" y="89"/>
                  </a:cubicBezTo>
                  <a:cubicBezTo>
                    <a:pt x="161" y="99"/>
                    <a:pt x="161" y="99"/>
                    <a:pt x="161" y="99"/>
                  </a:cubicBezTo>
                  <a:cubicBezTo>
                    <a:pt x="161" y="99"/>
                    <a:pt x="158" y="100"/>
                    <a:pt x="148" y="99"/>
                  </a:cubicBezTo>
                  <a:cubicBezTo>
                    <a:pt x="138" y="98"/>
                    <a:pt x="150" y="73"/>
                    <a:pt x="150" y="73"/>
                  </a:cubicBezTo>
                  <a:cubicBezTo>
                    <a:pt x="138" y="78"/>
                    <a:pt x="138" y="78"/>
                    <a:pt x="138" y="78"/>
                  </a:cubicBezTo>
                  <a:cubicBezTo>
                    <a:pt x="138" y="78"/>
                    <a:pt x="130" y="66"/>
                    <a:pt x="123" y="66"/>
                  </a:cubicBezTo>
                  <a:cubicBezTo>
                    <a:pt x="113" y="66"/>
                    <a:pt x="114" y="92"/>
                    <a:pt x="109" y="92"/>
                  </a:cubicBezTo>
                  <a:cubicBezTo>
                    <a:pt x="104" y="92"/>
                    <a:pt x="104" y="80"/>
                    <a:pt x="104" y="80"/>
                  </a:cubicBezTo>
                  <a:cubicBezTo>
                    <a:pt x="104" y="80"/>
                    <a:pt x="99" y="54"/>
                    <a:pt x="101" y="40"/>
                  </a:cubicBezTo>
                  <a:cubicBezTo>
                    <a:pt x="103" y="26"/>
                    <a:pt x="111" y="8"/>
                    <a:pt x="112" y="2"/>
                  </a:cubicBezTo>
                  <a:cubicBezTo>
                    <a:pt x="112" y="1"/>
                    <a:pt x="112" y="1"/>
                    <a:pt x="112" y="0"/>
                  </a:cubicBezTo>
                  <a:cubicBezTo>
                    <a:pt x="51" y="0"/>
                    <a:pt x="51" y="0"/>
                    <a:pt x="51" y="0"/>
                  </a:cubicBezTo>
                  <a:cubicBezTo>
                    <a:pt x="46" y="13"/>
                    <a:pt x="46" y="13"/>
                    <a:pt x="46" y="13"/>
                  </a:cubicBezTo>
                  <a:cubicBezTo>
                    <a:pt x="46" y="13"/>
                    <a:pt x="56" y="23"/>
                    <a:pt x="60" y="31"/>
                  </a:cubicBezTo>
                  <a:cubicBezTo>
                    <a:pt x="64" y="39"/>
                    <a:pt x="58" y="44"/>
                    <a:pt x="58" y="44"/>
                  </a:cubicBezTo>
                  <a:cubicBezTo>
                    <a:pt x="58" y="44"/>
                    <a:pt x="64" y="52"/>
                    <a:pt x="64" y="64"/>
                  </a:cubicBezTo>
                  <a:cubicBezTo>
                    <a:pt x="64" y="76"/>
                    <a:pt x="44" y="74"/>
                    <a:pt x="44" y="74"/>
                  </a:cubicBezTo>
                  <a:cubicBezTo>
                    <a:pt x="44" y="74"/>
                    <a:pt x="40" y="88"/>
                    <a:pt x="38" y="97"/>
                  </a:cubicBezTo>
                  <a:cubicBezTo>
                    <a:pt x="36" y="106"/>
                    <a:pt x="60" y="107"/>
                    <a:pt x="60" y="107"/>
                  </a:cubicBezTo>
                  <a:cubicBezTo>
                    <a:pt x="59" y="118"/>
                    <a:pt x="59" y="118"/>
                    <a:pt x="59" y="118"/>
                  </a:cubicBezTo>
                  <a:cubicBezTo>
                    <a:pt x="51" y="121"/>
                    <a:pt x="51" y="121"/>
                    <a:pt x="51" y="121"/>
                  </a:cubicBezTo>
                  <a:cubicBezTo>
                    <a:pt x="53" y="130"/>
                    <a:pt x="53" y="130"/>
                    <a:pt x="53" y="130"/>
                  </a:cubicBezTo>
                  <a:cubicBezTo>
                    <a:pt x="53" y="130"/>
                    <a:pt x="41" y="129"/>
                    <a:pt x="34" y="142"/>
                  </a:cubicBezTo>
                  <a:cubicBezTo>
                    <a:pt x="27" y="155"/>
                    <a:pt x="34" y="165"/>
                    <a:pt x="18" y="177"/>
                  </a:cubicBezTo>
                  <a:cubicBezTo>
                    <a:pt x="11" y="182"/>
                    <a:pt x="6" y="184"/>
                    <a:pt x="2" y="185"/>
                  </a:cubicBezTo>
                  <a:cubicBezTo>
                    <a:pt x="0" y="194"/>
                    <a:pt x="0" y="194"/>
                    <a:pt x="0" y="194"/>
                  </a:cubicBezTo>
                  <a:cubicBezTo>
                    <a:pt x="0" y="194"/>
                    <a:pt x="6" y="205"/>
                    <a:pt x="9" y="209"/>
                  </a:cubicBezTo>
                  <a:cubicBezTo>
                    <a:pt x="12" y="213"/>
                    <a:pt x="8" y="226"/>
                    <a:pt x="8" y="226"/>
                  </a:cubicBezTo>
                  <a:cubicBezTo>
                    <a:pt x="8" y="226"/>
                    <a:pt x="19" y="256"/>
                    <a:pt x="15" y="261"/>
                  </a:cubicBezTo>
                  <a:cubicBezTo>
                    <a:pt x="11" y="266"/>
                    <a:pt x="8" y="269"/>
                    <a:pt x="9" y="279"/>
                  </a:cubicBezTo>
                  <a:cubicBezTo>
                    <a:pt x="10" y="289"/>
                    <a:pt x="18" y="294"/>
                    <a:pt x="24" y="296"/>
                  </a:cubicBezTo>
                  <a:cubicBezTo>
                    <a:pt x="30" y="298"/>
                    <a:pt x="47" y="316"/>
                    <a:pt x="51" y="322"/>
                  </a:cubicBezTo>
                  <a:cubicBezTo>
                    <a:pt x="55" y="328"/>
                    <a:pt x="51" y="337"/>
                    <a:pt x="49" y="345"/>
                  </a:cubicBezTo>
                  <a:cubicBezTo>
                    <a:pt x="47" y="353"/>
                    <a:pt x="56" y="370"/>
                    <a:pt x="56" y="370"/>
                  </a:cubicBezTo>
                  <a:cubicBezTo>
                    <a:pt x="74" y="394"/>
                    <a:pt x="74" y="394"/>
                    <a:pt x="74" y="394"/>
                  </a:cubicBezTo>
                  <a:cubicBezTo>
                    <a:pt x="74" y="394"/>
                    <a:pt x="72" y="401"/>
                    <a:pt x="69" y="409"/>
                  </a:cubicBezTo>
                  <a:cubicBezTo>
                    <a:pt x="77" y="410"/>
                    <a:pt x="89" y="406"/>
                    <a:pt x="89" y="406"/>
                  </a:cubicBezTo>
                  <a:cubicBezTo>
                    <a:pt x="89" y="406"/>
                    <a:pt x="91" y="418"/>
                    <a:pt x="94" y="421"/>
                  </a:cubicBezTo>
                  <a:cubicBezTo>
                    <a:pt x="97" y="424"/>
                    <a:pt x="106" y="421"/>
                    <a:pt x="106" y="421"/>
                  </a:cubicBezTo>
                  <a:cubicBezTo>
                    <a:pt x="106" y="421"/>
                    <a:pt x="113" y="430"/>
                    <a:pt x="118" y="434"/>
                  </a:cubicBezTo>
                  <a:cubicBezTo>
                    <a:pt x="123" y="438"/>
                    <a:pt x="133" y="432"/>
                    <a:pt x="133" y="432"/>
                  </a:cubicBezTo>
                  <a:cubicBezTo>
                    <a:pt x="135" y="443"/>
                    <a:pt x="135" y="443"/>
                    <a:pt x="135" y="443"/>
                  </a:cubicBezTo>
                  <a:cubicBezTo>
                    <a:pt x="147" y="442"/>
                    <a:pt x="147" y="442"/>
                    <a:pt x="147" y="442"/>
                  </a:cubicBezTo>
                  <a:cubicBezTo>
                    <a:pt x="158" y="452"/>
                    <a:pt x="158" y="452"/>
                    <a:pt x="158" y="452"/>
                  </a:cubicBezTo>
                  <a:cubicBezTo>
                    <a:pt x="173" y="451"/>
                    <a:pt x="173" y="451"/>
                    <a:pt x="173" y="451"/>
                  </a:cubicBezTo>
                  <a:cubicBezTo>
                    <a:pt x="179" y="461"/>
                    <a:pt x="179" y="461"/>
                    <a:pt x="179" y="461"/>
                  </a:cubicBezTo>
                  <a:cubicBezTo>
                    <a:pt x="198" y="461"/>
                    <a:pt x="198" y="461"/>
                    <a:pt x="198" y="461"/>
                  </a:cubicBezTo>
                  <a:cubicBezTo>
                    <a:pt x="198" y="461"/>
                    <a:pt x="202" y="448"/>
                    <a:pt x="212" y="453"/>
                  </a:cubicBezTo>
                  <a:cubicBezTo>
                    <a:pt x="222" y="458"/>
                    <a:pt x="230" y="479"/>
                    <a:pt x="230" y="479"/>
                  </a:cubicBezTo>
                  <a:cubicBezTo>
                    <a:pt x="232" y="514"/>
                    <a:pt x="232" y="514"/>
                    <a:pt x="232" y="514"/>
                  </a:cubicBezTo>
                  <a:cubicBezTo>
                    <a:pt x="232" y="514"/>
                    <a:pt x="237" y="515"/>
                    <a:pt x="237" y="522"/>
                  </a:cubicBezTo>
                  <a:cubicBezTo>
                    <a:pt x="237" y="529"/>
                    <a:pt x="234" y="531"/>
                    <a:pt x="231" y="539"/>
                  </a:cubicBezTo>
                  <a:cubicBezTo>
                    <a:pt x="228" y="547"/>
                    <a:pt x="250" y="557"/>
                    <a:pt x="250" y="557"/>
                  </a:cubicBezTo>
                  <a:cubicBezTo>
                    <a:pt x="249" y="569"/>
                    <a:pt x="249" y="569"/>
                    <a:pt x="249" y="569"/>
                  </a:cubicBezTo>
                  <a:cubicBezTo>
                    <a:pt x="262" y="569"/>
                    <a:pt x="280" y="568"/>
                    <a:pt x="280" y="568"/>
                  </a:cubicBezTo>
                  <a:cubicBezTo>
                    <a:pt x="280" y="568"/>
                    <a:pt x="284" y="558"/>
                    <a:pt x="292" y="558"/>
                  </a:cubicBezTo>
                  <a:cubicBezTo>
                    <a:pt x="300" y="558"/>
                    <a:pt x="319" y="579"/>
                    <a:pt x="324" y="579"/>
                  </a:cubicBezTo>
                  <a:cubicBezTo>
                    <a:pt x="329" y="579"/>
                    <a:pt x="334" y="570"/>
                    <a:pt x="338" y="568"/>
                  </a:cubicBezTo>
                  <a:cubicBezTo>
                    <a:pt x="342" y="566"/>
                    <a:pt x="356" y="574"/>
                    <a:pt x="356" y="574"/>
                  </a:cubicBezTo>
                  <a:cubicBezTo>
                    <a:pt x="356" y="574"/>
                    <a:pt x="360" y="576"/>
                    <a:pt x="367" y="573"/>
                  </a:cubicBezTo>
                  <a:cubicBezTo>
                    <a:pt x="374" y="570"/>
                    <a:pt x="390" y="552"/>
                    <a:pt x="390" y="552"/>
                  </a:cubicBezTo>
                  <a:cubicBezTo>
                    <a:pt x="406" y="552"/>
                    <a:pt x="406" y="552"/>
                    <a:pt x="406" y="552"/>
                  </a:cubicBezTo>
                  <a:cubicBezTo>
                    <a:pt x="406" y="552"/>
                    <a:pt x="409" y="560"/>
                    <a:pt x="413" y="559"/>
                  </a:cubicBezTo>
                  <a:cubicBezTo>
                    <a:pt x="417" y="558"/>
                    <a:pt x="438" y="545"/>
                    <a:pt x="438" y="545"/>
                  </a:cubicBezTo>
                  <a:cubicBezTo>
                    <a:pt x="457" y="544"/>
                    <a:pt x="457" y="544"/>
                    <a:pt x="457" y="544"/>
                  </a:cubicBezTo>
                  <a:cubicBezTo>
                    <a:pt x="510" y="507"/>
                    <a:pt x="510" y="507"/>
                    <a:pt x="510" y="507"/>
                  </a:cubicBezTo>
                  <a:lnTo>
                    <a:pt x="507" y="496"/>
                  </a:lnTo>
                  <a:close/>
                  <a:moveTo>
                    <a:pt x="481" y="237"/>
                  </a:moveTo>
                  <a:cubicBezTo>
                    <a:pt x="497" y="235"/>
                    <a:pt x="483" y="196"/>
                    <a:pt x="476" y="204"/>
                  </a:cubicBezTo>
                  <a:cubicBezTo>
                    <a:pt x="468" y="212"/>
                    <a:pt x="468" y="239"/>
                    <a:pt x="481" y="237"/>
                  </a:cubicBezTo>
                  <a:close/>
                  <a:moveTo>
                    <a:pt x="452" y="278"/>
                  </a:moveTo>
                  <a:cubicBezTo>
                    <a:pt x="452" y="278"/>
                    <a:pt x="468" y="296"/>
                    <a:pt x="478" y="294"/>
                  </a:cubicBezTo>
                  <a:cubicBezTo>
                    <a:pt x="487" y="292"/>
                    <a:pt x="470" y="272"/>
                    <a:pt x="470" y="272"/>
                  </a:cubicBezTo>
                  <a:cubicBezTo>
                    <a:pt x="470" y="272"/>
                    <a:pt x="474" y="251"/>
                    <a:pt x="458" y="251"/>
                  </a:cubicBezTo>
                  <a:cubicBezTo>
                    <a:pt x="442" y="251"/>
                    <a:pt x="452" y="278"/>
                    <a:pt x="452" y="278"/>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208" name="Freeform 169"/>
            <p:cNvSpPr>
              <a:spLocks noEditPoints="1"/>
            </p:cNvSpPr>
            <p:nvPr/>
          </p:nvSpPr>
          <p:spPr bwMode="gray">
            <a:xfrm>
              <a:off x="5027613" y="3849688"/>
              <a:ext cx="149225" cy="176213"/>
            </a:xfrm>
            <a:custGeom>
              <a:avLst/>
              <a:gdLst>
                <a:gd name="T0" fmla="*/ 204 w 266"/>
                <a:gd name="T1" fmla="*/ 283 h 314"/>
                <a:gd name="T2" fmla="*/ 214 w 266"/>
                <a:gd name="T3" fmla="*/ 283 h 314"/>
                <a:gd name="T4" fmla="*/ 215 w 266"/>
                <a:gd name="T5" fmla="*/ 282 h 314"/>
                <a:gd name="T6" fmla="*/ 204 w 266"/>
                <a:gd name="T7" fmla="*/ 283 h 314"/>
                <a:gd name="T8" fmla="*/ 262 w 266"/>
                <a:gd name="T9" fmla="*/ 127 h 314"/>
                <a:gd name="T10" fmla="*/ 246 w 266"/>
                <a:gd name="T11" fmla="*/ 97 h 314"/>
                <a:gd name="T12" fmla="*/ 255 w 266"/>
                <a:gd name="T13" fmla="*/ 87 h 314"/>
                <a:gd name="T14" fmla="*/ 234 w 266"/>
                <a:gd name="T15" fmla="*/ 62 h 314"/>
                <a:gd name="T16" fmla="*/ 235 w 266"/>
                <a:gd name="T17" fmla="*/ 57 h 314"/>
                <a:gd name="T18" fmla="*/ 226 w 266"/>
                <a:gd name="T19" fmla="*/ 42 h 314"/>
                <a:gd name="T20" fmla="*/ 228 w 266"/>
                <a:gd name="T21" fmla="*/ 27 h 314"/>
                <a:gd name="T22" fmla="*/ 215 w 266"/>
                <a:gd name="T23" fmla="*/ 22 h 314"/>
                <a:gd name="T24" fmla="*/ 208 w 266"/>
                <a:gd name="T25" fmla="*/ 0 h 314"/>
                <a:gd name="T26" fmla="*/ 200 w 266"/>
                <a:gd name="T27" fmla="*/ 0 h 314"/>
                <a:gd name="T28" fmla="*/ 178 w 266"/>
                <a:gd name="T29" fmla="*/ 25 h 314"/>
                <a:gd name="T30" fmla="*/ 161 w 266"/>
                <a:gd name="T31" fmla="*/ 17 h 314"/>
                <a:gd name="T32" fmla="*/ 149 w 266"/>
                <a:gd name="T33" fmla="*/ 25 h 314"/>
                <a:gd name="T34" fmla="*/ 133 w 266"/>
                <a:gd name="T35" fmla="*/ 24 h 314"/>
                <a:gd name="T36" fmla="*/ 120 w 266"/>
                <a:gd name="T37" fmla="*/ 39 h 314"/>
                <a:gd name="T38" fmla="*/ 106 w 266"/>
                <a:gd name="T39" fmla="*/ 21 h 314"/>
                <a:gd name="T40" fmla="*/ 99 w 266"/>
                <a:gd name="T41" fmla="*/ 22 h 314"/>
                <a:gd name="T42" fmla="*/ 92 w 266"/>
                <a:gd name="T43" fmla="*/ 29 h 314"/>
                <a:gd name="T44" fmla="*/ 72 w 266"/>
                <a:gd name="T45" fmla="*/ 21 h 314"/>
                <a:gd name="T46" fmla="*/ 56 w 266"/>
                <a:gd name="T47" fmla="*/ 34 h 314"/>
                <a:gd name="T48" fmla="*/ 62 w 266"/>
                <a:gd name="T49" fmla="*/ 47 h 314"/>
                <a:gd name="T50" fmla="*/ 49 w 266"/>
                <a:gd name="T51" fmla="*/ 61 h 314"/>
                <a:gd name="T52" fmla="*/ 59 w 266"/>
                <a:gd name="T53" fmla="*/ 71 h 314"/>
                <a:gd name="T54" fmla="*/ 52 w 266"/>
                <a:gd name="T55" fmla="*/ 92 h 314"/>
                <a:gd name="T56" fmla="*/ 66 w 266"/>
                <a:gd name="T57" fmla="*/ 97 h 314"/>
                <a:gd name="T58" fmla="*/ 78 w 266"/>
                <a:gd name="T59" fmla="*/ 108 h 314"/>
                <a:gd name="T60" fmla="*/ 45 w 266"/>
                <a:gd name="T61" fmla="*/ 156 h 314"/>
                <a:gd name="T62" fmla="*/ 29 w 266"/>
                <a:gd name="T63" fmla="*/ 164 h 314"/>
                <a:gd name="T64" fmla="*/ 29 w 266"/>
                <a:gd name="T65" fmla="*/ 173 h 314"/>
                <a:gd name="T66" fmla="*/ 16 w 266"/>
                <a:gd name="T67" fmla="*/ 181 h 314"/>
                <a:gd name="T68" fmla="*/ 14 w 266"/>
                <a:gd name="T69" fmla="*/ 198 h 314"/>
                <a:gd name="T70" fmla="*/ 4 w 266"/>
                <a:gd name="T71" fmla="*/ 229 h 314"/>
                <a:gd name="T72" fmla="*/ 4 w 266"/>
                <a:gd name="T73" fmla="*/ 249 h 314"/>
                <a:gd name="T74" fmla="*/ 0 w 266"/>
                <a:gd name="T75" fmla="*/ 299 h 314"/>
                <a:gd name="T76" fmla="*/ 10 w 266"/>
                <a:gd name="T77" fmla="*/ 299 h 314"/>
                <a:gd name="T78" fmla="*/ 22 w 266"/>
                <a:gd name="T79" fmla="*/ 307 h 314"/>
                <a:gd name="T80" fmla="*/ 33 w 266"/>
                <a:gd name="T81" fmla="*/ 283 h 314"/>
                <a:gd name="T82" fmla="*/ 49 w 266"/>
                <a:gd name="T83" fmla="*/ 282 h 314"/>
                <a:gd name="T84" fmla="*/ 110 w 266"/>
                <a:gd name="T85" fmla="*/ 282 h 314"/>
                <a:gd name="T86" fmla="*/ 102 w 266"/>
                <a:gd name="T87" fmla="*/ 265 h 314"/>
                <a:gd name="T88" fmla="*/ 111 w 266"/>
                <a:gd name="T89" fmla="*/ 246 h 314"/>
                <a:gd name="T90" fmla="*/ 118 w 266"/>
                <a:gd name="T91" fmla="*/ 223 h 314"/>
                <a:gd name="T92" fmla="*/ 160 w 266"/>
                <a:gd name="T93" fmla="*/ 216 h 314"/>
                <a:gd name="T94" fmla="*/ 176 w 266"/>
                <a:gd name="T95" fmla="*/ 202 h 314"/>
                <a:gd name="T96" fmla="*/ 182 w 266"/>
                <a:gd name="T97" fmla="*/ 219 h 314"/>
                <a:gd name="T98" fmla="*/ 200 w 266"/>
                <a:gd name="T99" fmla="*/ 215 h 314"/>
                <a:gd name="T100" fmla="*/ 207 w 266"/>
                <a:gd name="T101" fmla="*/ 217 h 314"/>
                <a:gd name="T102" fmla="*/ 207 w 266"/>
                <a:gd name="T103" fmla="*/ 219 h 314"/>
                <a:gd name="T104" fmla="*/ 218 w 266"/>
                <a:gd name="T105" fmla="*/ 201 h 314"/>
                <a:gd name="T106" fmla="*/ 219 w 266"/>
                <a:gd name="T107" fmla="*/ 190 h 314"/>
                <a:gd name="T108" fmla="*/ 231 w 266"/>
                <a:gd name="T109" fmla="*/ 179 h 314"/>
                <a:gd name="T110" fmla="*/ 234 w 266"/>
                <a:gd name="T111" fmla="*/ 164 h 314"/>
                <a:gd name="T112" fmla="*/ 247 w 266"/>
                <a:gd name="T113" fmla="*/ 160 h 314"/>
                <a:gd name="T114" fmla="*/ 251 w 266"/>
                <a:gd name="T115" fmla="*/ 145 h 314"/>
                <a:gd name="T116" fmla="*/ 262 w 266"/>
                <a:gd name="T117" fmla="*/ 127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6" h="314">
                  <a:moveTo>
                    <a:pt x="204" y="283"/>
                  </a:moveTo>
                  <a:cubicBezTo>
                    <a:pt x="214" y="283"/>
                    <a:pt x="214" y="283"/>
                    <a:pt x="214" y="283"/>
                  </a:cubicBezTo>
                  <a:cubicBezTo>
                    <a:pt x="215" y="282"/>
                    <a:pt x="215" y="282"/>
                    <a:pt x="215" y="282"/>
                  </a:cubicBezTo>
                  <a:cubicBezTo>
                    <a:pt x="209" y="282"/>
                    <a:pt x="204" y="282"/>
                    <a:pt x="204" y="283"/>
                  </a:cubicBezTo>
                  <a:close/>
                  <a:moveTo>
                    <a:pt x="262" y="127"/>
                  </a:moveTo>
                  <a:cubicBezTo>
                    <a:pt x="258" y="121"/>
                    <a:pt x="245" y="102"/>
                    <a:pt x="246" y="97"/>
                  </a:cubicBezTo>
                  <a:cubicBezTo>
                    <a:pt x="247" y="92"/>
                    <a:pt x="255" y="87"/>
                    <a:pt x="255" y="87"/>
                  </a:cubicBezTo>
                  <a:cubicBezTo>
                    <a:pt x="234" y="62"/>
                    <a:pt x="234" y="62"/>
                    <a:pt x="234" y="62"/>
                  </a:cubicBezTo>
                  <a:cubicBezTo>
                    <a:pt x="235" y="57"/>
                    <a:pt x="235" y="57"/>
                    <a:pt x="235" y="57"/>
                  </a:cubicBezTo>
                  <a:cubicBezTo>
                    <a:pt x="235" y="57"/>
                    <a:pt x="224" y="48"/>
                    <a:pt x="226" y="42"/>
                  </a:cubicBezTo>
                  <a:cubicBezTo>
                    <a:pt x="228" y="36"/>
                    <a:pt x="228" y="27"/>
                    <a:pt x="228" y="27"/>
                  </a:cubicBezTo>
                  <a:cubicBezTo>
                    <a:pt x="228" y="27"/>
                    <a:pt x="215" y="35"/>
                    <a:pt x="215" y="22"/>
                  </a:cubicBezTo>
                  <a:cubicBezTo>
                    <a:pt x="215" y="9"/>
                    <a:pt x="208" y="0"/>
                    <a:pt x="208" y="0"/>
                  </a:cubicBezTo>
                  <a:cubicBezTo>
                    <a:pt x="200" y="0"/>
                    <a:pt x="200" y="0"/>
                    <a:pt x="200" y="0"/>
                  </a:cubicBezTo>
                  <a:cubicBezTo>
                    <a:pt x="200" y="0"/>
                    <a:pt x="191" y="27"/>
                    <a:pt x="178" y="25"/>
                  </a:cubicBezTo>
                  <a:cubicBezTo>
                    <a:pt x="165" y="23"/>
                    <a:pt x="166" y="17"/>
                    <a:pt x="161" y="17"/>
                  </a:cubicBezTo>
                  <a:cubicBezTo>
                    <a:pt x="156" y="17"/>
                    <a:pt x="149" y="25"/>
                    <a:pt x="149" y="25"/>
                  </a:cubicBezTo>
                  <a:cubicBezTo>
                    <a:pt x="133" y="24"/>
                    <a:pt x="133" y="24"/>
                    <a:pt x="133" y="24"/>
                  </a:cubicBezTo>
                  <a:cubicBezTo>
                    <a:pt x="120" y="39"/>
                    <a:pt x="120" y="39"/>
                    <a:pt x="120" y="39"/>
                  </a:cubicBezTo>
                  <a:cubicBezTo>
                    <a:pt x="106" y="21"/>
                    <a:pt x="106" y="21"/>
                    <a:pt x="106" y="21"/>
                  </a:cubicBezTo>
                  <a:cubicBezTo>
                    <a:pt x="99" y="22"/>
                    <a:pt x="99" y="22"/>
                    <a:pt x="99" y="22"/>
                  </a:cubicBezTo>
                  <a:cubicBezTo>
                    <a:pt x="99" y="22"/>
                    <a:pt x="98" y="30"/>
                    <a:pt x="92" y="29"/>
                  </a:cubicBezTo>
                  <a:cubicBezTo>
                    <a:pt x="86" y="28"/>
                    <a:pt x="77" y="21"/>
                    <a:pt x="72" y="21"/>
                  </a:cubicBezTo>
                  <a:cubicBezTo>
                    <a:pt x="67" y="21"/>
                    <a:pt x="56" y="34"/>
                    <a:pt x="56" y="34"/>
                  </a:cubicBezTo>
                  <a:cubicBezTo>
                    <a:pt x="62" y="47"/>
                    <a:pt x="62" y="47"/>
                    <a:pt x="62" y="47"/>
                  </a:cubicBezTo>
                  <a:cubicBezTo>
                    <a:pt x="49" y="61"/>
                    <a:pt x="49" y="61"/>
                    <a:pt x="49" y="61"/>
                  </a:cubicBezTo>
                  <a:cubicBezTo>
                    <a:pt x="49" y="61"/>
                    <a:pt x="60" y="65"/>
                    <a:pt x="59" y="71"/>
                  </a:cubicBezTo>
                  <a:cubicBezTo>
                    <a:pt x="58" y="76"/>
                    <a:pt x="49" y="87"/>
                    <a:pt x="52" y="92"/>
                  </a:cubicBezTo>
                  <a:cubicBezTo>
                    <a:pt x="55" y="98"/>
                    <a:pt x="66" y="97"/>
                    <a:pt x="66" y="97"/>
                  </a:cubicBezTo>
                  <a:cubicBezTo>
                    <a:pt x="66" y="97"/>
                    <a:pt x="78" y="100"/>
                    <a:pt x="78" y="108"/>
                  </a:cubicBezTo>
                  <a:cubicBezTo>
                    <a:pt x="78" y="116"/>
                    <a:pt x="45" y="156"/>
                    <a:pt x="45" y="156"/>
                  </a:cubicBezTo>
                  <a:cubicBezTo>
                    <a:pt x="29" y="164"/>
                    <a:pt x="29" y="164"/>
                    <a:pt x="29" y="164"/>
                  </a:cubicBezTo>
                  <a:cubicBezTo>
                    <a:pt x="29" y="173"/>
                    <a:pt x="29" y="173"/>
                    <a:pt x="29" y="173"/>
                  </a:cubicBezTo>
                  <a:cubicBezTo>
                    <a:pt x="16" y="181"/>
                    <a:pt x="16" y="181"/>
                    <a:pt x="16" y="181"/>
                  </a:cubicBezTo>
                  <a:cubicBezTo>
                    <a:pt x="14" y="198"/>
                    <a:pt x="14" y="198"/>
                    <a:pt x="14" y="198"/>
                  </a:cubicBezTo>
                  <a:cubicBezTo>
                    <a:pt x="4" y="229"/>
                    <a:pt x="4" y="229"/>
                    <a:pt x="4" y="229"/>
                  </a:cubicBezTo>
                  <a:cubicBezTo>
                    <a:pt x="4" y="249"/>
                    <a:pt x="4" y="249"/>
                    <a:pt x="4" y="249"/>
                  </a:cubicBezTo>
                  <a:cubicBezTo>
                    <a:pt x="0" y="299"/>
                    <a:pt x="0" y="299"/>
                    <a:pt x="0" y="299"/>
                  </a:cubicBezTo>
                  <a:cubicBezTo>
                    <a:pt x="10" y="299"/>
                    <a:pt x="10" y="299"/>
                    <a:pt x="10" y="299"/>
                  </a:cubicBezTo>
                  <a:cubicBezTo>
                    <a:pt x="10" y="299"/>
                    <a:pt x="16" y="314"/>
                    <a:pt x="22" y="307"/>
                  </a:cubicBezTo>
                  <a:cubicBezTo>
                    <a:pt x="29" y="299"/>
                    <a:pt x="33" y="283"/>
                    <a:pt x="33" y="283"/>
                  </a:cubicBezTo>
                  <a:cubicBezTo>
                    <a:pt x="49" y="282"/>
                    <a:pt x="49" y="282"/>
                    <a:pt x="49" y="282"/>
                  </a:cubicBezTo>
                  <a:cubicBezTo>
                    <a:pt x="110" y="282"/>
                    <a:pt x="110" y="282"/>
                    <a:pt x="110" y="282"/>
                  </a:cubicBezTo>
                  <a:cubicBezTo>
                    <a:pt x="110" y="277"/>
                    <a:pt x="104" y="271"/>
                    <a:pt x="102" y="265"/>
                  </a:cubicBezTo>
                  <a:cubicBezTo>
                    <a:pt x="100" y="258"/>
                    <a:pt x="107" y="250"/>
                    <a:pt x="111" y="246"/>
                  </a:cubicBezTo>
                  <a:cubicBezTo>
                    <a:pt x="115" y="242"/>
                    <a:pt x="109" y="230"/>
                    <a:pt x="118" y="223"/>
                  </a:cubicBezTo>
                  <a:cubicBezTo>
                    <a:pt x="127" y="216"/>
                    <a:pt x="157" y="218"/>
                    <a:pt x="160" y="216"/>
                  </a:cubicBezTo>
                  <a:cubicBezTo>
                    <a:pt x="163" y="214"/>
                    <a:pt x="170" y="202"/>
                    <a:pt x="176" y="202"/>
                  </a:cubicBezTo>
                  <a:cubicBezTo>
                    <a:pt x="182" y="202"/>
                    <a:pt x="182" y="219"/>
                    <a:pt x="182" y="219"/>
                  </a:cubicBezTo>
                  <a:cubicBezTo>
                    <a:pt x="182" y="219"/>
                    <a:pt x="189" y="212"/>
                    <a:pt x="200" y="215"/>
                  </a:cubicBezTo>
                  <a:cubicBezTo>
                    <a:pt x="202" y="215"/>
                    <a:pt x="204" y="216"/>
                    <a:pt x="207" y="217"/>
                  </a:cubicBezTo>
                  <a:cubicBezTo>
                    <a:pt x="207" y="218"/>
                    <a:pt x="207" y="218"/>
                    <a:pt x="207" y="219"/>
                  </a:cubicBezTo>
                  <a:cubicBezTo>
                    <a:pt x="207" y="208"/>
                    <a:pt x="218" y="201"/>
                    <a:pt x="218" y="201"/>
                  </a:cubicBezTo>
                  <a:cubicBezTo>
                    <a:pt x="219" y="190"/>
                    <a:pt x="219" y="190"/>
                    <a:pt x="219" y="190"/>
                  </a:cubicBezTo>
                  <a:cubicBezTo>
                    <a:pt x="231" y="179"/>
                    <a:pt x="231" y="179"/>
                    <a:pt x="231" y="179"/>
                  </a:cubicBezTo>
                  <a:cubicBezTo>
                    <a:pt x="231" y="179"/>
                    <a:pt x="227" y="170"/>
                    <a:pt x="234" y="164"/>
                  </a:cubicBezTo>
                  <a:cubicBezTo>
                    <a:pt x="241" y="158"/>
                    <a:pt x="247" y="160"/>
                    <a:pt x="247" y="160"/>
                  </a:cubicBezTo>
                  <a:cubicBezTo>
                    <a:pt x="251" y="145"/>
                    <a:pt x="251" y="145"/>
                    <a:pt x="251" y="145"/>
                  </a:cubicBezTo>
                  <a:cubicBezTo>
                    <a:pt x="251" y="145"/>
                    <a:pt x="266" y="133"/>
                    <a:pt x="262" y="127"/>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209" name="Freeform 170"/>
            <p:cNvSpPr>
              <a:spLocks/>
            </p:cNvSpPr>
            <p:nvPr/>
          </p:nvSpPr>
          <p:spPr bwMode="gray">
            <a:xfrm>
              <a:off x="5141913" y="3833813"/>
              <a:ext cx="212725" cy="284163"/>
            </a:xfrm>
            <a:custGeom>
              <a:avLst/>
              <a:gdLst>
                <a:gd name="T0" fmla="*/ 337 w 378"/>
                <a:gd name="T1" fmla="*/ 100 h 509"/>
                <a:gd name="T2" fmla="*/ 358 w 378"/>
                <a:gd name="T3" fmla="*/ 79 h 509"/>
                <a:gd name="T4" fmla="*/ 378 w 378"/>
                <a:gd name="T5" fmla="*/ 43 h 509"/>
                <a:gd name="T6" fmla="*/ 362 w 378"/>
                <a:gd name="T7" fmla="*/ 37 h 509"/>
                <a:gd name="T8" fmla="*/ 358 w 378"/>
                <a:gd name="T9" fmla="*/ 41 h 509"/>
                <a:gd name="T10" fmla="*/ 340 w 378"/>
                <a:gd name="T11" fmla="*/ 40 h 509"/>
                <a:gd name="T12" fmla="*/ 324 w 378"/>
                <a:gd name="T13" fmla="*/ 23 h 509"/>
                <a:gd name="T14" fmla="*/ 312 w 378"/>
                <a:gd name="T15" fmla="*/ 32 h 509"/>
                <a:gd name="T16" fmla="*/ 283 w 378"/>
                <a:gd name="T17" fmla="*/ 46 h 509"/>
                <a:gd name="T18" fmla="*/ 278 w 378"/>
                <a:gd name="T19" fmla="*/ 56 h 509"/>
                <a:gd name="T20" fmla="*/ 265 w 378"/>
                <a:gd name="T21" fmla="*/ 70 h 509"/>
                <a:gd name="T22" fmla="*/ 234 w 378"/>
                <a:gd name="T23" fmla="*/ 61 h 509"/>
                <a:gd name="T24" fmla="*/ 194 w 378"/>
                <a:gd name="T25" fmla="*/ 57 h 509"/>
                <a:gd name="T26" fmla="*/ 143 w 378"/>
                <a:gd name="T27" fmla="*/ 17 h 509"/>
                <a:gd name="T28" fmla="*/ 96 w 378"/>
                <a:gd name="T29" fmla="*/ 15 h 509"/>
                <a:gd name="T30" fmla="*/ 90 w 378"/>
                <a:gd name="T31" fmla="*/ 0 h 509"/>
                <a:gd name="T32" fmla="*/ 77 w 378"/>
                <a:gd name="T33" fmla="*/ 8 h 509"/>
                <a:gd name="T34" fmla="*/ 17 w 378"/>
                <a:gd name="T35" fmla="*/ 9 h 509"/>
                <a:gd name="T36" fmla="*/ 3 w 378"/>
                <a:gd name="T37" fmla="*/ 29 h 509"/>
                <a:gd name="T38" fmla="*/ 10 w 378"/>
                <a:gd name="T39" fmla="*/ 51 h 509"/>
                <a:gd name="T40" fmla="*/ 23 w 378"/>
                <a:gd name="T41" fmla="*/ 56 h 509"/>
                <a:gd name="T42" fmla="*/ 21 w 378"/>
                <a:gd name="T43" fmla="*/ 71 h 509"/>
                <a:gd name="T44" fmla="*/ 30 w 378"/>
                <a:gd name="T45" fmla="*/ 86 h 509"/>
                <a:gd name="T46" fmla="*/ 29 w 378"/>
                <a:gd name="T47" fmla="*/ 91 h 509"/>
                <a:gd name="T48" fmla="*/ 50 w 378"/>
                <a:gd name="T49" fmla="*/ 116 h 509"/>
                <a:gd name="T50" fmla="*/ 41 w 378"/>
                <a:gd name="T51" fmla="*/ 126 h 509"/>
                <a:gd name="T52" fmla="*/ 57 w 378"/>
                <a:gd name="T53" fmla="*/ 156 h 509"/>
                <a:gd name="T54" fmla="*/ 46 w 378"/>
                <a:gd name="T55" fmla="*/ 174 h 509"/>
                <a:gd name="T56" fmla="*/ 42 w 378"/>
                <a:gd name="T57" fmla="*/ 189 h 509"/>
                <a:gd name="T58" fmla="*/ 29 w 378"/>
                <a:gd name="T59" fmla="*/ 193 h 509"/>
                <a:gd name="T60" fmla="*/ 26 w 378"/>
                <a:gd name="T61" fmla="*/ 208 h 509"/>
                <a:gd name="T62" fmla="*/ 14 w 378"/>
                <a:gd name="T63" fmla="*/ 219 h 509"/>
                <a:gd name="T64" fmla="*/ 13 w 378"/>
                <a:gd name="T65" fmla="*/ 230 h 509"/>
                <a:gd name="T66" fmla="*/ 2 w 378"/>
                <a:gd name="T67" fmla="*/ 248 h 509"/>
                <a:gd name="T68" fmla="*/ 18 w 378"/>
                <a:gd name="T69" fmla="*/ 270 h 509"/>
                <a:gd name="T70" fmla="*/ 25 w 378"/>
                <a:gd name="T71" fmla="*/ 262 h 509"/>
                <a:gd name="T72" fmla="*/ 39 w 378"/>
                <a:gd name="T73" fmla="*/ 261 h 509"/>
                <a:gd name="T74" fmla="*/ 42 w 378"/>
                <a:gd name="T75" fmla="*/ 273 h 509"/>
                <a:gd name="T76" fmla="*/ 33 w 378"/>
                <a:gd name="T77" fmla="*/ 275 h 509"/>
                <a:gd name="T78" fmla="*/ 23 w 378"/>
                <a:gd name="T79" fmla="*/ 283 h 509"/>
                <a:gd name="T80" fmla="*/ 9 w 378"/>
                <a:gd name="T81" fmla="*/ 283 h 509"/>
                <a:gd name="T82" fmla="*/ 13 w 378"/>
                <a:gd name="T83" fmla="*/ 302 h 509"/>
                <a:gd name="T84" fmla="*/ 9 w 378"/>
                <a:gd name="T85" fmla="*/ 312 h 509"/>
                <a:gd name="T86" fmla="*/ 175 w 378"/>
                <a:gd name="T87" fmla="*/ 416 h 509"/>
                <a:gd name="T88" fmla="*/ 184 w 378"/>
                <a:gd name="T89" fmla="*/ 429 h 509"/>
                <a:gd name="T90" fmla="*/ 173 w 378"/>
                <a:gd name="T91" fmla="*/ 439 h 509"/>
                <a:gd name="T92" fmla="*/ 248 w 378"/>
                <a:gd name="T93" fmla="*/ 509 h 509"/>
                <a:gd name="T94" fmla="*/ 248 w 378"/>
                <a:gd name="T95" fmla="*/ 508 h 509"/>
                <a:gd name="T96" fmla="*/ 261 w 378"/>
                <a:gd name="T97" fmla="*/ 505 h 509"/>
                <a:gd name="T98" fmla="*/ 281 w 378"/>
                <a:gd name="T99" fmla="*/ 463 h 509"/>
                <a:gd name="T100" fmla="*/ 279 w 378"/>
                <a:gd name="T101" fmla="*/ 441 h 509"/>
                <a:gd name="T102" fmla="*/ 299 w 378"/>
                <a:gd name="T103" fmla="*/ 424 h 509"/>
                <a:gd name="T104" fmla="*/ 301 w 378"/>
                <a:gd name="T105" fmla="*/ 398 h 509"/>
                <a:gd name="T106" fmla="*/ 324 w 378"/>
                <a:gd name="T107" fmla="*/ 388 h 509"/>
                <a:gd name="T108" fmla="*/ 328 w 378"/>
                <a:gd name="T109" fmla="*/ 361 h 509"/>
                <a:gd name="T110" fmla="*/ 360 w 378"/>
                <a:gd name="T111" fmla="*/ 351 h 509"/>
                <a:gd name="T112" fmla="*/ 364 w 378"/>
                <a:gd name="T113" fmla="*/ 343 h 509"/>
                <a:gd name="T114" fmla="*/ 336 w 378"/>
                <a:gd name="T115" fmla="*/ 303 h 509"/>
                <a:gd name="T116" fmla="*/ 337 w 378"/>
                <a:gd name="T117" fmla="*/ 100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8" h="509">
                  <a:moveTo>
                    <a:pt x="337" y="100"/>
                  </a:moveTo>
                  <a:cubicBezTo>
                    <a:pt x="337" y="100"/>
                    <a:pt x="351" y="87"/>
                    <a:pt x="358" y="79"/>
                  </a:cubicBezTo>
                  <a:cubicBezTo>
                    <a:pt x="365" y="71"/>
                    <a:pt x="378" y="43"/>
                    <a:pt x="378" y="43"/>
                  </a:cubicBezTo>
                  <a:cubicBezTo>
                    <a:pt x="362" y="37"/>
                    <a:pt x="362" y="37"/>
                    <a:pt x="362" y="37"/>
                  </a:cubicBezTo>
                  <a:cubicBezTo>
                    <a:pt x="358" y="41"/>
                    <a:pt x="358" y="41"/>
                    <a:pt x="358" y="41"/>
                  </a:cubicBezTo>
                  <a:cubicBezTo>
                    <a:pt x="340" y="40"/>
                    <a:pt x="340" y="40"/>
                    <a:pt x="340" y="40"/>
                  </a:cubicBezTo>
                  <a:cubicBezTo>
                    <a:pt x="324" y="23"/>
                    <a:pt x="324" y="23"/>
                    <a:pt x="324" y="23"/>
                  </a:cubicBezTo>
                  <a:cubicBezTo>
                    <a:pt x="312" y="32"/>
                    <a:pt x="312" y="32"/>
                    <a:pt x="312" y="32"/>
                  </a:cubicBezTo>
                  <a:cubicBezTo>
                    <a:pt x="312" y="32"/>
                    <a:pt x="290" y="40"/>
                    <a:pt x="283" y="46"/>
                  </a:cubicBezTo>
                  <a:cubicBezTo>
                    <a:pt x="276" y="52"/>
                    <a:pt x="278" y="56"/>
                    <a:pt x="278" y="56"/>
                  </a:cubicBezTo>
                  <a:cubicBezTo>
                    <a:pt x="265" y="70"/>
                    <a:pt x="265" y="70"/>
                    <a:pt x="265" y="70"/>
                  </a:cubicBezTo>
                  <a:cubicBezTo>
                    <a:pt x="265" y="70"/>
                    <a:pt x="247" y="63"/>
                    <a:pt x="234" y="61"/>
                  </a:cubicBezTo>
                  <a:cubicBezTo>
                    <a:pt x="221" y="59"/>
                    <a:pt x="194" y="57"/>
                    <a:pt x="194" y="57"/>
                  </a:cubicBezTo>
                  <a:cubicBezTo>
                    <a:pt x="143" y="17"/>
                    <a:pt x="143" y="17"/>
                    <a:pt x="143" y="17"/>
                  </a:cubicBezTo>
                  <a:cubicBezTo>
                    <a:pt x="96" y="15"/>
                    <a:pt x="96" y="15"/>
                    <a:pt x="96" y="15"/>
                  </a:cubicBezTo>
                  <a:cubicBezTo>
                    <a:pt x="90" y="0"/>
                    <a:pt x="90" y="0"/>
                    <a:pt x="90" y="0"/>
                  </a:cubicBezTo>
                  <a:cubicBezTo>
                    <a:pt x="77" y="8"/>
                    <a:pt x="77" y="8"/>
                    <a:pt x="77" y="8"/>
                  </a:cubicBezTo>
                  <a:cubicBezTo>
                    <a:pt x="17" y="9"/>
                    <a:pt x="17" y="9"/>
                    <a:pt x="17" y="9"/>
                  </a:cubicBezTo>
                  <a:cubicBezTo>
                    <a:pt x="3" y="29"/>
                    <a:pt x="3" y="29"/>
                    <a:pt x="3" y="29"/>
                  </a:cubicBezTo>
                  <a:cubicBezTo>
                    <a:pt x="3" y="29"/>
                    <a:pt x="10" y="38"/>
                    <a:pt x="10" y="51"/>
                  </a:cubicBezTo>
                  <a:cubicBezTo>
                    <a:pt x="10" y="64"/>
                    <a:pt x="23" y="56"/>
                    <a:pt x="23" y="56"/>
                  </a:cubicBezTo>
                  <a:cubicBezTo>
                    <a:pt x="23" y="56"/>
                    <a:pt x="23" y="65"/>
                    <a:pt x="21" y="71"/>
                  </a:cubicBezTo>
                  <a:cubicBezTo>
                    <a:pt x="19" y="77"/>
                    <a:pt x="30" y="86"/>
                    <a:pt x="30" y="86"/>
                  </a:cubicBezTo>
                  <a:cubicBezTo>
                    <a:pt x="29" y="91"/>
                    <a:pt x="29" y="91"/>
                    <a:pt x="29" y="91"/>
                  </a:cubicBezTo>
                  <a:cubicBezTo>
                    <a:pt x="50" y="116"/>
                    <a:pt x="50" y="116"/>
                    <a:pt x="50" y="116"/>
                  </a:cubicBezTo>
                  <a:cubicBezTo>
                    <a:pt x="50" y="116"/>
                    <a:pt x="42" y="121"/>
                    <a:pt x="41" y="126"/>
                  </a:cubicBezTo>
                  <a:cubicBezTo>
                    <a:pt x="40" y="131"/>
                    <a:pt x="53" y="150"/>
                    <a:pt x="57" y="156"/>
                  </a:cubicBezTo>
                  <a:cubicBezTo>
                    <a:pt x="61" y="162"/>
                    <a:pt x="46" y="174"/>
                    <a:pt x="46" y="174"/>
                  </a:cubicBezTo>
                  <a:cubicBezTo>
                    <a:pt x="42" y="189"/>
                    <a:pt x="42" y="189"/>
                    <a:pt x="42" y="189"/>
                  </a:cubicBezTo>
                  <a:cubicBezTo>
                    <a:pt x="42" y="189"/>
                    <a:pt x="36" y="187"/>
                    <a:pt x="29" y="193"/>
                  </a:cubicBezTo>
                  <a:cubicBezTo>
                    <a:pt x="22" y="199"/>
                    <a:pt x="26" y="208"/>
                    <a:pt x="26" y="208"/>
                  </a:cubicBezTo>
                  <a:cubicBezTo>
                    <a:pt x="14" y="219"/>
                    <a:pt x="14" y="219"/>
                    <a:pt x="14" y="219"/>
                  </a:cubicBezTo>
                  <a:cubicBezTo>
                    <a:pt x="13" y="230"/>
                    <a:pt x="13" y="230"/>
                    <a:pt x="13" y="230"/>
                  </a:cubicBezTo>
                  <a:cubicBezTo>
                    <a:pt x="13" y="230"/>
                    <a:pt x="2" y="237"/>
                    <a:pt x="2" y="248"/>
                  </a:cubicBezTo>
                  <a:cubicBezTo>
                    <a:pt x="2" y="259"/>
                    <a:pt x="11" y="269"/>
                    <a:pt x="18" y="270"/>
                  </a:cubicBezTo>
                  <a:cubicBezTo>
                    <a:pt x="25" y="271"/>
                    <a:pt x="25" y="262"/>
                    <a:pt x="25" y="262"/>
                  </a:cubicBezTo>
                  <a:cubicBezTo>
                    <a:pt x="39" y="261"/>
                    <a:pt x="39" y="261"/>
                    <a:pt x="39" y="261"/>
                  </a:cubicBezTo>
                  <a:cubicBezTo>
                    <a:pt x="42" y="273"/>
                    <a:pt x="42" y="273"/>
                    <a:pt x="42" y="273"/>
                  </a:cubicBezTo>
                  <a:cubicBezTo>
                    <a:pt x="33" y="275"/>
                    <a:pt x="33" y="275"/>
                    <a:pt x="33" y="275"/>
                  </a:cubicBezTo>
                  <a:cubicBezTo>
                    <a:pt x="23" y="283"/>
                    <a:pt x="23" y="283"/>
                    <a:pt x="23" y="283"/>
                  </a:cubicBezTo>
                  <a:cubicBezTo>
                    <a:pt x="23" y="283"/>
                    <a:pt x="18" y="273"/>
                    <a:pt x="9" y="283"/>
                  </a:cubicBezTo>
                  <a:cubicBezTo>
                    <a:pt x="0" y="293"/>
                    <a:pt x="13" y="302"/>
                    <a:pt x="13" y="302"/>
                  </a:cubicBezTo>
                  <a:cubicBezTo>
                    <a:pt x="9" y="312"/>
                    <a:pt x="9" y="312"/>
                    <a:pt x="9" y="312"/>
                  </a:cubicBezTo>
                  <a:cubicBezTo>
                    <a:pt x="175" y="416"/>
                    <a:pt x="175" y="416"/>
                    <a:pt x="175" y="416"/>
                  </a:cubicBezTo>
                  <a:cubicBezTo>
                    <a:pt x="175" y="416"/>
                    <a:pt x="187" y="425"/>
                    <a:pt x="184" y="429"/>
                  </a:cubicBezTo>
                  <a:cubicBezTo>
                    <a:pt x="181" y="433"/>
                    <a:pt x="173" y="439"/>
                    <a:pt x="173" y="439"/>
                  </a:cubicBezTo>
                  <a:cubicBezTo>
                    <a:pt x="248" y="509"/>
                    <a:pt x="248" y="509"/>
                    <a:pt x="248" y="509"/>
                  </a:cubicBezTo>
                  <a:cubicBezTo>
                    <a:pt x="248" y="508"/>
                    <a:pt x="248" y="508"/>
                    <a:pt x="248" y="508"/>
                  </a:cubicBezTo>
                  <a:cubicBezTo>
                    <a:pt x="261" y="505"/>
                    <a:pt x="261" y="505"/>
                    <a:pt x="261" y="505"/>
                  </a:cubicBezTo>
                  <a:cubicBezTo>
                    <a:pt x="281" y="463"/>
                    <a:pt x="281" y="463"/>
                    <a:pt x="281" y="463"/>
                  </a:cubicBezTo>
                  <a:cubicBezTo>
                    <a:pt x="281" y="463"/>
                    <a:pt x="279" y="448"/>
                    <a:pt x="279" y="441"/>
                  </a:cubicBezTo>
                  <a:cubicBezTo>
                    <a:pt x="279" y="434"/>
                    <a:pt x="300" y="434"/>
                    <a:pt x="299" y="424"/>
                  </a:cubicBezTo>
                  <a:cubicBezTo>
                    <a:pt x="298" y="414"/>
                    <a:pt x="293" y="401"/>
                    <a:pt x="301" y="398"/>
                  </a:cubicBezTo>
                  <a:cubicBezTo>
                    <a:pt x="309" y="395"/>
                    <a:pt x="324" y="388"/>
                    <a:pt x="324" y="388"/>
                  </a:cubicBezTo>
                  <a:cubicBezTo>
                    <a:pt x="328" y="361"/>
                    <a:pt x="328" y="361"/>
                    <a:pt x="328" y="361"/>
                  </a:cubicBezTo>
                  <a:cubicBezTo>
                    <a:pt x="328" y="361"/>
                    <a:pt x="352" y="366"/>
                    <a:pt x="360" y="351"/>
                  </a:cubicBezTo>
                  <a:cubicBezTo>
                    <a:pt x="361" y="349"/>
                    <a:pt x="362" y="346"/>
                    <a:pt x="364" y="343"/>
                  </a:cubicBezTo>
                  <a:cubicBezTo>
                    <a:pt x="336" y="303"/>
                    <a:pt x="336" y="303"/>
                    <a:pt x="336" y="303"/>
                  </a:cubicBezTo>
                  <a:lnTo>
                    <a:pt x="337" y="100"/>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210" name="Freeform 171"/>
            <p:cNvSpPr>
              <a:spLocks noEditPoints="1"/>
            </p:cNvSpPr>
            <p:nvPr/>
          </p:nvSpPr>
          <p:spPr bwMode="gray">
            <a:xfrm>
              <a:off x="1931988" y="3529013"/>
              <a:ext cx="122237" cy="123825"/>
            </a:xfrm>
            <a:custGeom>
              <a:avLst/>
              <a:gdLst>
                <a:gd name="T0" fmla="*/ 128 w 220"/>
                <a:gd name="T1" fmla="*/ 204 h 223"/>
                <a:gd name="T2" fmla="*/ 128 w 220"/>
                <a:gd name="T3" fmla="*/ 204 h 223"/>
                <a:gd name="T4" fmla="*/ 128 w 220"/>
                <a:gd name="T5" fmla="*/ 204 h 223"/>
                <a:gd name="T6" fmla="*/ 128 w 220"/>
                <a:gd name="T7" fmla="*/ 204 h 223"/>
                <a:gd name="T8" fmla="*/ 218 w 220"/>
                <a:gd name="T9" fmla="*/ 15 h 223"/>
                <a:gd name="T10" fmla="*/ 211 w 220"/>
                <a:gd name="T11" fmla="*/ 1 h 223"/>
                <a:gd name="T12" fmla="*/ 192 w 220"/>
                <a:gd name="T13" fmla="*/ 2 h 223"/>
                <a:gd name="T14" fmla="*/ 181 w 220"/>
                <a:gd name="T15" fmla="*/ 2 h 223"/>
                <a:gd name="T16" fmla="*/ 168 w 220"/>
                <a:gd name="T17" fmla="*/ 12 h 223"/>
                <a:gd name="T18" fmla="*/ 143 w 220"/>
                <a:gd name="T19" fmla="*/ 1 h 223"/>
                <a:gd name="T20" fmla="*/ 133 w 220"/>
                <a:gd name="T21" fmla="*/ 20 h 223"/>
                <a:gd name="T22" fmla="*/ 120 w 220"/>
                <a:gd name="T23" fmla="*/ 21 h 223"/>
                <a:gd name="T24" fmla="*/ 119 w 220"/>
                <a:gd name="T25" fmla="*/ 31 h 223"/>
                <a:gd name="T26" fmla="*/ 92 w 220"/>
                <a:gd name="T27" fmla="*/ 54 h 223"/>
                <a:gd name="T28" fmla="*/ 78 w 220"/>
                <a:gd name="T29" fmla="*/ 45 h 223"/>
                <a:gd name="T30" fmla="*/ 65 w 220"/>
                <a:gd name="T31" fmla="*/ 59 h 223"/>
                <a:gd name="T32" fmla="*/ 45 w 220"/>
                <a:gd name="T33" fmla="*/ 58 h 223"/>
                <a:gd name="T34" fmla="*/ 44 w 220"/>
                <a:gd name="T35" fmla="*/ 85 h 223"/>
                <a:gd name="T36" fmla="*/ 35 w 220"/>
                <a:gd name="T37" fmla="*/ 87 h 223"/>
                <a:gd name="T38" fmla="*/ 33 w 220"/>
                <a:gd name="T39" fmla="*/ 98 h 223"/>
                <a:gd name="T40" fmla="*/ 19 w 220"/>
                <a:gd name="T41" fmla="*/ 102 h 223"/>
                <a:gd name="T42" fmla="*/ 0 w 220"/>
                <a:gd name="T43" fmla="*/ 102 h 223"/>
                <a:gd name="T44" fmla="*/ 32 w 220"/>
                <a:gd name="T45" fmla="*/ 136 h 223"/>
                <a:gd name="T46" fmla="*/ 50 w 220"/>
                <a:gd name="T47" fmla="*/ 175 h 223"/>
                <a:gd name="T48" fmla="*/ 80 w 220"/>
                <a:gd name="T49" fmla="*/ 199 h 223"/>
                <a:gd name="T50" fmla="*/ 92 w 220"/>
                <a:gd name="T51" fmla="*/ 198 h 223"/>
                <a:gd name="T52" fmla="*/ 92 w 220"/>
                <a:gd name="T53" fmla="*/ 197 h 223"/>
                <a:gd name="T54" fmla="*/ 81 w 220"/>
                <a:gd name="T55" fmla="*/ 187 h 223"/>
                <a:gd name="T56" fmla="*/ 95 w 220"/>
                <a:gd name="T57" fmla="*/ 181 h 223"/>
                <a:gd name="T58" fmla="*/ 90 w 220"/>
                <a:gd name="T59" fmla="*/ 175 h 223"/>
                <a:gd name="T60" fmla="*/ 79 w 220"/>
                <a:gd name="T61" fmla="*/ 177 h 223"/>
                <a:gd name="T62" fmla="*/ 79 w 220"/>
                <a:gd name="T63" fmla="*/ 149 h 223"/>
                <a:gd name="T64" fmla="*/ 123 w 220"/>
                <a:gd name="T65" fmla="*/ 185 h 223"/>
                <a:gd name="T66" fmla="*/ 128 w 220"/>
                <a:gd name="T67" fmla="*/ 204 h 223"/>
                <a:gd name="T68" fmla="*/ 132 w 220"/>
                <a:gd name="T69" fmla="*/ 204 h 223"/>
                <a:gd name="T70" fmla="*/ 150 w 220"/>
                <a:gd name="T71" fmla="*/ 211 h 223"/>
                <a:gd name="T72" fmla="*/ 162 w 220"/>
                <a:gd name="T73" fmla="*/ 223 h 223"/>
                <a:gd name="T74" fmla="*/ 183 w 220"/>
                <a:gd name="T75" fmla="*/ 220 h 223"/>
                <a:gd name="T76" fmla="*/ 170 w 220"/>
                <a:gd name="T77" fmla="*/ 192 h 223"/>
                <a:gd name="T78" fmla="*/ 182 w 220"/>
                <a:gd name="T79" fmla="*/ 172 h 223"/>
                <a:gd name="T80" fmla="*/ 177 w 220"/>
                <a:gd name="T81" fmla="*/ 151 h 223"/>
                <a:gd name="T82" fmla="*/ 181 w 220"/>
                <a:gd name="T83" fmla="*/ 119 h 223"/>
                <a:gd name="T84" fmla="*/ 191 w 220"/>
                <a:gd name="T85" fmla="*/ 131 h 223"/>
                <a:gd name="T86" fmla="*/ 194 w 220"/>
                <a:gd name="T87" fmla="*/ 74 h 223"/>
                <a:gd name="T88" fmla="*/ 209 w 220"/>
                <a:gd name="T89" fmla="*/ 44 h 223"/>
                <a:gd name="T90" fmla="*/ 218 w 220"/>
                <a:gd name="T91" fmla="*/ 15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0" h="223">
                  <a:moveTo>
                    <a:pt x="128" y="204"/>
                  </a:moveTo>
                  <a:cubicBezTo>
                    <a:pt x="128" y="204"/>
                    <a:pt x="128" y="204"/>
                    <a:pt x="128" y="204"/>
                  </a:cubicBezTo>
                  <a:cubicBezTo>
                    <a:pt x="128" y="204"/>
                    <a:pt x="128" y="204"/>
                    <a:pt x="128" y="204"/>
                  </a:cubicBezTo>
                  <a:cubicBezTo>
                    <a:pt x="128" y="204"/>
                    <a:pt x="128" y="204"/>
                    <a:pt x="128" y="204"/>
                  </a:cubicBezTo>
                  <a:close/>
                  <a:moveTo>
                    <a:pt x="218" y="15"/>
                  </a:moveTo>
                  <a:cubicBezTo>
                    <a:pt x="216" y="10"/>
                    <a:pt x="210" y="5"/>
                    <a:pt x="211" y="1"/>
                  </a:cubicBezTo>
                  <a:cubicBezTo>
                    <a:pt x="192" y="2"/>
                    <a:pt x="192" y="2"/>
                    <a:pt x="192" y="2"/>
                  </a:cubicBezTo>
                  <a:cubicBezTo>
                    <a:pt x="192" y="2"/>
                    <a:pt x="185" y="2"/>
                    <a:pt x="181" y="2"/>
                  </a:cubicBezTo>
                  <a:cubicBezTo>
                    <a:pt x="177" y="2"/>
                    <a:pt x="178" y="11"/>
                    <a:pt x="168" y="12"/>
                  </a:cubicBezTo>
                  <a:cubicBezTo>
                    <a:pt x="158" y="13"/>
                    <a:pt x="152" y="2"/>
                    <a:pt x="143" y="1"/>
                  </a:cubicBezTo>
                  <a:cubicBezTo>
                    <a:pt x="134" y="0"/>
                    <a:pt x="133" y="20"/>
                    <a:pt x="133" y="20"/>
                  </a:cubicBezTo>
                  <a:cubicBezTo>
                    <a:pt x="120" y="21"/>
                    <a:pt x="120" y="21"/>
                    <a:pt x="120" y="21"/>
                  </a:cubicBezTo>
                  <a:cubicBezTo>
                    <a:pt x="119" y="31"/>
                    <a:pt x="119" y="31"/>
                    <a:pt x="119" y="31"/>
                  </a:cubicBezTo>
                  <a:cubicBezTo>
                    <a:pt x="119" y="31"/>
                    <a:pt x="107" y="54"/>
                    <a:pt x="92" y="54"/>
                  </a:cubicBezTo>
                  <a:cubicBezTo>
                    <a:pt x="77" y="54"/>
                    <a:pt x="86" y="46"/>
                    <a:pt x="78" y="45"/>
                  </a:cubicBezTo>
                  <a:cubicBezTo>
                    <a:pt x="70" y="44"/>
                    <a:pt x="65" y="59"/>
                    <a:pt x="65" y="59"/>
                  </a:cubicBezTo>
                  <a:cubicBezTo>
                    <a:pt x="65" y="59"/>
                    <a:pt x="60" y="58"/>
                    <a:pt x="45" y="58"/>
                  </a:cubicBezTo>
                  <a:cubicBezTo>
                    <a:pt x="30" y="58"/>
                    <a:pt x="44" y="85"/>
                    <a:pt x="44" y="85"/>
                  </a:cubicBezTo>
                  <a:cubicBezTo>
                    <a:pt x="35" y="87"/>
                    <a:pt x="35" y="87"/>
                    <a:pt x="35" y="87"/>
                  </a:cubicBezTo>
                  <a:cubicBezTo>
                    <a:pt x="35" y="87"/>
                    <a:pt x="39" y="96"/>
                    <a:pt x="33" y="98"/>
                  </a:cubicBezTo>
                  <a:cubicBezTo>
                    <a:pt x="27" y="100"/>
                    <a:pt x="19" y="102"/>
                    <a:pt x="19" y="102"/>
                  </a:cubicBezTo>
                  <a:cubicBezTo>
                    <a:pt x="0" y="102"/>
                    <a:pt x="0" y="102"/>
                    <a:pt x="0" y="102"/>
                  </a:cubicBezTo>
                  <a:cubicBezTo>
                    <a:pt x="32" y="136"/>
                    <a:pt x="32" y="136"/>
                    <a:pt x="32" y="136"/>
                  </a:cubicBezTo>
                  <a:cubicBezTo>
                    <a:pt x="32" y="136"/>
                    <a:pt x="40" y="167"/>
                    <a:pt x="50" y="175"/>
                  </a:cubicBezTo>
                  <a:cubicBezTo>
                    <a:pt x="59" y="182"/>
                    <a:pt x="77" y="196"/>
                    <a:pt x="80" y="199"/>
                  </a:cubicBezTo>
                  <a:cubicBezTo>
                    <a:pt x="83" y="198"/>
                    <a:pt x="89" y="197"/>
                    <a:pt x="92" y="198"/>
                  </a:cubicBezTo>
                  <a:cubicBezTo>
                    <a:pt x="92" y="197"/>
                    <a:pt x="92" y="197"/>
                    <a:pt x="92" y="197"/>
                  </a:cubicBezTo>
                  <a:cubicBezTo>
                    <a:pt x="89" y="195"/>
                    <a:pt x="78" y="191"/>
                    <a:pt x="81" y="187"/>
                  </a:cubicBezTo>
                  <a:cubicBezTo>
                    <a:pt x="84" y="183"/>
                    <a:pt x="99" y="188"/>
                    <a:pt x="95" y="181"/>
                  </a:cubicBezTo>
                  <a:cubicBezTo>
                    <a:pt x="91" y="175"/>
                    <a:pt x="90" y="175"/>
                    <a:pt x="90" y="175"/>
                  </a:cubicBezTo>
                  <a:cubicBezTo>
                    <a:pt x="90" y="175"/>
                    <a:pt x="79" y="179"/>
                    <a:pt x="79" y="177"/>
                  </a:cubicBezTo>
                  <a:cubicBezTo>
                    <a:pt x="78" y="175"/>
                    <a:pt x="72" y="147"/>
                    <a:pt x="79" y="149"/>
                  </a:cubicBezTo>
                  <a:cubicBezTo>
                    <a:pt x="86" y="151"/>
                    <a:pt x="119" y="177"/>
                    <a:pt x="123" y="185"/>
                  </a:cubicBezTo>
                  <a:cubicBezTo>
                    <a:pt x="126" y="189"/>
                    <a:pt x="127" y="197"/>
                    <a:pt x="128" y="204"/>
                  </a:cubicBezTo>
                  <a:cubicBezTo>
                    <a:pt x="129" y="204"/>
                    <a:pt x="131" y="204"/>
                    <a:pt x="132" y="204"/>
                  </a:cubicBezTo>
                  <a:cubicBezTo>
                    <a:pt x="145" y="205"/>
                    <a:pt x="150" y="211"/>
                    <a:pt x="150" y="211"/>
                  </a:cubicBezTo>
                  <a:cubicBezTo>
                    <a:pt x="150" y="211"/>
                    <a:pt x="150" y="223"/>
                    <a:pt x="162" y="223"/>
                  </a:cubicBezTo>
                  <a:cubicBezTo>
                    <a:pt x="168" y="223"/>
                    <a:pt x="176" y="222"/>
                    <a:pt x="183" y="220"/>
                  </a:cubicBezTo>
                  <a:cubicBezTo>
                    <a:pt x="180" y="218"/>
                    <a:pt x="170" y="205"/>
                    <a:pt x="170" y="192"/>
                  </a:cubicBezTo>
                  <a:cubicBezTo>
                    <a:pt x="170" y="177"/>
                    <a:pt x="182" y="181"/>
                    <a:pt x="182" y="172"/>
                  </a:cubicBezTo>
                  <a:cubicBezTo>
                    <a:pt x="182" y="163"/>
                    <a:pt x="177" y="151"/>
                    <a:pt x="177" y="151"/>
                  </a:cubicBezTo>
                  <a:cubicBezTo>
                    <a:pt x="181" y="119"/>
                    <a:pt x="181" y="119"/>
                    <a:pt x="181" y="119"/>
                  </a:cubicBezTo>
                  <a:cubicBezTo>
                    <a:pt x="191" y="131"/>
                    <a:pt x="191" y="131"/>
                    <a:pt x="191" y="131"/>
                  </a:cubicBezTo>
                  <a:cubicBezTo>
                    <a:pt x="194" y="74"/>
                    <a:pt x="194" y="74"/>
                    <a:pt x="194" y="74"/>
                  </a:cubicBezTo>
                  <a:cubicBezTo>
                    <a:pt x="194" y="74"/>
                    <a:pt x="200" y="53"/>
                    <a:pt x="209" y="44"/>
                  </a:cubicBezTo>
                  <a:cubicBezTo>
                    <a:pt x="218" y="35"/>
                    <a:pt x="220" y="20"/>
                    <a:pt x="218" y="15"/>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211" name="Freeform 172"/>
            <p:cNvSpPr>
              <a:spLocks/>
            </p:cNvSpPr>
            <p:nvPr/>
          </p:nvSpPr>
          <p:spPr bwMode="gray">
            <a:xfrm>
              <a:off x="1965325" y="3638550"/>
              <a:ext cx="90487" cy="85725"/>
            </a:xfrm>
            <a:custGeom>
              <a:avLst/>
              <a:gdLst>
                <a:gd name="T0" fmla="*/ 146 w 162"/>
                <a:gd name="T1" fmla="*/ 133 h 152"/>
                <a:gd name="T2" fmla="*/ 159 w 162"/>
                <a:gd name="T3" fmla="*/ 122 h 152"/>
                <a:gd name="T4" fmla="*/ 145 w 162"/>
                <a:gd name="T5" fmla="*/ 115 h 152"/>
                <a:gd name="T6" fmla="*/ 145 w 162"/>
                <a:gd name="T7" fmla="*/ 93 h 152"/>
                <a:gd name="T8" fmla="*/ 162 w 162"/>
                <a:gd name="T9" fmla="*/ 87 h 152"/>
                <a:gd name="T10" fmla="*/ 140 w 162"/>
                <a:gd name="T11" fmla="*/ 66 h 152"/>
                <a:gd name="T12" fmla="*/ 124 w 162"/>
                <a:gd name="T13" fmla="*/ 39 h 152"/>
                <a:gd name="T14" fmla="*/ 122 w 162"/>
                <a:gd name="T15" fmla="*/ 24 h 152"/>
                <a:gd name="T16" fmla="*/ 122 w 162"/>
                <a:gd name="T17" fmla="*/ 23 h 152"/>
                <a:gd name="T18" fmla="*/ 122 w 162"/>
                <a:gd name="T19" fmla="*/ 23 h 152"/>
                <a:gd name="T20" fmla="*/ 101 w 162"/>
                <a:gd name="T21" fmla="*/ 26 h 152"/>
                <a:gd name="T22" fmla="*/ 89 w 162"/>
                <a:gd name="T23" fmla="*/ 14 h 152"/>
                <a:gd name="T24" fmla="*/ 71 w 162"/>
                <a:gd name="T25" fmla="*/ 7 h 152"/>
                <a:gd name="T26" fmla="*/ 59 w 162"/>
                <a:gd name="T27" fmla="*/ 12 h 152"/>
                <a:gd name="T28" fmla="*/ 33 w 162"/>
                <a:gd name="T29" fmla="*/ 1 h 152"/>
                <a:gd name="T30" fmla="*/ 19 w 162"/>
                <a:gd name="T31" fmla="*/ 2 h 152"/>
                <a:gd name="T32" fmla="*/ 19 w 162"/>
                <a:gd name="T33" fmla="*/ 2 h 152"/>
                <a:gd name="T34" fmla="*/ 10 w 162"/>
                <a:gd name="T35" fmla="*/ 19 h 152"/>
                <a:gd name="T36" fmla="*/ 20 w 162"/>
                <a:gd name="T37" fmla="*/ 32 h 152"/>
                <a:gd name="T38" fmla="*/ 9 w 162"/>
                <a:gd name="T39" fmla="*/ 60 h 152"/>
                <a:gd name="T40" fmla="*/ 33 w 162"/>
                <a:gd name="T41" fmla="*/ 72 h 152"/>
                <a:gd name="T42" fmla="*/ 53 w 162"/>
                <a:gd name="T43" fmla="*/ 85 h 152"/>
                <a:gd name="T44" fmla="*/ 51 w 162"/>
                <a:gd name="T45" fmla="*/ 67 h 152"/>
                <a:gd name="T46" fmla="*/ 33 w 162"/>
                <a:gd name="T47" fmla="*/ 49 h 152"/>
                <a:gd name="T48" fmla="*/ 67 w 162"/>
                <a:gd name="T49" fmla="*/ 70 h 152"/>
                <a:gd name="T50" fmla="*/ 68 w 162"/>
                <a:gd name="T51" fmla="*/ 89 h 152"/>
                <a:gd name="T52" fmla="*/ 95 w 162"/>
                <a:gd name="T53" fmla="*/ 94 h 152"/>
                <a:gd name="T54" fmla="*/ 108 w 162"/>
                <a:gd name="T55" fmla="*/ 121 h 152"/>
                <a:gd name="T56" fmla="*/ 108 w 162"/>
                <a:gd name="T57" fmla="*/ 138 h 152"/>
                <a:gd name="T58" fmla="*/ 131 w 162"/>
                <a:gd name="T59" fmla="*/ 150 h 152"/>
                <a:gd name="T60" fmla="*/ 122 w 162"/>
                <a:gd name="T61" fmla="*/ 133 h 152"/>
                <a:gd name="T62" fmla="*/ 141 w 162"/>
                <a:gd name="T63" fmla="*/ 152 h 152"/>
                <a:gd name="T64" fmla="*/ 145 w 162"/>
                <a:gd name="T65" fmla="*/ 147 h 152"/>
                <a:gd name="T66" fmla="*/ 146 w 162"/>
                <a:gd name="T67" fmla="*/ 133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2" h="152">
                  <a:moveTo>
                    <a:pt x="146" y="133"/>
                  </a:moveTo>
                  <a:cubicBezTo>
                    <a:pt x="146" y="133"/>
                    <a:pt x="159" y="127"/>
                    <a:pt x="159" y="122"/>
                  </a:cubicBezTo>
                  <a:cubicBezTo>
                    <a:pt x="159" y="117"/>
                    <a:pt x="145" y="115"/>
                    <a:pt x="145" y="115"/>
                  </a:cubicBezTo>
                  <a:cubicBezTo>
                    <a:pt x="145" y="115"/>
                    <a:pt x="135" y="96"/>
                    <a:pt x="145" y="93"/>
                  </a:cubicBezTo>
                  <a:cubicBezTo>
                    <a:pt x="151" y="91"/>
                    <a:pt x="158" y="88"/>
                    <a:pt x="162" y="87"/>
                  </a:cubicBezTo>
                  <a:cubicBezTo>
                    <a:pt x="154" y="82"/>
                    <a:pt x="143" y="75"/>
                    <a:pt x="140" y="66"/>
                  </a:cubicBezTo>
                  <a:cubicBezTo>
                    <a:pt x="136" y="53"/>
                    <a:pt x="124" y="39"/>
                    <a:pt x="124" y="39"/>
                  </a:cubicBezTo>
                  <a:cubicBezTo>
                    <a:pt x="122" y="24"/>
                    <a:pt x="122" y="24"/>
                    <a:pt x="122" y="24"/>
                  </a:cubicBezTo>
                  <a:cubicBezTo>
                    <a:pt x="122" y="24"/>
                    <a:pt x="122" y="24"/>
                    <a:pt x="122" y="23"/>
                  </a:cubicBezTo>
                  <a:cubicBezTo>
                    <a:pt x="122" y="23"/>
                    <a:pt x="122" y="23"/>
                    <a:pt x="122" y="23"/>
                  </a:cubicBezTo>
                  <a:cubicBezTo>
                    <a:pt x="115" y="25"/>
                    <a:pt x="107" y="26"/>
                    <a:pt x="101" y="26"/>
                  </a:cubicBezTo>
                  <a:cubicBezTo>
                    <a:pt x="89" y="26"/>
                    <a:pt x="89" y="14"/>
                    <a:pt x="89" y="14"/>
                  </a:cubicBezTo>
                  <a:cubicBezTo>
                    <a:pt x="89" y="14"/>
                    <a:pt x="84" y="8"/>
                    <a:pt x="71" y="7"/>
                  </a:cubicBezTo>
                  <a:cubicBezTo>
                    <a:pt x="58" y="6"/>
                    <a:pt x="59" y="12"/>
                    <a:pt x="59" y="12"/>
                  </a:cubicBezTo>
                  <a:cubicBezTo>
                    <a:pt x="59" y="12"/>
                    <a:pt x="39" y="3"/>
                    <a:pt x="33" y="1"/>
                  </a:cubicBezTo>
                  <a:cubicBezTo>
                    <a:pt x="29" y="0"/>
                    <a:pt x="23" y="1"/>
                    <a:pt x="19" y="2"/>
                  </a:cubicBezTo>
                  <a:cubicBezTo>
                    <a:pt x="19" y="2"/>
                    <a:pt x="19" y="2"/>
                    <a:pt x="19" y="2"/>
                  </a:cubicBezTo>
                  <a:cubicBezTo>
                    <a:pt x="10" y="19"/>
                    <a:pt x="10" y="19"/>
                    <a:pt x="10" y="19"/>
                  </a:cubicBezTo>
                  <a:cubicBezTo>
                    <a:pt x="10" y="19"/>
                    <a:pt x="26" y="28"/>
                    <a:pt x="20" y="32"/>
                  </a:cubicBezTo>
                  <a:cubicBezTo>
                    <a:pt x="14" y="36"/>
                    <a:pt x="0" y="46"/>
                    <a:pt x="9" y="60"/>
                  </a:cubicBezTo>
                  <a:cubicBezTo>
                    <a:pt x="18" y="74"/>
                    <a:pt x="33" y="72"/>
                    <a:pt x="33" y="72"/>
                  </a:cubicBezTo>
                  <a:cubicBezTo>
                    <a:pt x="33" y="72"/>
                    <a:pt x="50" y="92"/>
                    <a:pt x="53" y="85"/>
                  </a:cubicBezTo>
                  <a:cubicBezTo>
                    <a:pt x="56" y="78"/>
                    <a:pt x="51" y="67"/>
                    <a:pt x="51" y="67"/>
                  </a:cubicBezTo>
                  <a:cubicBezTo>
                    <a:pt x="51" y="67"/>
                    <a:pt x="24" y="49"/>
                    <a:pt x="33" y="49"/>
                  </a:cubicBezTo>
                  <a:cubicBezTo>
                    <a:pt x="42" y="49"/>
                    <a:pt x="67" y="70"/>
                    <a:pt x="67" y="70"/>
                  </a:cubicBezTo>
                  <a:cubicBezTo>
                    <a:pt x="67" y="70"/>
                    <a:pt x="64" y="89"/>
                    <a:pt x="68" y="89"/>
                  </a:cubicBezTo>
                  <a:cubicBezTo>
                    <a:pt x="72" y="89"/>
                    <a:pt x="95" y="94"/>
                    <a:pt x="95" y="94"/>
                  </a:cubicBezTo>
                  <a:cubicBezTo>
                    <a:pt x="108" y="121"/>
                    <a:pt x="108" y="121"/>
                    <a:pt x="108" y="121"/>
                  </a:cubicBezTo>
                  <a:cubicBezTo>
                    <a:pt x="108" y="121"/>
                    <a:pt x="99" y="129"/>
                    <a:pt x="108" y="138"/>
                  </a:cubicBezTo>
                  <a:cubicBezTo>
                    <a:pt x="117" y="147"/>
                    <a:pt x="131" y="150"/>
                    <a:pt x="131" y="150"/>
                  </a:cubicBezTo>
                  <a:cubicBezTo>
                    <a:pt x="122" y="133"/>
                    <a:pt x="122" y="133"/>
                    <a:pt x="122" y="133"/>
                  </a:cubicBezTo>
                  <a:cubicBezTo>
                    <a:pt x="141" y="152"/>
                    <a:pt x="141" y="152"/>
                    <a:pt x="141" y="152"/>
                  </a:cubicBezTo>
                  <a:cubicBezTo>
                    <a:pt x="145" y="147"/>
                    <a:pt x="145" y="147"/>
                    <a:pt x="145" y="147"/>
                  </a:cubicBezTo>
                  <a:lnTo>
                    <a:pt x="146" y="133"/>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212" name="Freeform 173"/>
            <p:cNvSpPr>
              <a:spLocks/>
            </p:cNvSpPr>
            <p:nvPr/>
          </p:nvSpPr>
          <p:spPr bwMode="gray">
            <a:xfrm>
              <a:off x="4706938" y="2665413"/>
              <a:ext cx="44450" cy="50800"/>
            </a:xfrm>
            <a:custGeom>
              <a:avLst/>
              <a:gdLst>
                <a:gd name="T0" fmla="*/ 79 w 80"/>
                <a:gd name="T1" fmla="*/ 27 h 90"/>
                <a:gd name="T2" fmla="*/ 73 w 80"/>
                <a:gd name="T3" fmla="*/ 31 h 90"/>
                <a:gd name="T4" fmla="*/ 65 w 80"/>
                <a:gd name="T5" fmla="*/ 17 h 90"/>
                <a:gd name="T6" fmla="*/ 56 w 80"/>
                <a:gd name="T7" fmla="*/ 10 h 90"/>
                <a:gd name="T8" fmla="*/ 46 w 80"/>
                <a:gd name="T9" fmla="*/ 0 h 90"/>
                <a:gd name="T10" fmla="*/ 29 w 80"/>
                <a:gd name="T11" fmla="*/ 0 h 90"/>
                <a:gd name="T12" fmla="*/ 29 w 80"/>
                <a:gd name="T13" fmla="*/ 15 h 90"/>
                <a:gd name="T14" fmla="*/ 18 w 80"/>
                <a:gd name="T15" fmla="*/ 14 h 90"/>
                <a:gd name="T16" fmla="*/ 9 w 80"/>
                <a:gd name="T17" fmla="*/ 29 h 90"/>
                <a:gd name="T18" fmla="*/ 4 w 80"/>
                <a:gd name="T19" fmla="*/ 29 h 90"/>
                <a:gd name="T20" fmla="*/ 3 w 80"/>
                <a:gd name="T21" fmla="*/ 39 h 90"/>
                <a:gd name="T22" fmla="*/ 17 w 80"/>
                <a:gd name="T23" fmla="*/ 48 h 90"/>
                <a:gd name="T24" fmla="*/ 4 w 80"/>
                <a:gd name="T25" fmla="*/ 64 h 90"/>
                <a:gd name="T26" fmla="*/ 6 w 80"/>
                <a:gd name="T27" fmla="*/ 65 h 90"/>
                <a:gd name="T28" fmla="*/ 24 w 80"/>
                <a:gd name="T29" fmla="*/ 62 h 90"/>
                <a:gd name="T30" fmla="*/ 24 w 80"/>
                <a:gd name="T31" fmla="*/ 74 h 90"/>
                <a:gd name="T32" fmla="*/ 41 w 80"/>
                <a:gd name="T33" fmla="*/ 90 h 90"/>
                <a:gd name="T34" fmla="*/ 48 w 80"/>
                <a:gd name="T35" fmla="*/ 81 h 90"/>
                <a:gd name="T36" fmla="*/ 46 w 80"/>
                <a:gd name="T37" fmla="*/ 71 h 90"/>
                <a:gd name="T38" fmla="*/ 40 w 80"/>
                <a:gd name="T39" fmla="*/ 74 h 90"/>
                <a:gd name="T40" fmla="*/ 31 w 80"/>
                <a:gd name="T41" fmla="*/ 68 h 90"/>
                <a:gd name="T42" fmla="*/ 46 w 80"/>
                <a:gd name="T43" fmla="*/ 68 h 90"/>
                <a:gd name="T44" fmla="*/ 52 w 80"/>
                <a:gd name="T45" fmla="*/ 63 h 90"/>
                <a:gd name="T46" fmla="*/ 54 w 80"/>
                <a:gd name="T47" fmla="*/ 49 h 90"/>
                <a:gd name="T48" fmla="*/ 72 w 80"/>
                <a:gd name="T49" fmla="*/ 59 h 90"/>
                <a:gd name="T50" fmla="*/ 78 w 80"/>
                <a:gd name="T51" fmla="*/ 53 h 90"/>
                <a:gd name="T52" fmla="*/ 80 w 80"/>
                <a:gd name="T53" fmla="*/ 56 h 90"/>
                <a:gd name="T54" fmla="*/ 79 w 80"/>
                <a:gd name="T55" fmla="*/ 27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0" h="90">
                  <a:moveTo>
                    <a:pt x="79" y="27"/>
                  </a:moveTo>
                  <a:cubicBezTo>
                    <a:pt x="73" y="31"/>
                    <a:pt x="73" y="31"/>
                    <a:pt x="73" y="31"/>
                  </a:cubicBezTo>
                  <a:cubicBezTo>
                    <a:pt x="65" y="17"/>
                    <a:pt x="65" y="17"/>
                    <a:pt x="65" y="17"/>
                  </a:cubicBezTo>
                  <a:cubicBezTo>
                    <a:pt x="56" y="10"/>
                    <a:pt x="56" y="10"/>
                    <a:pt x="56" y="10"/>
                  </a:cubicBezTo>
                  <a:cubicBezTo>
                    <a:pt x="46" y="0"/>
                    <a:pt x="46" y="0"/>
                    <a:pt x="46" y="0"/>
                  </a:cubicBezTo>
                  <a:cubicBezTo>
                    <a:pt x="39" y="2"/>
                    <a:pt x="29" y="0"/>
                    <a:pt x="29" y="0"/>
                  </a:cubicBezTo>
                  <a:cubicBezTo>
                    <a:pt x="29" y="15"/>
                    <a:pt x="29" y="15"/>
                    <a:pt x="29" y="15"/>
                  </a:cubicBezTo>
                  <a:cubicBezTo>
                    <a:pt x="29" y="15"/>
                    <a:pt x="21" y="10"/>
                    <a:pt x="18" y="14"/>
                  </a:cubicBezTo>
                  <a:cubicBezTo>
                    <a:pt x="15" y="18"/>
                    <a:pt x="9" y="29"/>
                    <a:pt x="9" y="29"/>
                  </a:cubicBezTo>
                  <a:cubicBezTo>
                    <a:pt x="4" y="29"/>
                    <a:pt x="4" y="29"/>
                    <a:pt x="4" y="29"/>
                  </a:cubicBezTo>
                  <a:cubicBezTo>
                    <a:pt x="4" y="29"/>
                    <a:pt x="0" y="36"/>
                    <a:pt x="3" y="39"/>
                  </a:cubicBezTo>
                  <a:cubicBezTo>
                    <a:pt x="6" y="42"/>
                    <a:pt x="17" y="48"/>
                    <a:pt x="17" y="48"/>
                  </a:cubicBezTo>
                  <a:cubicBezTo>
                    <a:pt x="4" y="64"/>
                    <a:pt x="4" y="64"/>
                    <a:pt x="4" y="64"/>
                  </a:cubicBezTo>
                  <a:cubicBezTo>
                    <a:pt x="5" y="65"/>
                    <a:pt x="6" y="65"/>
                    <a:pt x="6" y="65"/>
                  </a:cubicBezTo>
                  <a:cubicBezTo>
                    <a:pt x="13" y="67"/>
                    <a:pt x="24" y="62"/>
                    <a:pt x="24" y="62"/>
                  </a:cubicBezTo>
                  <a:cubicBezTo>
                    <a:pt x="24" y="74"/>
                    <a:pt x="24" y="74"/>
                    <a:pt x="24" y="74"/>
                  </a:cubicBezTo>
                  <a:cubicBezTo>
                    <a:pt x="41" y="90"/>
                    <a:pt x="41" y="90"/>
                    <a:pt x="41" y="90"/>
                  </a:cubicBezTo>
                  <a:cubicBezTo>
                    <a:pt x="48" y="81"/>
                    <a:pt x="48" y="81"/>
                    <a:pt x="48" y="81"/>
                  </a:cubicBezTo>
                  <a:cubicBezTo>
                    <a:pt x="46" y="71"/>
                    <a:pt x="46" y="71"/>
                    <a:pt x="46" y="71"/>
                  </a:cubicBezTo>
                  <a:cubicBezTo>
                    <a:pt x="40" y="74"/>
                    <a:pt x="40" y="74"/>
                    <a:pt x="40" y="74"/>
                  </a:cubicBezTo>
                  <a:cubicBezTo>
                    <a:pt x="31" y="68"/>
                    <a:pt x="31" y="68"/>
                    <a:pt x="31" y="68"/>
                  </a:cubicBezTo>
                  <a:cubicBezTo>
                    <a:pt x="46" y="68"/>
                    <a:pt x="46" y="68"/>
                    <a:pt x="46" y="68"/>
                  </a:cubicBezTo>
                  <a:cubicBezTo>
                    <a:pt x="52" y="63"/>
                    <a:pt x="52" y="63"/>
                    <a:pt x="52" y="63"/>
                  </a:cubicBezTo>
                  <a:cubicBezTo>
                    <a:pt x="54" y="49"/>
                    <a:pt x="54" y="49"/>
                    <a:pt x="54" y="49"/>
                  </a:cubicBezTo>
                  <a:cubicBezTo>
                    <a:pt x="72" y="59"/>
                    <a:pt x="72" y="59"/>
                    <a:pt x="72" y="59"/>
                  </a:cubicBezTo>
                  <a:cubicBezTo>
                    <a:pt x="78" y="53"/>
                    <a:pt x="78" y="53"/>
                    <a:pt x="78" y="53"/>
                  </a:cubicBezTo>
                  <a:cubicBezTo>
                    <a:pt x="80" y="56"/>
                    <a:pt x="80" y="56"/>
                    <a:pt x="80" y="56"/>
                  </a:cubicBezTo>
                  <a:lnTo>
                    <a:pt x="79" y="27"/>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213" name="Freeform 174"/>
            <p:cNvSpPr>
              <a:spLocks noEditPoints="1"/>
            </p:cNvSpPr>
            <p:nvPr/>
          </p:nvSpPr>
          <p:spPr bwMode="gray">
            <a:xfrm>
              <a:off x="4714875" y="2586038"/>
              <a:ext cx="104775" cy="130175"/>
            </a:xfrm>
            <a:custGeom>
              <a:avLst/>
              <a:gdLst>
                <a:gd name="T0" fmla="*/ 167 w 185"/>
                <a:gd name="T1" fmla="*/ 152 h 233"/>
                <a:gd name="T2" fmla="*/ 160 w 185"/>
                <a:gd name="T3" fmla="*/ 140 h 233"/>
                <a:gd name="T4" fmla="*/ 166 w 185"/>
                <a:gd name="T5" fmla="*/ 120 h 233"/>
                <a:gd name="T6" fmla="*/ 161 w 185"/>
                <a:gd name="T7" fmla="*/ 102 h 233"/>
                <a:gd name="T8" fmla="*/ 171 w 185"/>
                <a:gd name="T9" fmla="*/ 88 h 233"/>
                <a:gd name="T10" fmla="*/ 139 w 185"/>
                <a:gd name="T11" fmla="*/ 91 h 233"/>
                <a:gd name="T12" fmla="*/ 117 w 185"/>
                <a:gd name="T13" fmla="*/ 82 h 233"/>
                <a:gd name="T14" fmla="*/ 115 w 185"/>
                <a:gd name="T15" fmla="*/ 56 h 233"/>
                <a:gd name="T16" fmla="*/ 91 w 185"/>
                <a:gd name="T17" fmla="*/ 48 h 233"/>
                <a:gd name="T18" fmla="*/ 77 w 185"/>
                <a:gd name="T19" fmla="*/ 27 h 233"/>
                <a:gd name="T20" fmla="*/ 48 w 185"/>
                <a:gd name="T21" fmla="*/ 6 h 233"/>
                <a:gd name="T22" fmla="*/ 18 w 185"/>
                <a:gd name="T23" fmla="*/ 17 h 233"/>
                <a:gd name="T24" fmla="*/ 0 w 185"/>
                <a:gd name="T25" fmla="*/ 21 h 233"/>
                <a:gd name="T26" fmla="*/ 6 w 185"/>
                <a:gd name="T27" fmla="*/ 40 h 233"/>
                <a:gd name="T28" fmla="*/ 8 w 185"/>
                <a:gd name="T29" fmla="*/ 53 h 233"/>
                <a:gd name="T30" fmla="*/ 12 w 185"/>
                <a:gd name="T31" fmla="*/ 65 h 233"/>
                <a:gd name="T32" fmla="*/ 5 w 185"/>
                <a:gd name="T33" fmla="*/ 72 h 233"/>
                <a:gd name="T34" fmla="*/ 27 w 185"/>
                <a:gd name="T35" fmla="*/ 76 h 233"/>
                <a:gd name="T36" fmla="*/ 15 w 185"/>
                <a:gd name="T37" fmla="*/ 106 h 233"/>
                <a:gd name="T38" fmla="*/ 37 w 185"/>
                <a:gd name="T39" fmla="*/ 118 h 233"/>
                <a:gd name="T40" fmla="*/ 35 w 185"/>
                <a:gd name="T41" fmla="*/ 140 h 233"/>
                <a:gd name="T42" fmla="*/ 41 w 185"/>
                <a:gd name="T43" fmla="*/ 153 h 233"/>
                <a:gd name="T44" fmla="*/ 58 w 185"/>
                <a:gd name="T45" fmla="*/ 174 h 233"/>
                <a:gd name="T46" fmla="*/ 65 w 185"/>
                <a:gd name="T47" fmla="*/ 199 h 233"/>
                <a:gd name="T48" fmla="*/ 71 w 185"/>
                <a:gd name="T49" fmla="*/ 211 h 233"/>
                <a:gd name="T50" fmla="*/ 84 w 185"/>
                <a:gd name="T51" fmla="*/ 221 h 233"/>
                <a:gd name="T52" fmla="*/ 95 w 185"/>
                <a:gd name="T53" fmla="*/ 229 h 233"/>
                <a:gd name="T54" fmla="*/ 112 w 185"/>
                <a:gd name="T55" fmla="*/ 221 h 233"/>
                <a:gd name="T56" fmla="*/ 128 w 185"/>
                <a:gd name="T57" fmla="*/ 213 h 233"/>
                <a:gd name="T58" fmla="*/ 158 w 185"/>
                <a:gd name="T59" fmla="*/ 207 h 233"/>
                <a:gd name="T60" fmla="*/ 165 w 185"/>
                <a:gd name="T61" fmla="*/ 192 h 233"/>
                <a:gd name="T62" fmla="*/ 177 w 185"/>
                <a:gd name="T63" fmla="*/ 180 h 233"/>
                <a:gd name="T64" fmla="*/ 180 w 185"/>
                <a:gd name="T65" fmla="*/ 159 h 233"/>
                <a:gd name="T66" fmla="*/ 27 w 185"/>
                <a:gd name="T67" fmla="*/ 144 h 233"/>
                <a:gd name="T68" fmla="*/ 24 w 185"/>
                <a:gd name="T69" fmla="*/ 144 h 233"/>
                <a:gd name="T70" fmla="*/ 24 w 185"/>
                <a:gd name="T71" fmla="*/ 144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5" h="233">
                  <a:moveTo>
                    <a:pt x="180" y="159"/>
                  </a:moveTo>
                  <a:cubicBezTo>
                    <a:pt x="167" y="152"/>
                    <a:pt x="167" y="152"/>
                    <a:pt x="167" y="152"/>
                  </a:cubicBezTo>
                  <a:cubicBezTo>
                    <a:pt x="169" y="145"/>
                    <a:pt x="169" y="145"/>
                    <a:pt x="169" y="145"/>
                  </a:cubicBezTo>
                  <a:cubicBezTo>
                    <a:pt x="160" y="140"/>
                    <a:pt x="160" y="140"/>
                    <a:pt x="160" y="140"/>
                  </a:cubicBezTo>
                  <a:cubicBezTo>
                    <a:pt x="157" y="128"/>
                    <a:pt x="157" y="128"/>
                    <a:pt x="157" y="128"/>
                  </a:cubicBezTo>
                  <a:cubicBezTo>
                    <a:pt x="166" y="120"/>
                    <a:pt x="166" y="120"/>
                    <a:pt x="166" y="120"/>
                  </a:cubicBezTo>
                  <a:cubicBezTo>
                    <a:pt x="168" y="106"/>
                    <a:pt x="168" y="106"/>
                    <a:pt x="168" y="106"/>
                  </a:cubicBezTo>
                  <a:cubicBezTo>
                    <a:pt x="161" y="102"/>
                    <a:pt x="161" y="102"/>
                    <a:pt x="161" y="102"/>
                  </a:cubicBezTo>
                  <a:cubicBezTo>
                    <a:pt x="168" y="94"/>
                    <a:pt x="168" y="94"/>
                    <a:pt x="168" y="94"/>
                  </a:cubicBezTo>
                  <a:cubicBezTo>
                    <a:pt x="171" y="88"/>
                    <a:pt x="171" y="88"/>
                    <a:pt x="171" y="88"/>
                  </a:cubicBezTo>
                  <a:cubicBezTo>
                    <a:pt x="155" y="84"/>
                    <a:pt x="155" y="84"/>
                    <a:pt x="155" y="84"/>
                  </a:cubicBezTo>
                  <a:cubicBezTo>
                    <a:pt x="139" y="91"/>
                    <a:pt x="139" y="91"/>
                    <a:pt x="139" y="91"/>
                  </a:cubicBezTo>
                  <a:cubicBezTo>
                    <a:pt x="133" y="84"/>
                    <a:pt x="133" y="84"/>
                    <a:pt x="133" y="84"/>
                  </a:cubicBezTo>
                  <a:cubicBezTo>
                    <a:pt x="117" y="82"/>
                    <a:pt x="117" y="82"/>
                    <a:pt x="117" y="82"/>
                  </a:cubicBezTo>
                  <a:cubicBezTo>
                    <a:pt x="112" y="71"/>
                    <a:pt x="112" y="71"/>
                    <a:pt x="112" y="71"/>
                  </a:cubicBezTo>
                  <a:cubicBezTo>
                    <a:pt x="112" y="71"/>
                    <a:pt x="117" y="62"/>
                    <a:pt x="115" y="56"/>
                  </a:cubicBezTo>
                  <a:cubicBezTo>
                    <a:pt x="113" y="50"/>
                    <a:pt x="101" y="49"/>
                    <a:pt x="99" y="54"/>
                  </a:cubicBezTo>
                  <a:cubicBezTo>
                    <a:pt x="97" y="59"/>
                    <a:pt x="91" y="48"/>
                    <a:pt x="91" y="48"/>
                  </a:cubicBezTo>
                  <a:cubicBezTo>
                    <a:pt x="83" y="25"/>
                    <a:pt x="83" y="25"/>
                    <a:pt x="83" y="25"/>
                  </a:cubicBezTo>
                  <a:cubicBezTo>
                    <a:pt x="77" y="27"/>
                    <a:pt x="77" y="27"/>
                    <a:pt x="77" y="27"/>
                  </a:cubicBezTo>
                  <a:cubicBezTo>
                    <a:pt x="62" y="13"/>
                    <a:pt x="62" y="13"/>
                    <a:pt x="62" y="13"/>
                  </a:cubicBezTo>
                  <a:cubicBezTo>
                    <a:pt x="48" y="6"/>
                    <a:pt x="48" y="6"/>
                    <a:pt x="48" y="6"/>
                  </a:cubicBezTo>
                  <a:cubicBezTo>
                    <a:pt x="48" y="6"/>
                    <a:pt x="33" y="0"/>
                    <a:pt x="30" y="6"/>
                  </a:cubicBezTo>
                  <a:cubicBezTo>
                    <a:pt x="27" y="12"/>
                    <a:pt x="18" y="17"/>
                    <a:pt x="18" y="17"/>
                  </a:cubicBezTo>
                  <a:cubicBezTo>
                    <a:pt x="3" y="17"/>
                    <a:pt x="3" y="17"/>
                    <a:pt x="3" y="17"/>
                  </a:cubicBezTo>
                  <a:cubicBezTo>
                    <a:pt x="0" y="21"/>
                    <a:pt x="0" y="21"/>
                    <a:pt x="0" y="21"/>
                  </a:cubicBezTo>
                  <a:cubicBezTo>
                    <a:pt x="2" y="22"/>
                    <a:pt x="2" y="22"/>
                    <a:pt x="2" y="22"/>
                  </a:cubicBezTo>
                  <a:cubicBezTo>
                    <a:pt x="6" y="40"/>
                    <a:pt x="6" y="40"/>
                    <a:pt x="6" y="40"/>
                  </a:cubicBezTo>
                  <a:cubicBezTo>
                    <a:pt x="11" y="41"/>
                    <a:pt x="11" y="41"/>
                    <a:pt x="11" y="41"/>
                  </a:cubicBezTo>
                  <a:cubicBezTo>
                    <a:pt x="8" y="53"/>
                    <a:pt x="8" y="53"/>
                    <a:pt x="8" y="53"/>
                  </a:cubicBezTo>
                  <a:cubicBezTo>
                    <a:pt x="8" y="53"/>
                    <a:pt x="24" y="56"/>
                    <a:pt x="25" y="59"/>
                  </a:cubicBezTo>
                  <a:cubicBezTo>
                    <a:pt x="26" y="62"/>
                    <a:pt x="12" y="65"/>
                    <a:pt x="12" y="65"/>
                  </a:cubicBezTo>
                  <a:cubicBezTo>
                    <a:pt x="10" y="72"/>
                    <a:pt x="10" y="72"/>
                    <a:pt x="10" y="72"/>
                  </a:cubicBezTo>
                  <a:cubicBezTo>
                    <a:pt x="5" y="72"/>
                    <a:pt x="5" y="72"/>
                    <a:pt x="5" y="72"/>
                  </a:cubicBezTo>
                  <a:cubicBezTo>
                    <a:pt x="8" y="77"/>
                    <a:pt x="8" y="77"/>
                    <a:pt x="8" y="77"/>
                  </a:cubicBezTo>
                  <a:cubicBezTo>
                    <a:pt x="8" y="77"/>
                    <a:pt x="27" y="71"/>
                    <a:pt x="27" y="76"/>
                  </a:cubicBezTo>
                  <a:cubicBezTo>
                    <a:pt x="27" y="81"/>
                    <a:pt x="15" y="95"/>
                    <a:pt x="15" y="95"/>
                  </a:cubicBezTo>
                  <a:cubicBezTo>
                    <a:pt x="15" y="106"/>
                    <a:pt x="15" y="106"/>
                    <a:pt x="15" y="106"/>
                  </a:cubicBezTo>
                  <a:cubicBezTo>
                    <a:pt x="15" y="106"/>
                    <a:pt x="19" y="103"/>
                    <a:pt x="26" y="105"/>
                  </a:cubicBezTo>
                  <a:cubicBezTo>
                    <a:pt x="33" y="107"/>
                    <a:pt x="37" y="118"/>
                    <a:pt x="37" y="118"/>
                  </a:cubicBezTo>
                  <a:cubicBezTo>
                    <a:pt x="23" y="120"/>
                    <a:pt x="23" y="120"/>
                    <a:pt x="23" y="120"/>
                  </a:cubicBezTo>
                  <a:cubicBezTo>
                    <a:pt x="23" y="120"/>
                    <a:pt x="37" y="133"/>
                    <a:pt x="35" y="140"/>
                  </a:cubicBezTo>
                  <a:cubicBezTo>
                    <a:pt x="34" y="142"/>
                    <a:pt x="33" y="143"/>
                    <a:pt x="31" y="143"/>
                  </a:cubicBezTo>
                  <a:cubicBezTo>
                    <a:pt x="41" y="153"/>
                    <a:pt x="41" y="153"/>
                    <a:pt x="41" y="153"/>
                  </a:cubicBezTo>
                  <a:cubicBezTo>
                    <a:pt x="50" y="160"/>
                    <a:pt x="50" y="160"/>
                    <a:pt x="50" y="160"/>
                  </a:cubicBezTo>
                  <a:cubicBezTo>
                    <a:pt x="58" y="174"/>
                    <a:pt x="58" y="174"/>
                    <a:pt x="58" y="174"/>
                  </a:cubicBezTo>
                  <a:cubicBezTo>
                    <a:pt x="64" y="170"/>
                    <a:pt x="64" y="170"/>
                    <a:pt x="64" y="170"/>
                  </a:cubicBezTo>
                  <a:cubicBezTo>
                    <a:pt x="65" y="199"/>
                    <a:pt x="65" y="199"/>
                    <a:pt x="65" y="199"/>
                  </a:cubicBezTo>
                  <a:cubicBezTo>
                    <a:pt x="63" y="196"/>
                    <a:pt x="63" y="196"/>
                    <a:pt x="63" y="196"/>
                  </a:cubicBezTo>
                  <a:cubicBezTo>
                    <a:pt x="71" y="211"/>
                    <a:pt x="71" y="211"/>
                    <a:pt x="71" y="211"/>
                  </a:cubicBezTo>
                  <a:cubicBezTo>
                    <a:pt x="80" y="211"/>
                    <a:pt x="80" y="211"/>
                    <a:pt x="80" y="211"/>
                  </a:cubicBezTo>
                  <a:cubicBezTo>
                    <a:pt x="84" y="221"/>
                    <a:pt x="84" y="221"/>
                    <a:pt x="84" y="221"/>
                  </a:cubicBezTo>
                  <a:cubicBezTo>
                    <a:pt x="84" y="233"/>
                    <a:pt x="84" y="233"/>
                    <a:pt x="84" y="233"/>
                  </a:cubicBezTo>
                  <a:cubicBezTo>
                    <a:pt x="95" y="229"/>
                    <a:pt x="95" y="229"/>
                    <a:pt x="95" y="229"/>
                  </a:cubicBezTo>
                  <a:cubicBezTo>
                    <a:pt x="100" y="221"/>
                    <a:pt x="100" y="221"/>
                    <a:pt x="100" y="221"/>
                  </a:cubicBezTo>
                  <a:cubicBezTo>
                    <a:pt x="100" y="221"/>
                    <a:pt x="105" y="221"/>
                    <a:pt x="112" y="221"/>
                  </a:cubicBezTo>
                  <a:cubicBezTo>
                    <a:pt x="119" y="221"/>
                    <a:pt x="115" y="213"/>
                    <a:pt x="115" y="213"/>
                  </a:cubicBezTo>
                  <a:cubicBezTo>
                    <a:pt x="128" y="213"/>
                    <a:pt x="128" y="213"/>
                    <a:pt x="128" y="213"/>
                  </a:cubicBezTo>
                  <a:cubicBezTo>
                    <a:pt x="132" y="209"/>
                    <a:pt x="132" y="209"/>
                    <a:pt x="132" y="209"/>
                  </a:cubicBezTo>
                  <a:cubicBezTo>
                    <a:pt x="158" y="207"/>
                    <a:pt x="158" y="207"/>
                    <a:pt x="158" y="207"/>
                  </a:cubicBezTo>
                  <a:cubicBezTo>
                    <a:pt x="158" y="207"/>
                    <a:pt x="166" y="206"/>
                    <a:pt x="167" y="203"/>
                  </a:cubicBezTo>
                  <a:cubicBezTo>
                    <a:pt x="168" y="200"/>
                    <a:pt x="165" y="192"/>
                    <a:pt x="165" y="192"/>
                  </a:cubicBezTo>
                  <a:cubicBezTo>
                    <a:pt x="165" y="192"/>
                    <a:pt x="162" y="185"/>
                    <a:pt x="164" y="181"/>
                  </a:cubicBezTo>
                  <a:cubicBezTo>
                    <a:pt x="166" y="177"/>
                    <a:pt x="177" y="180"/>
                    <a:pt x="177" y="180"/>
                  </a:cubicBezTo>
                  <a:cubicBezTo>
                    <a:pt x="177" y="180"/>
                    <a:pt x="181" y="173"/>
                    <a:pt x="183" y="169"/>
                  </a:cubicBezTo>
                  <a:cubicBezTo>
                    <a:pt x="185" y="165"/>
                    <a:pt x="180" y="159"/>
                    <a:pt x="180" y="159"/>
                  </a:cubicBezTo>
                  <a:close/>
                  <a:moveTo>
                    <a:pt x="24" y="144"/>
                  </a:moveTo>
                  <a:cubicBezTo>
                    <a:pt x="25" y="144"/>
                    <a:pt x="26" y="144"/>
                    <a:pt x="27" y="144"/>
                  </a:cubicBezTo>
                  <a:cubicBezTo>
                    <a:pt x="26" y="144"/>
                    <a:pt x="25" y="144"/>
                    <a:pt x="24" y="144"/>
                  </a:cubicBezTo>
                  <a:close/>
                  <a:moveTo>
                    <a:pt x="24" y="144"/>
                  </a:moveTo>
                  <a:cubicBezTo>
                    <a:pt x="22" y="144"/>
                    <a:pt x="19" y="144"/>
                    <a:pt x="18" y="143"/>
                  </a:cubicBezTo>
                  <a:cubicBezTo>
                    <a:pt x="19" y="144"/>
                    <a:pt x="22" y="144"/>
                    <a:pt x="24" y="144"/>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214" name="Freeform 175"/>
            <p:cNvSpPr>
              <a:spLocks noEditPoints="1"/>
            </p:cNvSpPr>
            <p:nvPr/>
          </p:nvSpPr>
          <p:spPr bwMode="gray">
            <a:xfrm>
              <a:off x="465138" y="1897063"/>
              <a:ext cx="1147762" cy="495300"/>
            </a:xfrm>
            <a:custGeom>
              <a:avLst/>
              <a:gdLst>
                <a:gd name="T0" fmla="*/ 1650 w 2049"/>
                <a:gd name="T1" fmla="*/ 628 h 886"/>
                <a:gd name="T2" fmla="*/ 1600 w 2049"/>
                <a:gd name="T3" fmla="*/ 619 h 886"/>
                <a:gd name="T4" fmla="*/ 1594 w 2049"/>
                <a:gd name="T5" fmla="*/ 717 h 886"/>
                <a:gd name="T6" fmla="*/ 1594 w 2049"/>
                <a:gd name="T7" fmla="*/ 777 h 886"/>
                <a:gd name="T8" fmla="*/ 1677 w 2049"/>
                <a:gd name="T9" fmla="*/ 696 h 886"/>
                <a:gd name="T10" fmla="*/ 1691 w 2049"/>
                <a:gd name="T11" fmla="*/ 558 h 886"/>
                <a:gd name="T12" fmla="*/ 1597 w 2049"/>
                <a:gd name="T13" fmla="*/ 572 h 886"/>
                <a:gd name="T14" fmla="*/ 1561 w 2049"/>
                <a:gd name="T15" fmla="*/ 513 h 886"/>
                <a:gd name="T16" fmla="*/ 2008 w 2049"/>
                <a:gd name="T17" fmla="*/ 53 h 886"/>
                <a:gd name="T18" fmla="*/ 1735 w 2049"/>
                <a:gd name="T19" fmla="*/ 24 h 886"/>
                <a:gd name="T20" fmla="*/ 1622 w 2049"/>
                <a:gd name="T21" fmla="*/ 0 h 886"/>
                <a:gd name="T22" fmla="*/ 1141 w 2049"/>
                <a:gd name="T23" fmla="*/ 107 h 886"/>
                <a:gd name="T24" fmla="*/ 1138 w 2049"/>
                <a:gd name="T25" fmla="*/ 211 h 886"/>
                <a:gd name="T26" fmla="*/ 1051 w 2049"/>
                <a:gd name="T27" fmla="*/ 238 h 886"/>
                <a:gd name="T28" fmla="*/ 837 w 2049"/>
                <a:gd name="T29" fmla="*/ 261 h 886"/>
                <a:gd name="T30" fmla="*/ 939 w 2049"/>
                <a:gd name="T31" fmla="*/ 316 h 886"/>
                <a:gd name="T32" fmla="*/ 1037 w 2049"/>
                <a:gd name="T33" fmla="*/ 311 h 886"/>
                <a:gd name="T34" fmla="*/ 898 w 2049"/>
                <a:gd name="T35" fmla="*/ 357 h 886"/>
                <a:gd name="T36" fmla="*/ 745 w 2049"/>
                <a:gd name="T37" fmla="*/ 404 h 886"/>
                <a:gd name="T38" fmla="*/ 643 w 2049"/>
                <a:gd name="T39" fmla="*/ 462 h 886"/>
                <a:gd name="T40" fmla="*/ 689 w 2049"/>
                <a:gd name="T41" fmla="*/ 491 h 886"/>
                <a:gd name="T42" fmla="*/ 619 w 2049"/>
                <a:gd name="T43" fmla="*/ 510 h 886"/>
                <a:gd name="T44" fmla="*/ 678 w 2049"/>
                <a:gd name="T45" fmla="*/ 554 h 886"/>
                <a:gd name="T46" fmla="*/ 694 w 2049"/>
                <a:gd name="T47" fmla="*/ 576 h 886"/>
                <a:gd name="T48" fmla="*/ 785 w 2049"/>
                <a:gd name="T49" fmla="*/ 580 h 886"/>
                <a:gd name="T50" fmla="*/ 815 w 2049"/>
                <a:gd name="T51" fmla="*/ 598 h 886"/>
                <a:gd name="T52" fmla="*/ 697 w 2049"/>
                <a:gd name="T53" fmla="*/ 654 h 886"/>
                <a:gd name="T54" fmla="*/ 491 w 2049"/>
                <a:gd name="T55" fmla="*/ 747 h 886"/>
                <a:gd name="T56" fmla="*/ 385 w 2049"/>
                <a:gd name="T57" fmla="*/ 763 h 886"/>
                <a:gd name="T58" fmla="*/ 373 w 2049"/>
                <a:gd name="T59" fmla="*/ 783 h 886"/>
                <a:gd name="T60" fmla="*/ 514 w 2049"/>
                <a:gd name="T61" fmla="*/ 746 h 886"/>
                <a:gd name="T62" fmla="*/ 653 w 2049"/>
                <a:gd name="T63" fmla="*/ 697 h 886"/>
                <a:gd name="T64" fmla="*/ 841 w 2049"/>
                <a:gd name="T65" fmla="*/ 628 h 886"/>
                <a:gd name="T66" fmla="*/ 1015 w 2049"/>
                <a:gd name="T67" fmla="*/ 545 h 886"/>
                <a:gd name="T68" fmla="*/ 1234 w 2049"/>
                <a:gd name="T69" fmla="*/ 485 h 886"/>
                <a:gd name="T70" fmla="*/ 1075 w 2049"/>
                <a:gd name="T71" fmla="*/ 536 h 886"/>
                <a:gd name="T72" fmla="*/ 1211 w 2049"/>
                <a:gd name="T73" fmla="*/ 530 h 886"/>
                <a:gd name="T74" fmla="*/ 1336 w 2049"/>
                <a:gd name="T75" fmla="*/ 492 h 886"/>
                <a:gd name="T76" fmla="*/ 1472 w 2049"/>
                <a:gd name="T77" fmla="*/ 532 h 886"/>
                <a:gd name="T78" fmla="*/ 1541 w 2049"/>
                <a:gd name="T79" fmla="*/ 573 h 886"/>
                <a:gd name="T80" fmla="*/ 1630 w 2049"/>
                <a:gd name="T81" fmla="*/ 585 h 886"/>
                <a:gd name="T82" fmla="*/ 1679 w 2049"/>
                <a:gd name="T83" fmla="*/ 607 h 886"/>
                <a:gd name="T84" fmla="*/ 1636 w 2049"/>
                <a:gd name="T85" fmla="*/ 670 h 886"/>
                <a:gd name="T86" fmla="*/ 1660 w 2049"/>
                <a:gd name="T87" fmla="*/ 733 h 886"/>
                <a:gd name="T88" fmla="*/ 1623 w 2049"/>
                <a:gd name="T89" fmla="*/ 785 h 886"/>
                <a:gd name="T90" fmla="*/ 1707 w 2049"/>
                <a:gd name="T91" fmla="*/ 721 h 886"/>
                <a:gd name="T92" fmla="*/ 1598 w 2049"/>
                <a:gd name="T93" fmla="*/ 704 h 886"/>
                <a:gd name="T94" fmla="*/ 1546 w 2049"/>
                <a:gd name="T95" fmla="*/ 720 h 886"/>
                <a:gd name="T96" fmla="*/ 510 w 2049"/>
                <a:gd name="T97" fmla="*/ 517 h 886"/>
                <a:gd name="T98" fmla="*/ 76 w 2049"/>
                <a:gd name="T99" fmla="*/ 849 h 886"/>
                <a:gd name="T100" fmla="*/ 859 w 2049"/>
                <a:gd name="T101" fmla="*/ 663 h 886"/>
                <a:gd name="T102" fmla="*/ 881 w 2049"/>
                <a:gd name="T103" fmla="*/ 664 h 886"/>
                <a:gd name="T104" fmla="*/ 908 w 2049"/>
                <a:gd name="T105" fmla="*/ 635 h 886"/>
                <a:gd name="T106" fmla="*/ 1646 w 2049"/>
                <a:gd name="T107" fmla="*/ 762 h 886"/>
                <a:gd name="T108" fmla="*/ 923 w 2049"/>
                <a:gd name="T109" fmla="*/ 630 h 886"/>
                <a:gd name="T110" fmla="*/ 290 w 2049"/>
                <a:gd name="T111" fmla="*/ 788 h 886"/>
                <a:gd name="T112" fmla="*/ 221 w 2049"/>
                <a:gd name="T113" fmla="*/ 814 h 8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9" h="886">
                  <a:moveTo>
                    <a:pt x="1636" y="622"/>
                  </a:moveTo>
                  <a:cubicBezTo>
                    <a:pt x="1628" y="629"/>
                    <a:pt x="1614" y="645"/>
                    <a:pt x="1614" y="645"/>
                  </a:cubicBezTo>
                  <a:cubicBezTo>
                    <a:pt x="1602" y="669"/>
                    <a:pt x="1602" y="669"/>
                    <a:pt x="1602" y="669"/>
                  </a:cubicBezTo>
                  <a:cubicBezTo>
                    <a:pt x="1602" y="669"/>
                    <a:pt x="1623" y="665"/>
                    <a:pt x="1633" y="656"/>
                  </a:cubicBezTo>
                  <a:cubicBezTo>
                    <a:pt x="1643" y="647"/>
                    <a:pt x="1640" y="638"/>
                    <a:pt x="1640" y="638"/>
                  </a:cubicBezTo>
                  <a:cubicBezTo>
                    <a:pt x="1650" y="628"/>
                    <a:pt x="1650" y="628"/>
                    <a:pt x="1650" y="628"/>
                  </a:cubicBezTo>
                  <a:cubicBezTo>
                    <a:pt x="1650" y="628"/>
                    <a:pt x="1644" y="615"/>
                    <a:pt x="1636" y="622"/>
                  </a:cubicBezTo>
                  <a:close/>
                  <a:moveTo>
                    <a:pt x="1600" y="619"/>
                  </a:moveTo>
                  <a:cubicBezTo>
                    <a:pt x="1600" y="619"/>
                    <a:pt x="1575" y="626"/>
                    <a:pt x="1576" y="633"/>
                  </a:cubicBezTo>
                  <a:cubicBezTo>
                    <a:pt x="1577" y="640"/>
                    <a:pt x="1586" y="650"/>
                    <a:pt x="1586" y="650"/>
                  </a:cubicBezTo>
                  <a:cubicBezTo>
                    <a:pt x="1597" y="654"/>
                    <a:pt x="1614" y="646"/>
                    <a:pt x="1614" y="636"/>
                  </a:cubicBezTo>
                  <a:cubicBezTo>
                    <a:pt x="1614" y="626"/>
                    <a:pt x="1600" y="619"/>
                    <a:pt x="1600" y="619"/>
                  </a:cubicBezTo>
                  <a:close/>
                  <a:moveTo>
                    <a:pt x="1544" y="792"/>
                  </a:moveTo>
                  <a:cubicBezTo>
                    <a:pt x="1553" y="793"/>
                    <a:pt x="1553" y="793"/>
                    <a:pt x="1553" y="793"/>
                  </a:cubicBezTo>
                  <a:cubicBezTo>
                    <a:pt x="1559" y="768"/>
                    <a:pt x="1559" y="768"/>
                    <a:pt x="1559" y="768"/>
                  </a:cubicBezTo>
                  <a:cubicBezTo>
                    <a:pt x="1548" y="773"/>
                    <a:pt x="1548" y="773"/>
                    <a:pt x="1548" y="773"/>
                  </a:cubicBezTo>
                  <a:lnTo>
                    <a:pt x="1544" y="792"/>
                  </a:lnTo>
                  <a:close/>
                  <a:moveTo>
                    <a:pt x="1594" y="717"/>
                  </a:moveTo>
                  <a:cubicBezTo>
                    <a:pt x="1581" y="726"/>
                    <a:pt x="1581" y="726"/>
                    <a:pt x="1581" y="726"/>
                  </a:cubicBezTo>
                  <a:cubicBezTo>
                    <a:pt x="1581" y="726"/>
                    <a:pt x="1587" y="732"/>
                    <a:pt x="1591" y="733"/>
                  </a:cubicBezTo>
                  <a:cubicBezTo>
                    <a:pt x="1595" y="734"/>
                    <a:pt x="1577" y="743"/>
                    <a:pt x="1573" y="745"/>
                  </a:cubicBezTo>
                  <a:cubicBezTo>
                    <a:pt x="1569" y="747"/>
                    <a:pt x="1563" y="758"/>
                    <a:pt x="1568" y="767"/>
                  </a:cubicBezTo>
                  <a:cubicBezTo>
                    <a:pt x="1573" y="776"/>
                    <a:pt x="1572" y="794"/>
                    <a:pt x="1572" y="794"/>
                  </a:cubicBezTo>
                  <a:cubicBezTo>
                    <a:pt x="1572" y="794"/>
                    <a:pt x="1586" y="786"/>
                    <a:pt x="1594" y="777"/>
                  </a:cubicBezTo>
                  <a:cubicBezTo>
                    <a:pt x="1602" y="768"/>
                    <a:pt x="1590" y="756"/>
                    <a:pt x="1590" y="756"/>
                  </a:cubicBezTo>
                  <a:cubicBezTo>
                    <a:pt x="1590" y="756"/>
                    <a:pt x="1600" y="755"/>
                    <a:pt x="1609" y="745"/>
                  </a:cubicBezTo>
                  <a:cubicBezTo>
                    <a:pt x="1618" y="735"/>
                    <a:pt x="1594" y="717"/>
                    <a:pt x="1594" y="717"/>
                  </a:cubicBezTo>
                  <a:close/>
                  <a:moveTo>
                    <a:pt x="1707" y="721"/>
                  </a:moveTo>
                  <a:cubicBezTo>
                    <a:pt x="1707" y="721"/>
                    <a:pt x="1700" y="719"/>
                    <a:pt x="1700" y="714"/>
                  </a:cubicBezTo>
                  <a:cubicBezTo>
                    <a:pt x="1700" y="710"/>
                    <a:pt x="1672" y="709"/>
                    <a:pt x="1677" y="696"/>
                  </a:cubicBezTo>
                  <a:cubicBezTo>
                    <a:pt x="1682" y="683"/>
                    <a:pt x="1688" y="666"/>
                    <a:pt x="1688" y="666"/>
                  </a:cubicBezTo>
                  <a:cubicBezTo>
                    <a:pt x="1688" y="642"/>
                    <a:pt x="1688" y="642"/>
                    <a:pt x="1688" y="642"/>
                  </a:cubicBezTo>
                  <a:cubicBezTo>
                    <a:pt x="1688" y="642"/>
                    <a:pt x="1705" y="623"/>
                    <a:pt x="1698" y="606"/>
                  </a:cubicBezTo>
                  <a:cubicBezTo>
                    <a:pt x="1692" y="588"/>
                    <a:pt x="1685" y="586"/>
                    <a:pt x="1685" y="586"/>
                  </a:cubicBezTo>
                  <a:cubicBezTo>
                    <a:pt x="1691" y="575"/>
                    <a:pt x="1691" y="575"/>
                    <a:pt x="1691" y="575"/>
                  </a:cubicBezTo>
                  <a:cubicBezTo>
                    <a:pt x="1691" y="558"/>
                    <a:pt x="1691" y="558"/>
                    <a:pt x="1691" y="558"/>
                  </a:cubicBezTo>
                  <a:cubicBezTo>
                    <a:pt x="1691" y="558"/>
                    <a:pt x="1718" y="548"/>
                    <a:pt x="1699" y="542"/>
                  </a:cubicBezTo>
                  <a:cubicBezTo>
                    <a:pt x="1681" y="537"/>
                    <a:pt x="1653" y="547"/>
                    <a:pt x="1653" y="547"/>
                  </a:cubicBezTo>
                  <a:cubicBezTo>
                    <a:pt x="1651" y="555"/>
                    <a:pt x="1651" y="555"/>
                    <a:pt x="1651" y="555"/>
                  </a:cubicBezTo>
                  <a:cubicBezTo>
                    <a:pt x="1639" y="555"/>
                    <a:pt x="1639" y="555"/>
                    <a:pt x="1639" y="555"/>
                  </a:cubicBezTo>
                  <a:cubicBezTo>
                    <a:pt x="1639" y="555"/>
                    <a:pt x="1633" y="565"/>
                    <a:pt x="1625" y="565"/>
                  </a:cubicBezTo>
                  <a:cubicBezTo>
                    <a:pt x="1618" y="565"/>
                    <a:pt x="1597" y="572"/>
                    <a:pt x="1597" y="572"/>
                  </a:cubicBezTo>
                  <a:cubicBezTo>
                    <a:pt x="1597" y="572"/>
                    <a:pt x="1581" y="585"/>
                    <a:pt x="1575" y="585"/>
                  </a:cubicBezTo>
                  <a:cubicBezTo>
                    <a:pt x="1570" y="585"/>
                    <a:pt x="1589" y="566"/>
                    <a:pt x="1589" y="566"/>
                  </a:cubicBezTo>
                  <a:cubicBezTo>
                    <a:pt x="1589" y="566"/>
                    <a:pt x="1570" y="558"/>
                    <a:pt x="1570" y="547"/>
                  </a:cubicBezTo>
                  <a:cubicBezTo>
                    <a:pt x="1570" y="537"/>
                    <a:pt x="1570" y="528"/>
                    <a:pt x="1570" y="528"/>
                  </a:cubicBezTo>
                  <a:cubicBezTo>
                    <a:pt x="1585" y="513"/>
                    <a:pt x="1585" y="513"/>
                    <a:pt x="1585" y="513"/>
                  </a:cubicBezTo>
                  <a:cubicBezTo>
                    <a:pt x="1561" y="513"/>
                    <a:pt x="1561" y="513"/>
                    <a:pt x="1561" y="513"/>
                  </a:cubicBezTo>
                  <a:cubicBezTo>
                    <a:pt x="1561" y="513"/>
                    <a:pt x="1552" y="518"/>
                    <a:pt x="1549" y="518"/>
                  </a:cubicBezTo>
                  <a:cubicBezTo>
                    <a:pt x="1549" y="518"/>
                    <a:pt x="1520" y="524"/>
                    <a:pt x="1514" y="518"/>
                  </a:cubicBezTo>
                  <a:cubicBezTo>
                    <a:pt x="1508" y="512"/>
                    <a:pt x="1534" y="498"/>
                    <a:pt x="1534" y="498"/>
                  </a:cubicBezTo>
                  <a:cubicBezTo>
                    <a:pt x="2049" y="74"/>
                    <a:pt x="2049" y="74"/>
                    <a:pt x="2049" y="74"/>
                  </a:cubicBezTo>
                  <a:cubicBezTo>
                    <a:pt x="2037" y="74"/>
                    <a:pt x="2037" y="74"/>
                    <a:pt x="2037" y="74"/>
                  </a:cubicBezTo>
                  <a:cubicBezTo>
                    <a:pt x="2037" y="74"/>
                    <a:pt x="2034" y="51"/>
                    <a:pt x="2008" y="53"/>
                  </a:cubicBezTo>
                  <a:cubicBezTo>
                    <a:pt x="1982" y="55"/>
                    <a:pt x="1951" y="64"/>
                    <a:pt x="1947" y="64"/>
                  </a:cubicBezTo>
                  <a:cubicBezTo>
                    <a:pt x="1943" y="64"/>
                    <a:pt x="1916" y="50"/>
                    <a:pt x="1912" y="48"/>
                  </a:cubicBezTo>
                  <a:cubicBezTo>
                    <a:pt x="1908" y="46"/>
                    <a:pt x="1858" y="47"/>
                    <a:pt x="1858" y="47"/>
                  </a:cubicBezTo>
                  <a:cubicBezTo>
                    <a:pt x="1858" y="47"/>
                    <a:pt x="1842" y="39"/>
                    <a:pt x="1824" y="37"/>
                  </a:cubicBezTo>
                  <a:cubicBezTo>
                    <a:pt x="1806" y="35"/>
                    <a:pt x="1735" y="38"/>
                    <a:pt x="1732" y="38"/>
                  </a:cubicBezTo>
                  <a:cubicBezTo>
                    <a:pt x="1729" y="38"/>
                    <a:pt x="1735" y="24"/>
                    <a:pt x="1735" y="24"/>
                  </a:cubicBezTo>
                  <a:cubicBezTo>
                    <a:pt x="1735" y="24"/>
                    <a:pt x="1699" y="19"/>
                    <a:pt x="1694" y="18"/>
                  </a:cubicBezTo>
                  <a:cubicBezTo>
                    <a:pt x="1689" y="17"/>
                    <a:pt x="1656" y="24"/>
                    <a:pt x="1656" y="24"/>
                  </a:cubicBezTo>
                  <a:cubicBezTo>
                    <a:pt x="1676" y="2"/>
                    <a:pt x="1676" y="2"/>
                    <a:pt x="1676" y="2"/>
                  </a:cubicBezTo>
                  <a:cubicBezTo>
                    <a:pt x="1621" y="24"/>
                    <a:pt x="1621" y="24"/>
                    <a:pt x="1621" y="24"/>
                  </a:cubicBezTo>
                  <a:cubicBezTo>
                    <a:pt x="1642" y="2"/>
                    <a:pt x="1642" y="2"/>
                    <a:pt x="1642" y="2"/>
                  </a:cubicBezTo>
                  <a:cubicBezTo>
                    <a:pt x="1622" y="0"/>
                    <a:pt x="1622" y="0"/>
                    <a:pt x="1622" y="0"/>
                  </a:cubicBezTo>
                  <a:cubicBezTo>
                    <a:pt x="1622" y="0"/>
                    <a:pt x="1591" y="22"/>
                    <a:pt x="1561" y="22"/>
                  </a:cubicBezTo>
                  <a:cubicBezTo>
                    <a:pt x="1531" y="22"/>
                    <a:pt x="1485" y="16"/>
                    <a:pt x="1477" y="24"/>
                  </a:cubicBezTo>
                  <a:cubicBezTo>
                    <a:pt x="1469" y="32"/>
                    <a:pt x="1439" y="39"/>
                    <a:pt x="1439" y="39"/>
                  </a:cubicBezTo>
                  <a:cubicBezTo>
                    <a:pt x="1439" y="39"/>
                    <a:pt x="1390" y="39"/>
                    <a:pt x="1364" y="42"/>
                  </a:cubicBezTo>
                  <a:cubicBezTo>
                    <a:pt x="1338" y="45"/>
                    <a:pt x="1277" y="91"/>
                    <a:pt x="1235" y="97"/>
                  </a:cubicBezTo>
                  <a:cubicBezTo>
                    <a:pt x="1193" y="103"/>
                    <a:pt x="1141" y="107"/>
                    <a:pt x="1141" y="107"/>
                  </a:cubicBezTo>
                  <a:cubicBezTo>
                    <a:pt x="1141" y="107"/>
                    <a:pt x="1078" y="128"/>
                    <a:pt x="1081" y="133"/>
                  </a:cubicBezTo>
                  <a:cubicBezTo>
                    <a:pt x="1084" y="138"/>
                    <a:pt x="1105" y="149"/>
                    <a:pt x="1105" y="149"/>
                  </a:cubicBezTo>
                  <a:cubicBezTo>
                    <a:pt x="1105" y="149"/>
                    <a:pt x="1118" y="172"/>
                    <a:pt x="1112" y="175"/>
                  </a:cubicBezTo>
                  <a:cubicBezTo>
                    <a:pt x="1106" y="178"/>
                    <a:pt x="1097" y="187"/>
                    <a:pt x="1097" y="187"/>
                  </a:cubicBezTo>
                  <a:cubicBezTo>
                    <a:pt x="1157" y="188"/>
                    <a:pt x="1157" y="188"/>
                    <a:pt x="1157" y="188"/>
                  </a:cubicBezTo>
                  <a:cubicBezTo>
                    <a:pt x="1138" y="211"/>
                    <a:pt x="1138" y="211"/>
                    <a:pt x="1138" y="211"/>
                  </a:cubicBezTo>
                  <a:cubicBezTo>
                    <a:pt x="1182" y="213"/>
                    <a:pt x="1182" y="213"/>
                    <a:pt x="1182" y="213"/>
                  </a:cubicBezTo>
                  <a:cubicBezTo>
                    <a:pt x="1175" y="225"/>
                    <a:pt x="1175" y="225"/>
                    <a:pt x="1175" y="225"/>
                  </a:cubicBezTo>
                  <a:cubicBezTo>
                    <a:pt x="1139" y="224"/>
                    <a:pt x="1139" y="224"/>
                    <a:pt x="1139" y="224"/>
                  </a:cubicBezTo>
                  <a:cubicBezTo>
                    <a:pt x="1132" y="232"/>
                    <a:pt x="1132" y="232"/>
                    <a:pt x="1132" y="232"/>
                  </a:cubicBezTo>
                  <a:cubicBezTo>
                    <a:pt x="1110" y="232"/>
                    <a:pt x="1110" y="232"/>
                    <a:pt x="1110" y="232"/>
                  </a:cubicBezTo>
                  <a:cubicBezTo>
                    <a:pt x="1110" y="232"/>
                    <a:pt x="1076" y="238"/>
                    <a:pt x="1051" y="238"/>
                  </a:cubicBezTo>
                  <a:cubicBezTo>
                    <a:pt x="1026" y="238"/>
                    <a:pt x="1031" y="228"/>
                    <a:pt x="1045" y="223"/>
                  </a:cubicBezTo>
                  <a:cubicBezTo>
                    <a:pt x="1059" y="218"/>
                    <a:pt x="1017" y="215"/>
                    <a:pt x="1017" y="215"/>
                  </a:cubicBezTo>
                  <a:cubicBezTo>
                    <a:pt x="1017" y="215"/>
                    <a:pt x="969" y="213"/>
                    <a:pt x="967" y="221"/>
                  </a:cubicBezTo>
                  <a:cubicBezTo>
                    <a:pt x="965" y="229"/>
                    <a:pt x="969" y="234"/>
                    <a:pt x="969" y="234"/>
                  </a:cubicBezTo>
                  <a:cubicBezTo>
                    <a:pt x="969" y="234"/>
                    <a:pt x="934" y="236"/>
                    <a:pt x="911" y="239"/>
                  </a:cubicBezTo>
                  <a:cubicBezTo>
                    <a:pt x="888" y="242"/>
                    <a:pt x="820" y="255"/>
                    <a:pt x="837" y="261"/>
                  </a:cubicBezTo>
                  <a:cubicBezTo>
                    <a:pt x="854" y="267"/>
                    <a:pt x="877" y="270"/>
                    <a:pt x="877" y="270"/>
                  </a:cubicBezTo>
                  <a:cubicBezTo>
                    <a:pt x="848" y="280"/>
                    <a:pt x="848" y="280"/>
                    <a:pt x="848" y="280"/>
                  </a:cubicBezTo>
                  <a:cubicBezTo>
                    <a:pt x="840" y="307"/>
                    <a:pt x="840" y="307"/>
                    <a:pt x="840" y="307"/>
                  </a:cubicBezTo>
                  <a:cubicBezTo>
                    <a:pt x="840" y="307"/>
                    <a:pt x="864" y="311"/>
                    <a:pt x="880" y="311"/>
                  </a:cubicBezTo>
                  <a:cubicBezTo>
                    <a:pt x="896" y="311"/>
                    <a:pt x="910" y="308"/>
                    <a:pt x="910" y="308"/>
                  </a:cubicBezTo>
                  <a:cubicBezTo>
                    <a:pt x="939" y="316"/>
                    <a:pt x="939" y="316"/>
                    <a:pt x="939" y="316"/>
                  </a:cubicBezTo>
                  <a:cubicBezTo>
                    <a:pt x="948" y="304"/>
                    <a:pt x="948" y="304"/>
                    <a:pt x="948" y="304"/>
                  </a:cubicBezTo>
                  <a:cubicBezTo>
                    <a:pt x="957" y="315"/>
                    <a:pt x="957" y="315"/>
                    <a:pt x="957" y="315"/>
                  </a:cubicBezTo>
                  <a:cubicBezTo>
                    <a:pt x="957" y="315"/>
                    <a:pt x="989" y="297"/>
                    <a:pt x="994" y="297"/>
                  </a:cubicBezTo>
                  <a:cubicBezTo>
                    <a:pt x="999" y="297"/>
                    <a:pt x="1007" y="303"/>
                    <a:pt x="1017" y="299"/>
                  </a:cubicBezTo>
                  <a:cubicBezTo>
                    <a:pt x="1027" y="295"/>
                    <a:pt x="1045" y="281"/>
                    <a:pt x="1046" y="290"/>
                  </a:cubicBezTo>
                  <a:cubicBezTo>
                    <a:pt x="1047" y="299"/>
                    <a:pt x="1037" y="311"/>
                    <a:pt x="1037" y="311"/>
                  </a:cubicBezTo>
                  <a:cubicBezTo>
                    <a:pt x="999" y="312"/>
                    <a:pt x="999" y="312"/>
                    <a:pt x="999" y="312"/>
                  </a:cubicBezTo>
                  <a:cubicBezTo>
                    <a:pt x="1004" y="333"/>
                    <a:pt x="1004" y="333"/>
                    <a:pt x="1004" y="333"/>
                  </a:cubicBezTo>
                  <a:cubicBezTo>
                    <a:pt x="1004" y="333"/>
                    <a:pt x="976" y="360"/>
                    <a:pt x="958" y="361"/>
                  </a:cubicBezTo>
                  <a:cubicBezTo>
                    <a:pt x="940" y="362"/>
                    <a:pt x="920" y="362"/>
                    <a:pt x="920" y="362"/>
                  </a:cubicBezTo>
                  <a:cubicBezTo>
                    <a:pt x="910" y="350"/>
                    <a:pt x="910" y="350"/>
                    <a:pt x="910" y="350"/>
                  </a:cubicBezTo>
                  <a:cubicBezTo>
                    <a:pt x="898" y="357"/>
                    <a:pt x="898" y="357"/>
                    <a:pt x="898" y="357"/>
                  </a:cubicBezTo>
                  <a:cubicBezTo>
                    <a:pt x="898" y="365"/>
                    <a:pt x="898" y="365"/>
                    <a:pt x="898" y="365"/>
                  </a:cubicBezTo>
                  <a:cubicBezTo>
                    <a:pt x="898" y="365"/>
                    <a:pt x="857" y="389"/>
                    <a:pt x="844" y="381"/>
                  </a:cubicBezTo>
                  <a:cubicBezTo>
                    <a:pt x="831" y="373"/>
                    <a:pt x="824" y="371"/>
                    <a:pt x="824" y="371"/>
                  </a:cubicBezTo>
                  <a:cubicBezTo>
                    <a:pt x="762" y="406"/>
                    <a:pt x="762" y="406"/>
                    <a:pt x="762" y="406"/>
                  </a:cubicBezTo>
                  <a:cubicBezTo>
                    <a:pt x="748" y="418"/>
                    <a:pt x="748" y="418"/>
                    <a:pt x="748" y="418"/>
                  </a:cubicBezTo>
                  <a:cubicBezTo>
                    <a:pt x="745" y="404"/>
                    <a:pt x="745" y="404"/>
                    <a:pt x="745" y="404"/>
                  </a:cubicBezTo>
                  <a:cubicBezTo>
                    <a:pt x="745" y="404"/>
                    <a:pt x="720" y="415"/>
                    <a:pt x="706" y="420"/>
                  </a:cubicBezTo>
                  <a:cubicBezTo>
                    <a:pt x="692" y="425"/>
                    <a:pt x="682" y="440"/>
                    <a:pt x="682" y="440"/>
                  </a:cubicBezTo>
                  <a:cubicBezTo>
                    <a:pt x="662" y="434"/>
                    <a:pt x="662" y="434"/>
                    <a:pt x="662" y="434"/>
                  </a:cubicBezTo>
                  <a:cubicBezTo>
                    <a:pt x="662" y="447"/>
                    <a:pt x="662" y="447"/>
                    <a:pt x="662" y="447"/>
                  </a:cubicBezTo>
                  <a:cubicBezTo>
                    <a:pt x="662" y="447"/>
                    <a:pt x="649" y="441"/>
                    <a:pt x="646" y="447"/>
                  </a:cubicBezTo>
                  <a:cubicBezTo>
                    <a:pt x="643" y="453"/>
                    <a:pt x="643" y="462"/>
                    <a:pt x="643" y="462"/>
                  </a:cubicBezTo>
                  <a:cubicBezTo>
                    <a:pt x="636" y="471"/>
                    <a:pt x="636" y="471"/>
                    <a:pt x="636" y="471"/>
                  </a:cubicBezTo>
                  <a:cubicBezTo>
                    <a:pt x="676" y="457"/>
                    <a:pt x="676" y="457"/>
                    <a:pt x="676" y="457"/>
                  </a:cubicBezTo>
                  <a:cubicBezTo>
                    <a:pt x="661" y="469"/>
                    <a:pt x="661" y="469"/>
                    <a:pt x="661" y="469"/>
                  </a:cubicBezTo>
                  <a:cubicBezTo>
                    <a:pt x="661" y="475"/>
                    <a:pt x="661" y="475"/>
                    <a:pt x="661" y="475"/>
                  </a:cubicBezTo>
                  <a:cubicBezTo>
                    <a:pt x="648" y="483"/>
                    <a:pt x="648" y="483"/>
                    <a:pt x="648" y="483"/>
                  </a:cubicBezTo>
                  <a:cubicBezTo>
                    <a:pt x="648" y="483"/>
                    <a:pt x="698" y="482"/>
                    <a:pt x="689" y="491"/>
                  </a:cubicBezTo>
                  <a:cubicBezTo>
                    <a:pt x="680" y="500"/>
                    <a:pt x="658" y="498"/>
                    <a:pt x="658" y="498"/>
                  </a:cubicBezTo>
                  <a:cubicBezTo>
                    <a:pt x="641" y="502"/>
                    <a:pt x="641" y="502"/>
                    <a:pt x="641" y="502"/>
                  </a:cubicBezTo>
                  <a:cubicBezTo>
                    <a:pt x="649" y="494"/>
                    <a:pt x="649" y="494"/>
                    <a:pt x="649" y="494"/>
                  </a:cubicBezTo>
                  <a:cubicBezTo>
                    <a:pt x="640" y="489"/>
                    <a:pt x="640" y="489"/>
                    <a:pt x="640" y="489"/>
                  </a:cubicBezTo>
                  <a:cubicBezTo>
                    <a:pt x="640" y="489"/>
                    <a:pt x="611" y="500"/>
                    <a:pt x="612" y="503"/>
                  </a:cubicBezTo>
                  <a:cubicBezTo>
                    <a:pt x="613" y="506"/>
                    <a:pt x="619" y="510"/>
                    <a:pt x="619" y="510"/>
                  </a:cubicBezTo>
                  <a:cubicBezTo>
                    <a:pt x="619" y="510"/>
                    <a:pt x="608" y="537"/>
                    <a:pt x="612" y="538"/>
                  </a:cubicBezTo>
                  <a:cubicBezTo>
                    <a:pt x="616" y="539"/>
                    <a:pt x="659" y="536"/>
                    <a:pt x="659" y="536"/>
                  </a:cubicBezTo>
                  <a:cubicBezTo>
                    <a:pt x="691" y="518"/>
                    <a:pt x="691" y="518"/>
                    <a:pt x="691" y="518"/>
                  </a:cubicBezTo>
                  <a:cubicBezTo>
                    <a:pt x="738" y="499"/>
                    <a:pt x="738" y="499"/>
                    <a:pt x="738" y="499"/>
                  </a:cubicBezTo>
                  <a:cubicBezTo>
                    <a:pt x="738" y="499"/>
                    <a:pt x="694" y="520"/>
                    <a:pt x="689" y="528"/>
                  </a:cubicBezTo>
                  <a:cubicBezTo>
                    <a:pt x="684" y="536"/>
                    <a:pt x="685" y="552"/>
                    <a:pt x="678" y="554"/>
                  </a:cubicBezTo>
                  <a:cubicBezTo>
                    <a:pt x="671" y="556"/>
                    <a:pt x="659" y="549"/>
                    <a:pt x="653" y="558"/>
                  </a:cubicBezTo>
                  <a:cubicBezTo>
                    <a:pt x="647" y="567"/>
                    <a:pt x="643" y="577"/>
                    <a:pt x="638" y="582"/>
                  </a:cubicBezTo>
                  <a:cubicBezTo>
                    <a:pt x="633" y="587"/>
                    <a:pt x="618" y="596"/>
                    <a:pt x="618" y="596"/>
                  </a:cubicBezTo>
                  <a:cubicBezTo>
                    <a:pt x="654" y="592"/>
                    <a:pt x="654" y="592"/>
                    <a:pt x="654" y="592"/>
                  </a:cubicBezTo>
                  <a:cubicBezTo>
                    <a:pt x="647" y="604"/>
                    <a:pt x="647" y="604"/>
                    <a:pt x="647" y="604"/>
                  </a:cubicBezTo>
                  <a:cubicBezTo>
                    <a:pt x="647" y="604"/>
                    <a:pt x="677" y="573"/>
                    <a:pt x="694" y="576"/>
                  </a:cubicBezTo>
                  <a:cubicBezTo>
                    <a:pt x="711" y="579"/>
                    <a:pt x="702" y="584"/>
                    <a:pt x="702" y="584"/>
                  </a:cubicBezTo>
                  <a:cubicBezTo>
                    <a:pt x="718" y="582"/>
                    <a:pt x="718" y="582"/>
                    <a:pt x="718" y="582"/>
                  </a:cubicBezTo>
                  <a:cubicBezTo>
                    <a:pt x="718" y="582"/>
                    <a:pt x="705" y="607"/>
                    <a:pt x="719" y="607"/>
                  </a:cubicBezTo>
                  <a:cubicBezTo>
                    <a:pt x="733" y="607"/>
                    <a:pt x="750" y="585"/>
                    <a:pt x="750" y="585"/>
                  </a:cubicBezTo>
                  <a:cubicBezTo>
                    <a:pt x="778" y="572"/>
                    <a:pt x="778" y="572"/>
                    <a:pt x="778" y="572"/>
                  </a:cubicBezTo>
                  <a:cubicBezTo>
                    <a:pt x="785" y="580"/>
                    <a:pt x="785" y="580"/>
                    <a:pt x="785" y="580"/>
                  </a:cubicBezTo>
                  <a:cubicBezTo>
                    <a:pt x="765" y="582"/>
                    <a:pt x="765" y="582"/>
                    <a:pt x="765" y="582"/>
                  </a:cubicBezTo>
                  <a:cubicBezTo>
                    <a:pt x="765" y="582"/>
                    <a:pt x="751" y="596"/>
                    <a:pt x="762" y="596"/>
                  </a:cubicBezTo>
                  <a:cubicBezTo>
                    <a:pt x="773" y="596"/>
                    <a:pt x="819" y="583"/>
                    <a:pt x="819" y="583"/>
                  </a:cubicBezTo>
                  <a:cubicBezTo>
                    <a:pt x="847" y="571"/>
                    <a:pt x="847" y="571"/>
                    <a:pt x="847" y="571"/>
                  </a:cubicBezTo>
                  <a:cubicBezTo>
                    <a:pt x="815" y="588"/>
                    <a:pt x="815" y="588"/>
                    <a:pt x="815" y="588"/>
                  </a:cubicBezTo>
                  <a:cubicBezTo>
                    <a:pt x="815" y="598"/>
                    <a:pt x="815" y="598"/>
                    <a:pt x="815" y="598"/>
                  </a:cubicBezTo>
                  <a:cubicBezTo>
                    <a:pt x="815" y="598"/>
                    <a:pt x="797" y="599"/>
                    <a:pt x="786" y="603"/>
                  </a:cubicBezTo>
                  <a:cubicBezTo>
                    <a:pt x="775" y="607"/>
                    <a:pt x="767" y="620"/>
                    <a:pt x="767" y="620"/>
                  </a:cubicBezTo>
                  <a:cubicBezTo>
                    <a:pt x="747" y="622"/>
                    <a:pt x="747" y="622"/>
                    <a:pt x="747" y="622"/>
                  </a:cubicBezTo>
                  <a:cubicBezTo>
                    <a:pt x="723" y="642"/>
                    <a:pt x="723" y="642"/>
                    <a:pt x="723" y="642"/>
                  </a:cubicBezTo>
                  <a:cubicBezTo>
                    <a:pt x="724" y="651"/>
                    <a:pt x="724" y="651"/>
                    <a:pt x="724" y="651"/>
                  </a:cubicBezTo>
                  <a:cubicBezTo>
                    <a:pt x="697" y="654"/>
                    <a:pt x="697" y="654"/>
                    <a:pt x="697" y="654"/>
                  </a:cubicBezTo>
                  <a:cubicBezTo>
                    <a:pt x="697" y="654"/>
                    <a:pt x="652" y="663"/>
                    <a:pt x="647" y="670"/>
                  </a:cubicBezTo>
                  <a:cubicBezTo>
                    <a:pt x="642" y="677"/>
                    <a:pt x="645" y="691"/>
                    <a:pt x="636" y="691"/>
                  </a:cubicBezTo>
                  <a:cubicBezTo>
                    <a:pt x="627" y="691"/>
                    <a:pt x="600" y="691"/>
                    <a:pt x="584" y="693"/>
                  </a:cubicBezTo>
                  <a:cubicBezTo>
                    <a:pt x="568" y="695"/>
                    <a:pt x="515" y="734"/>
                    <a:pt x="515" y="734"/>
                  </a:cubicBezTo>
                  <a:cubicBezTo>
                    <a:pt x="500" y="737"/>
                    <a:pt x="500" y="737"/>
                    <a:pt x="500" y="737"/>
                  </a:cubicBezTo>
                  <a:cubicBezTo>
                    <a:pt x="491" y="747"/>
                    <a:pt x="491" y="747"/>
                    <a:pt x="491" y="747"/>
                  </a:cubicBezTo>
                  <a:cubicBezTo>
                    <a:pt x="490" y="736"/>
                    <a:pt x="490" y="736"/>
                    <a:pt x="490" y="736"/>
                  </a:cubicBezTo>
                  <a:cubicBezTo>
                    <a:pt x="490" y="736"/>
                    <a:pt x="458" y="732"/>
                    <a:pt x="447" y="738"/>
                  </a:cubicBezTo>
                  <a:cubicBezTo>
                    <a:pt x="436" y="744"/>
                    <a:pt x="412" y="754"/>
                    <a:pt x="412" y="754"/>
                  </a:cubicBezTo>
                  <a:cubicBezTo>
                    <a:pt x="403" y="752"/>
                    <a:pt x="403" y="752"/>
                    <a:pt x="403" y="752"/>
                  </a:cubicBezTo>
                  <a:cubicBezTo>
                    <a:pt x="404" y="760"/>
                    <a:pt x="404" y="760"/>
                    <a:pt x="404" y="760"/>
                  </a:cubicBezTo>
                  <a:cubicBezTo>
                    <a:pt x="385" y="763"/>
                    <a:pt x="385" y="763"/>
                    <a:pt x="385" y="763"/>
                  </a:cubicBezTo>
                  <a:cubicBezTo>
                    <a:pt x="378" y="769"/>
                    <a:pt x="378" y="769"/>
                    <a:pt x="378" y="769"/>
                  </a:cubicBezTo>
                  <a:cubicBezTo>
                    <a:pt x="362" y="767"/>
                    <a:pt x="362" y="767"/>
                    <a:pt x="362" y="767"/>
                  </a:cubicBezTo>
                  <a:cubicBezTo>
                    <a:pt x="345" y="782"/>
                    <a:pt x="345" y="782"/>
                    <a:pt x="345" y="782"/>
                  </a:cubicBezTo>
                  <a:cubicBezTo>
                    <a:pt x="350" y="788"/>
                    <a:pt x="350" y="788"/>
                    <a:pt x="350" y="788"/>
                  </a:cubicBezTo>
                  <a:cubicBezTo>
                    <a:pt x="360" y="776"/>
                    <a:pt x="360" y="776"/>
                    <a:pt x="360" y="776"/>
                  </a:cubicBezTo>
                  <a:cubicBezTo>
                    <a:pt x="373" y="783"/>
                    <a:pt x="373" y="783"/>
                    <a:pt x="373" y="783"/>
                  </a:cubicBezTo>
                  <a:cubicBezTo>
                    <a:pt x="387" y="771"/>
                    <a:pt x="387" y="771"/>
                    <a:pt x="387" y="771"/>
                  </a:cubicBezTo>
                  <a:cubicBezTo>
                    <a:pt x="388" y="779"/>
                    <a:pt x="388" y="779"/>
                    <a:pt x="388" y="779"/>
                  </a:cubicBezTo>
                  <a:cubicBezTo>
                    <a:pt x="388" y="779"/>
                    <a:pt x="409" y="778"/>
                    <a:pt x="417" y="771"/>
                  </a:cubicBezTo>
                  <a:cubicBezTo>
                    <a:pt x="425" y="764"/>
                    <a:pt x="441" y="750"/>
                    <a:pt x="450" y="748"/>
                  </a:cubicBezTo>
                  <a:cubicBezTo>
                    <a:pt x="459" y="746"/>
                    <a:pt x="451" y="762"/>
                    <a:pt x="464" y="762"/>
                  </a:cubicBezTo>
                  <a:cubicBezTo>
                    <a:pt x="477" y="762"/>
                    <a:pt x="514" y="746"/>
                    <a:pt x="514" y="746"/>
                  </a:cubicBezTo>
                  <a:cubicBezTo>
                    <a:pt x="536" y="752"/>
                    <a:pt x="536" y="752"/>
                    <a:pt x="536" y="752"/>
                  </a:cubicBezTo>
                  <a:cubicBezTo>
                    <a:pt x="548" y="740"/>
                    <a:pt x="548" y="740"/>
                    <a:pt x="548" y="740"/>
                  </a:cubicBezTo>
                  <a:cubicBezTo>
                    <a:pt x="548" y="740"/>
                    <a:pt x="585" y="738"/>
                    <a:pt x="596" y="729"/>
                  </a:cubicBezTo>
                  <a:cubicBezTo>
                    <a:pt x="607" y="720"/>
                    <a:pt x="619" y="706"/>
                    <a:pt x="628" y="705"/>
                  </a:cubicBezTo>
                  <a:cubicBezTo>
                    <a:pt x="637" y="704"/>
                    <a:pt x="649" y="704"/>
                    <a:pt x="649" y="704"/>
                  </a:cubicBezTo>
                  <a:cubicBezTo>
                    <a:pt x="653" y="697"/>
                    <a:pt x="653" y="697"/>
                    <a:pt x="653" y="697"/>
                  </a:cubicBezTo>
                  <a:cubicBezTo>
                    <a:pt x="677" y="697"/>
                    <a:pt x="677" y="697"/>
                    <a:pt x="677" y="697"/>
                  </a:cubicBezTo>
                  <a:cubicBezTo>
                    <a:pt x="684" y="691"/>
                    <a:pt x="684" y="691"/>
                    <a:pt x="684" y="691"/>
                  </a:cubicBezTo>
                  <a:cubicBezTo>
                    <a:pt x="684" y="691"/>
                    <a:pt x="717" y="684"/>
                    <a:pt x="732" y="677"/>
                  </a:cubicBezTo>
                  <a:cubicBezTo>
                    <a:pt x="747" y="670"/>
                    <a:pt x="762" y="656"/>
                    <a:pt x="762" y="656"/>
                  </a:cubicBezTo>
                  <a:cubicBezTo>
                    <a:pt x="803" y="650"/>
                    <a:pt x="803" y="650"/>
                    <a:pt x="803" y="650"/>
                  </a:cubicBezTo>
                  <a:cubicBezTo>
                    <a:pt x="841" y="628"/>
                    <a:pt x="841" y="628"/>
                    <a:pt x="841" y="628"/>
                  </a:cubicBezTo>
                  <a:cubicBezTo>
                    <a:pt x="841" y="628"/>
                    <a:pt x="885" y="627"/>
                    <a:pt x="892" y="620"/>
                  </a:cubicBezTo>
                  <a:cubicBezTo>
                    <a:pt x="899" y="613"/>
                    <a:pt x="912" y="601"/>
                    <a:pt x="912" y="601"/>
                  </a:cubicBezTo>
                  <a:cubicBezTo>
                    <a:pt x="912" y="601"/>
                    <a:pt x="954" y="594"/>
                    <a:pt x="958" y="586"/>
                  </a:cubicBezTo>
                  <a:cubicBezTo>
                    <a:pt x="962" y="578"/>
                    <a:pt x="947" y="578"/>
                    <a:pt x="947" y="578"/>
                  </a:cubicBezTo>
                  <a:cubicBezTo>
                    <a:pt x="947" y="578"/>
                    <a:pt x="970" y="562"/>
                    <a:pt x="979" y="557"/>
                  </a:cubicBezTo>
                  <a:cubicBezTo>
                    <a:pt x="988" y="552"/>
                    <a:pt x="1015" y="545"/>
                    <a:pt x="1015" y="545"/>
                  </a:cubicBezTo>
                  <a:cubicBezTo>
                    <a:pt x="1066" y="526"/>
                    <a:pt x="1066" y="526"/>
                    <a:pt x="1066" y="526"/>
                  </a:cubicBezTo>
                  <a:cubicBezTo>
                    <a:pt x="1060" y="513"/>
                    <a:pt x="1060" y="513"/>
                    <a:pt x="1060" y="513"/>
                  </a:cubicBezTo>
                  <a:cubicBezTo>
                    <a:pt x="1060" y="513"/>
                    <a:pt x="1083" y="519"/>
                    <a:pt x="1090" y="514"/>
                  </a:cubicBezTo>
                  <a:cubicBezTo>
                    <a:pt x="1097" y="509"/>
                    <a:pt x="1130" y="494"/>
                    <a:pt x="1130" y="494"/>
                  </a:cubicBezTo>
                  <a:cubicBezTo>
                    <a:pt x="1130" y="494"/>
                    <a:pt x="1188" y="470"/>
                    <a:pt x="1196" y="467"/>
                  </a:cubicBezTo>
                  <a:cubicBezTo>
                    <a:pt x="1204" y="464"/>
                    <a:pt x="1234" y="485"/>
                    <a:pt x="1234" y="485"/>
                  </a:cubicBezTo>
                  <a:cubicBezTo>
                    <a:pt x="1210" y="485"/>
                    <a:pt x="1210" y="485"/>
                    <a:pt x="1210" y="485"/>
                  </a:cubicBezTo>
                  <a:cubicBezTo>
                    <a:pt x="1197" y="477"/>
                    <a:pt x="1197" y="477"/>
                    <a:pt x="1197" y="477"/>
                  </a:cubicBezTo>
                  <a:cubicBezTo>
                    <a:pt x="1174" y="493"/>
                    <a:pt x="1174" y="493"/>
                    <a:pt x="1174" y="493"/>
                  </a:cubicBezTo>
                  <a:cubicBezTo>
                    <a:pt x="1151" y="493"/>
                    <a:pt x="1151" y="493"/>
                    <a:pt x="1151" y="493"/>
                  </a:cubicBezTo>
                  <a:cubicBezTo>
                    <a:pt x="1151" y="493"/>
                    <a:pt x="1128" y="515"/>
                    <a:pt x="1119" y="518"/>
                  </a:cubicBezTo>
                  <a:cubicBezTo>
                    <a:pt x="1110" y="521"/>
                    <a:pt x="1071" y="527"/>
                    <a:pt x="1075" y="536"/>
                  </a:cubicBezTo>
                  <a:cubicBezTo>
                    <a:pt x="1079" y="545"/>
                    <a:pt x="1099" y="544"/>
                    <a:pt x="1099" y="544"/>
                  </a:cubicBezTo>
                  <a:cubicBezTo>
                    <a:pt x="1099" y="544"/>
                    <a:pt x="1079" y="552"/>
                    <a:pt x="1075" y="552"/>
                  </a:cubicBezTo>
                  <a:cubicBezTo>
                    <a:pt x="1071" y="552"/>
                    <a:pt x="1042" y="551"/>
                    <a:pt x="1042" y="557"/>
                  </a:cubicBezTo>
                  <a:cubicBezTo>
                    <a:pt x="1042" y="563"/>
                    <a:pt x="1045" y="576"/>
                    <a:pt x="1065" y="568"/>
                  </a:cubicBezTo>
                  <a:cubicBezTo>
                    <a:pt x="1085" y="560"/>
                    <a:pt x="1129" y="536"/>
                    <a:pt x="1147" y="532"/>
                  </a:cubicBezTo>
                  <a:cubicBezTo>
                    <a:pt x="1165" y="528"/>
                    <a:pt x="1197" y="537"/>
                    <a:pt x="1211" y="530"/>
                  </a:cubicBezTo>
                  <a:cubicBezTo>
                    <a:pt x="1225" y="523"/>
                    <a:pt x="1247" y="502"/>
                    <a:pt x="1247" y="502"/>
                  </a:cubicBezTo>
                  <a:cubicBezTo>
                    <a:pt x="1245" y="492"/>
                    <a:pt x="1245" y="492"/>
                    <a:pt x="1245" y="492"/>
                  </a:cubicBezTo>
                  <a:cubicBezTo>
                    <a:pt x="1245" y="492"/>
                    <a:pt x="1299" y="471"/>
                    <a:pt x="1309" y="472"/>
                  </a:cubicBezTo>
                  <a:cubicBezTo>
                    <a:pt x="1319" y="473"/>
                    <a:pt x="1322" y="483"/>
                    <a:pt x="1322" y="483"/>
                  </a:cubicBezTo>
                  <a:cubicBezTo>
                    <a:pt x="1364" y="470"/>
                    <a:pt x="1364" y="470"/>
                    <a:pt x="1364" y="470"/>
                  </a:cubicBezTo>
                  <a:cubicBezTo>
                    <a:pt x="1336" y="492"/>
                    <a:pt x="1336" y="492"/>
                    <a:pt x="1336" y="492"/>
                  </a:cubicBezTo>
                  <a:cubicBezTo>
                    <a:pt x="1350" y="498"/>
                    <a:pt x="1350" y="498"/>
                    <a:pt x="1350" y="498"/>
                  </a:cubicBezTo>
                  <a:cubicBezTo>
                    <a:pt x="1350" y="498"/>
                    <a:pt x="1346" y="510"/>
                    <a:pt x="1350" y="510"/>
                  </a:cubicBezTo>
                  <a:cubicBezTo>
                    <a:pt x="1354" y="510"/>
                    <a:pt x="1395" y="485"/>
                    <a:pt x="1395" y="485"/>
                  </a:cubicBezTo>
                  <a:cubicBezTo>
                    <a:pt x="1395" y="485"/>
                    <a:pt x="1356" y="515"/>
                    <a:pt x="1367" y="520"/>
                  </a:cubicBezTo>
                  <a:cubicBezTo>
                    <a:pt x="1378" y="525"/>
                    <a:pt x="1406" y="526"/>
                    <a:pt x="1406" y="526"/>
                  </a:cubicBezTo>
                  <a:cubicBezTo>
                    <a:pt x="1472" y="532"/>
                    <a:pt x="1472" y="532"/>
                    <a:pt x="1472" y="532"/>
                  </a:cubicBezTo>
                  <a:cubicBezTo>
                    <a:pt x="1493" y="519"/>
                    <a:pt x="1493" y="519"/>
                    <a:pt x="1493" y="519"/>
                  </a:cubicBezTo>
                  <a:cubicBezTo>
                    <a:pt x="1493" y="519"/>
                    <a:pt x="1480" y="541"/>
                    <a:pt x="1491" y="542"/>
                  </a:cubicBezTo>
                  <a:cubicBezTo>
                    <a:pt x="1502" y="543"/>
                    <a:pt x="1534" y="541"/>
                    <a:pt x="1534" y="541"/>
                  </a:cubicBezTo>
                  <a:cubicBezTo>
                    <a:pt x="1556" y="535"/>
                    <a:pt x="1556" y="535"/>
                    <a:pt x="1556" y="535"/>
                  </a:cubicBezTo>
                  <a:cubicBezTo>
                    <a:pt x="1556" y="535"/>
                    <a:pt x="1517" y="549"/>
                    <a:pt x="1520" y="557"/>
                  </a:cubicBezTo>
                  <a:cubicBezTo>
                    <a:pt x="1523" y="565"/>
                    <a:pt x="1541" y="573"/>
                    <a:pt x="1541" y="573"/>
                  </a:cubicBezTo>
                  <a:cubicBezTo>
                    <a:pt x="1541" y="573"/>
                    <a:pt x="1539" y="609"/>
                    <a:pt x="1551" y="609"/>
                  </a:cubicBezTo>
                  <a:cubicBezTo>
                    <a:pt x="1563" y="609"/>
                    <a:pt x="1594" y="606"/>
                    <a:pt x="1594" y="606"/>
                  </a:cubicBezTo>
                  <a:cubicBezTo>
                    <a:pt x="1587" y="585"/>
                    <a:pt x="1587" y="585"/>
                    <a:pt x="1587" y="585"/>
                  </a:cubicBezTo>
                  <a:cubicBezTo>
                    <a:pt x="1601" y="580"/>
                    <a:pt x="1601" y="580"/>
                    <a:pt x="1601" y="580"/>
                  </a:cubicBezTo>
                  <a:cubicBezTo>
                    <a:pt x="1610" y="591"/>
                    <a:pt x="1610" y="591"/>
                    <a:pt x="1610" y="591"/>
                  </a:cubicBezTo>
                  <a:cubicBezTo>
                    <a:pt x="1630" y="585"/>
                    <a:pt x="1630" y="585"/>
                    <a:pt x="1630" y="585"/>
                  </a:cubicBezTo>
                  <a:cubicBezTo>
                    <a:pt x="1630" y="585"/>
                    <a:pt x="1610" y="608"/>
                    <a:pt x="1621" y="612"/>
                  </a:cubicBezTo>
                  <a:cubicBezTo>
                    <a:pt x="1632" y="616"/>
                    <a:pt x="1650" y="586"/>
                    <a:pt x="1650" y="586"/>
                  </a:cubicBezTo>
                  <a:cubicBezTo>
                    <a:pt x="1670" y="557"/>
                    <a:pt x="1670" y="557"/>
                    <a:pt x="1670" y="557"/>
                  </a:cubicBezTo>
                  <a:cubicBezTo>
                    <a:pt x="1652" y="599"/>
                    <a:pt x="1652" y="599"/>
                    <a:pt x="1652" y="599"/>
                  </a:cubicBezTo>
                  <a:cubicBezTo>
                    <a:pt x="1656" y="615"/>
                    <a:pt x="1656" y="615"/>
                    <a:pt x="1656" y="615"/>
                  </a:cubicBezTo>
                  <a:cubicBezTo>
                    <a:pt x="1679" y="607"/>
                    <a:pt x="1679" y="607"/>
                    <a:pt x="1679" y="607"/>
                  </a:cubicBezTo>
                  <a:cubicBezTo>
                    <a:pt x="1664" y="623"/>
                    <a:pt x="1664" y="623"/>
                    <a:pt x="1664" y="623"/>
                  </a:cubicBezTo>
                  <a:cubicBezTo>
                    <a:pt x="1681" y="638"/>
                    <a:pt x="1681" y="638"/>
                    <a:pt x="1681" y="638"/>
                  </a:cubicBezTo>
                  <a:cubicBezTo>
                    <a:pt x="1669" y="635"/>
                    <a:pt x="1669" y="635"/>
                    <a:pt x="1669" y="635"/>
                  </a:cubicBezTo>
                  <a:cubicBezTo>
                    <a:pt x="1667" y="647"/>
                    <a:pt x="1667" y="647"/>
                    <a:pt x="1667" y="647"/>
                  </a:cubicBezTo>
                  <a:cubicBezTo>
                    <a:pt x="1648" y="660"/>
                    <a:pt x="1648" y="660"/>
                    <a:pt x="1648" y="660"/>
                  </a:cubicBezTo>
                  <a:cubicBezTo>
                    <a:pt x="1636" y="670"/>
                    <a:pt x="1636" y="670"/>
                    <a:pt x="1636" y="670"/>
                  </a:cubicBezTo>
                  <a:cubicBezTo>
                    <a:pt x="1657" y="681"/>
                    <a:pt x="1657" y="681"/>
                    <a:pt x="1657" y="681"/>
                  </a:cubicBezTo>
                  <a:cubicBezTo>
                    <a:pt x="1654" y="702"/>
                    <a:pt x="1654" y="702"/>
                    <a:pt x="1654" y="702"/>
                  </a:cubicBezTo>
                  <a:cubicBezTo>
                    <a:pt x="1642" y="714"/>
                    <a:pt x="1642" y="714"/>
                    <a:pt x="1642" y="714"/>
                  </a:cubicBezTo>
                  <a:cubicBezTo>
                    <a:pt x="1654" y="719"/>
                    <a:pt x="1654" y="719"/>
                    <a:pt x="1654" y="719"/>
                  </a:cubicBezTo>
                  <a:cubicBezTo>
                    <a:pt x="1639" y="733"/>
                    <a:pt x="1639" y="733"/>
                    <a:pt x="1639" y="733"/>
                  </a:cubicBezTo>
                  <a:cubicBezTo>
                    <a:pt x="1660" y="733"/>
                    <a:pt x="1660" y="733"/>
                    <a:pt x="1660" y="733"/>
                  </a:cubicBezTo>
                  <a:cubicBezTo>
                    <a:pt x="1685" y="724"/>
                    <a:pt x="1685" y="724"/>
                    <a:pt x="1685" y="724"/>
                  </a:cubicBezTo>
                  <a:cubicBezTo>
                    <a:pt x="1663" y="750"/>
                    <a:pt x="1663" y="750"/>
                    <a:pt x="1663" y="750"/>
                  </a:cubicBezTo>
                  <a:cubicBezTo>
                    <a:pt x="1652" y="760"/>
                    <a:pt x="1652" y="760"/>
                    <a:pt x="1652" y="760"/>
                  </a:cubicBezTo>
                  <a:cubicBezTo>
                    <a:pt x="1667" y="765"/>
                    <a:pt x="1667" y="765"/>
                    <a:pt x="1667" y="765"/>
                  </a:cubicBezTo>
                  <a:cubicBezTo>
                    <a:pt x="1637" y="777"/>
                    <a:pt x="1637" y="777"/>
                    <a:pt x="1637" y="777"/>
                  </a:cubicBezTo>
                  <a:cubicBezTo>
                    <a:pt x="1623" y="785"/>
                    <a:pt x="1623" y="785"/>
                    <a:pt x="1623" y="785"/>
                  </a:cubicBezTo>
                  <a:cubicBezTo>
                    <a:pt x="1637" y="791"/>
                    <a:pt x="1637" y="791"/>
                    <a:pt x="1637" y="791"/>
                  </a:cubicBezTo>
                  <a:cubicBezTo>
                    <a:pt x="1637" y="791"/>
                    <a:pt x="1636" y="794"/>
                    <a:pt x="1634" y="798"/>
                  </a:cubicBezTo>
                  <a:cubicBezTo>
                    <a:pt x="1655" y="788"/>
                    <a:pt x="1676" y="777"/>
                    <a:pt x="1680" y="773"/>
                  </a:cubicBezTo>
                  <a:cubicBezTo>
                    <a:pt x="1690" y="763"/>
                    <a:pt x="1690" y="747"/>
                    <a:pt x="1690" y="747"/>
                  </a:cubicBezTo>
                  <a:cubicBezTo>
                    <a:pt x="1690" y="747"/>
                    <a:pt x="1717" y="736"/>
                    <a:pt x="1717" y="728"/>
                  </a:cubicBezTo>
                  <a:cubicBezTo>
                    <a:pt x="1717" y="720"/>
                    <a:pt x="1707" y="721"/>
                    <a:pt x="1707" y="721"/>
                  </a:cubicBezTo>
                  <a:close/>
                  <a:moveTo>
                    <a:pt x="1598" y="704"/>
                  </a:moveTo>
                  <a:cubicBezTo>
                    <a:pt x="1604" y="718"/>
                    <a:pt x="1624" y="696"/>
                    <a:pt x="1624" y="696"/>
                  </a:cubicBezTo>
                  <a:cubicBezTo>
                    <a:pt x="1639" y="692"/>
                    <a:pt x="1639" y="692"/>
                    <a:pt x="1639" y="692"/>
                  </a:cubicBezTo>
                  <a:cubicBezTo>
                    <a:pt x="1638" y="682"/>
                    <a:pt x="1638" y="682"/>
                    <a:pt x="1638" y="682"/>
                  </a:cubicBezTo>
                  <a:cubicBezTo>
                    <a:pt x="1620" y="679"/>
                    <a:pt x="1620" y="679"/>
                    <a:pt x="1620" y="679"/>
                  </a:cubicBezTo>
                  <a:cubicBezTo>
                    <a:pt x="1620" y="679"/>
                    <a:pt x="1595" y="697"/>
                    <a:pt x="1598" y="704"/>
                  </a:cubicBezTo>
                  <a:close/>
                  <a:moveTo>
                    <a:pt x="1583" y="656"/>
                  </a:moveTo>
                  <a:cubicBezTo>
                    <a:pt x="1576" y="653"/>
                    <a:pt x="1559" y="664"/>
                    <a:pt x="1558" y="670"/>
                  </a:cubicBezTo>
                  <a:cubicBezTo>
                    <a:pt x="1557" y="676"/>
                    <a:pt x="1550" y="689"/>
                    <a:pt x="1550" y="689"/>
                  </a:cubicBezTo>
                  <a:cubicBezTo>
                    <a:pt x="1549" y="698"/>
                    <a:pt x="1549" y="698"/>
                    <a:pt x="1549" y="698"/>
                  </a:cubicBezTo>
                  <a:cubicBezTo>
                    <a:pt x="1549" y="698"/>
                    <a:pt x="1541" y="702"/>
                    <a:pt x="1540" y="709"/>
                  </a:cubicBezTo>
                  <a:cubicBezTo>
                    <a:pt x="1539" y="716"/>
                    <a:pt x="1546" y="720"/>
                    <a:pt x="1546" y="720"/>
                  </a:cubicBezTo>
                  <a:cubicBezTo>
                    <a:pt x="1546" y="720"/>
                    <a:pt x="1559" y="700"/>
                    <a:pt x="1576" y="687"/>
                  </a:cubicBezTo>
                  <a:cubicBezTo>
                    <a:pt x="1593" y="674"/>
                    <a:pt x="1590" y="659"/>
                    <a:pt x="1583" y="656"/>
                  </a:cubicBezTo>
                  <a:close/>
                  <a:moveTo>
                    <a:pt x="525" y="542"/>
                  </a:moveTo>
                  <a:cubicBezTo>
                    <a:pt x="547" y="540"/>
                    <a:pt x="594" y="519"/>
                    <a:pt x="578" y="515"/>
                  </a:cubicBezTo>
                  <a:cubicBezTo>
                    <a:pt x="561" y="510"/>
                    <a:pt x="539" y="507"/>
                    <a:pt x="533" y="513"/>
                  </a:cubicBezTo>
                  <a:cubicBezTo>
                    <a:pt x="527" y="519"/>
                    <a:pt x="514" y="506"/>
                    <a:pt x="510" y="517"/>
                  </a:cubicBezTo>
                  <a:cubicBezTo>
                    <a:pt x="507" y="528"/>
                    <a:pt x="513" y="543"/>
                    <a:pt x="525" y="542"/>
                  </a:cubicBezTo>
                  <a:close/>
                  <a:moveTo>
                    <a:pt x="0" y="886"/>
                  </a:moveTo>
                  <a:cubicBezTo>
                    <a:pt x="41" y="880"/>
                    <a:pt x="41" y="880"/>
                    <a:pt x="41" y="880"/>
                  </a:cubicBezTo>
                  <a:cubicBezTo>
                    <a:pt x="49" y="869"/>
                    <a:pt x="49" y="869"/>
                    <a:pt x="49" y="869"/>
                  </a:cubicBezTo>
                  <a:cubicBezTo>
                    <a:pt x="90" y="863"/>
                    <a:pt x="90" y="863"/>
                    <a:pt x="90" y="863"/>
                  </a:cubicBezTo>
                  <a:cubicBezTo>
                    <a:pt x="76" y="849"/>
                    <a:pt x="76" y="849"/>
                    <a:pt x="76" y="849"/>
                  </a:cubicBezTo>
                  <a:lnTo>
                    <a:pt x="0" y="886"/>
                  </a:lnTo>
                  <a:close/>
                  <a:moveTo>
                    <a:pt x="908" y="635"/>
                  </a:moveTo>
                  <a:cubicBezTo>
                    <a:pt x="905" y="636"/>
                    <a:pt x="892" y="641"/>
                    <a:pt x="892" y="641"/>
                  </a:cubicBezTo>
                  <a:cubicBezTo>
                    <a:pt x="892" y="641"/>
                    <a:pt x="884" y="634"/>
                    <a:pt x="879" y="635"/>
                  </a:cubicBezTo>
                  <a:cubicBezTo>
                    <a:pt x="874" y="636"/>
                    <a:pt x="875" y="651"/>
                    <a:pt x="875" y="651"/>
                  </a:cubicBezTo>
                  <a:cubicBezTo>
                    <a:pt x="859" y="663"/>
                    <a:pt x="859" y="663"/>
                    <a:pt x="859" y="663"/>
                  </a:cubicBezTo>
                  <a:cubicBezTo>
                    <a:pt x="859" y="646"/>
                    <a:pt x="859" y="646"/>
                    <a:pt x="859" y="646"/>
                  </a:cubicBezTo>
                  <a:cubicBezTo>
                    <a:pt x="859" y="646"/>
                    <a:pt x="845" y="641"/>
                    <a:pt x="831" y="654"/>
                  </a:cubicBezTo>
                  <a:cubicBezTo>
                    <a:pt x="831" y="654"/>
                    <a:pt x="814" y="665"/>
                    <a:pt x="811" y="672"/>
                  </a:cubicBezTo>
                  <a:cubicBezTo>
                    <a:pt x="809" y="680"/>
                    <a:pt x="831" y="681"/>
                    <a:pt x="831" y="681"/>
                  </a:cubicBezTo>
                  <a:cubicBezTo>
                    <a:pt x="831" y="681"/>
                    <a:pt x="861" y="681"/>
                    <a:pt x="872" y="676"/>
                  </a:cubicBezTo>
                  <a:cubicBezTo>
                    <a:pt x="884" y="671"/>
                    <a:pt x="881" y="664"/>
                    <a:pt x="881" y="664"/>
                  </a:cubicBezTo>
                  <a:cubicBezTo>
                    <a:pt x="899" y="661"/>
                    <a:pt x="899" y="661"/>
                    <a:pt x="899" y="661"/>
                  </a:cubicBezTo>
                  <a:cubicBezTo>
                    <a:pt x="900" y="655"/>
                    <a:pt x="900" y="655"/>
                    <a:pt x="900" y="655"/>
                  </a:cubicBezTo>
                  <a:cubicBezTo>
                    <a:pt x="925" y="654"/>
                    <a:pt x="925" y="654"/>
                    <a:pt x="925" y="654"/>
                  </a:cubicBezTo>
                  <a:cubicBezTo>
                    <a:pt x="931" y="638"/>
                    <a:pt x="931" y="638"/>
                    <a:pt x="931" y="638"/>
                  </a:cubicBezTo>
                  <a:cubicBezTo>
                    <a:pt x="920" y="640"/>
                    <a:pt x="920" y="640"/>
                    <a:pt x="920" y="640"/>
                  </a:cubicBezTo>
                  <a:cubicBezTo>
                    <a:pt x="920" y="640"/>
                    <a:pt x="912" y="634"/>
                    <a:pt x="908" y="635"/>
                  </a:cubicBezTo>
                  <a:close/>
                  <a:moveTo>
                    <a:pt x="107" y="860"/>
                  </a:moveTo>
                  <a:cubicBezTo>
                    <a:pt x="135" y="859"/>
                    <a:pt x="135" y="859"/>
                    <a:pt x="135" y="859"/>
                  </a:cubicBezTo>
                  <a:cubicBezTo>
                    <a:pt x="161" y="840"/>
                    <a:pt x="161" y="840"/>
                    <a:pt x="161" y="840"/>
                  </a:cubicBezTo>
                  <a:cubicBezTo>
                    <a:pt x="152" y="829"/>
                    <a:pt x="152" y="829"/>
                    <a:pt x="152" y="829"/>
                  </a:cubicBezTo>
                  <a:lnTo>
                    <a:pt x="107" y="860"/>
                  </a:lnTo>
                  <a:close/>
                  <a:moveTo>
                    <a:pt x="1646" y="762"/>
                  </a:moveTo>
                  <a:cubicBezTo>
                    <a:pt x="1652" y="749"/>
                    <a:pt x="1637" y="734"/>
                    <a:pt x="1627" y="744"/>
                  </a:cubicBezTo>
                  <a:cubicBezTo>
                    <a:pt x="1617" y="754"/>
                    <a:pt x="1611" y="784"/>
                    <a:pt x="1611" y="784"/>
                  </a:cubicBezTo>
                  <a:cubicBezTo>
                    <a:pt x="1611" y="784"/>
                    <a:pt x="1624" y="773"/>
                    <a:pt x="1629" y="773"/>
                  </a:cubicBezTo>
                  <a:cubicBezTo>
                    <a:pt x="1634" y="773"/>
                    <a:pt x="1640" y="775"/>
                    <a:pt x="1646" y="762"/>
                  </a:cubicBezTo>
                  <a:close/>
                  <a:moveTo>
                    <a:pt x="953" y="609"/>
                  </a:moveTo>
                  <a:cubicBezTo>
                    <a:pt x="940" y="618"/>
                    <a:pt x="916" y="623"/>
                    <a:pt x="923" y="630"/>
                  </a:cubicBezTo>
                  <a:cubicBezTo>
                    <a:pt x="934" y="641"/>
                    <a:pt x="959" y="629"/>
                    <a:pt x="959" y="629"/>
                  </a:cubicBezTo>
                  <a:cubicBezTo>
                    <a:pt x="966" y="620"/>
                    <a:pt x="966" y="620"/>
                    <a:pt x="966" y="620"/>
                  </a:cubicBezTo>
                  <a:cubicBezTo>
                    <a:pt x="966" y="620"/>
                    <a:pt x="982" y="624"/>
                    <a:pt x="979" y="618"/>
                  </a:cubicBezTo>
                  <a:cubicBezTo>
                    <a:pt x="977" y="612"/>
                    <a:pt x="967" y="600"/>
                    <a:pt x="953" y="609"/>
                  </a:cubicBezTo>
                  <a:close/>
                  <a:moveTo>
                    <a:pt x="331" y="777"/>
                  </a:moveTo>
                  <a:cubicBezTo>
                    <a:pt x="319" y="777"/>
                    <a:pt x="290" y="788"/>
                    <a:pt x="290" y="788"/>
                  </a:cubicBezTo>
                  <a:cubicBezTo>
                    <a:pt x="290" y="788"/>
                    <a:pt x="253" y="802"/>
                    <a:pt x="254" y="809"/>
                  </a:cubicBezTo>
                  <a:cubicBezTo>
                    <a:pt x="256" y="818"/>
                    <a:pt x="270" y="812"/>
                    <a:pt x="289" y="806"/>
                  </a:cubicBezTo>
                  <a:cubicBezTo>
                    <a:pt x="308" y="799"/>
                    <a:pt x="328" y="809"/>
                    <a:pt x="335" y="803"/>
                  </a:cubicBezTo>
                  <a:cubicBezTo>
                    <a:pt x="342" y="797"/>
                    <a:pt x="344" y="777"/>
                    <a:pt x="331" y="777"/>
                  </a:cubicBezTo>
                  <a:close/>
                  <a:moveTo>
                    <a:pt x="219" y="828"/>
                  </a:moveTo>
                  <a:cubicBezTo>
                    <a:pt x="221" y="814"/>
                    <a:pt x="221" y="814"/>
                    <a:pt x="221" y="814"/>
                  </a:cubicBezTo>
                  <a:cubicBezTo>
                    <a:pt x="184" y="829"/>
                    <a:pt x="184" y="829"/>
                    <a:pt x="184" y="829"/>
                  </a:cubicBezTo>
                  <a:lnTo>
                    <a:pt x="219" y="828"/>
                  </a:ln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sp>
          <p:nvSpPr>
            <p:cNvPr id="215" name="Freeform 176"/>
            <p:cNvSpPr>
              <a:spLocks noEditPoints="1"/>
            </p:cNvSpPr>
            <p:nvPr/>
          </p:nvSpPr>
          <p:spPr bwMode="gray">
            <a:xfrm>
              <a:off x="1216025" y="2490788"/>
              <a:ext cx="1460500" cy="730250"/>
            </a:xfrm>
            <a:custGeom>
              <a:avLst/>
              <a:gdLst>
                <a:gd name="T0" fmla="*/ 2480 w 2609"/>
                <a:gd name="T1" fmla="*/ 201 h 1304"/>
                <a:gd name="T2" fmla="*/ 2188 w 2609"/>
                <a:gd name="T3" fmla="*/ 278 h 1304"/>
                <a:gd name="T4" fmla="*/ 2132 w 2609"/>
                <a:gd name="T5" fmla="*/ 324 h 1304"/>
                <a:gd name="T6" fmla="*/ 2049 w 2609"/>
                <a:gd name="T7" fmla="*/ 357 h 1304"/>
                <a:gd name="T8" fmla="*/ 1824 w 2609"/>
                <a:gd name="T9" fmla="*/ 413 h 1304"/>
                <a:gd name="T10" fmla="*/ 1906 w 2609"/>
                <a:gd name="T11" fmla="*/ 294 h 1304"/>
                <a:gd name="T12" fmla="*/ 1888 w 2609"/>
                <a:gd name="T13" fmla="*/ 211 h 1304"/>
                <a:gd name="T14" fmla="*/ 1909 w 2609"/>
                <a:gd name="T15" fmla="*/ 159 h 1304"/>
                <a:gd name="T16" fmla="*/ 1821 w 2609"/>
                <a:gd name="T17" fmla="*/ 151 h 1304"/>
                <a:gd name="T18" fmla="*/ 1700 w 2609"/>
                <a:gd name="T19" fmla="*/ 142 h 1304"/>
                <a:gd name="T20" fmla="*/ 1667 w 2609"/>
                <a:gd name="T21" fmla="*/ 101 h 1304"/>
                <a:gd name="T22" fmla="*/ 1627 w 2609"/>
                <a:gd name="T23" fmla="*/ 67 h 1304"/>
                <a:gd name="T24" fmla="*/ 1510 w 2609"/>
                <a:gd name="T25" fmla="*/ 35 h 1304"/>
                <a:gd name="T26" fmla="*/ 292 w 2609"/>
                <a:gd name="T27" fmla="*/ 130 h 1304"/>
                <a:gd name="T28" fmla="*/ 255 w 2609"/>
                <a:gd name="T29" fmla="*/ 78 h 1304"/>
                <a:gd name="T30" fmla="*/ 250 w 2609"/>
                <a:gd name="T31" fmla="*/ 177 h 1304"/>
                <a:gd name="T32" fmla="*/ 66 w 2609"/>
                <a:gd name="T33" fmla="*/ 387 h 1304"/>
                <a:gd name="T34" fmla="*/ 29 w 2609"/>
                <a:gd name="T35" fmla="*/ 605 h 1304"/>
                <a:gd name="T36" fmla="*/ 20 w 2609"/>
                <a:gd name="T37" fmla="*/ 688 h 1304"/>
                <a:gd name="T38" fmla="*/ 108 w 2609"/>
                <a:gd name="T39" fmla="*/ 822 h 1304"/>
                <a:gd name="T40" fmla="*/ 380 w 2609"/>
                <a:gd name="T41" fmla="*/ 973 h 1304"/>
                <a:gd name="T42" fmla="*/ 625 w 2609"/>
                <a:gd name="T43" fmla="*/ 975 h 1304"/>
                <a:gd name="T44" fmla="*/ 756 w 2609"/>
                <a:gd name="T45" fmla="*/ 1047 h 1304"/>
                <a:gd name="T46" fmla="*/ 851 w 2609"/>
                <a:gd name="T47" fmla="*/ 1169 h 1304"/>
                <a:gd name="T48" fmla="*/ 914 w 2609"/>
                <a:gd name="T49" fmla="*/ 1254 h 1304"/>
                <a:gd name="T50" fmla="*/ 950 w 2609"/>
                <a:gd name="T51" fmla="*/ 1180 h 1304"/>
                <a:gd name="T52" fmla="*/ 999 w 2609"/>
                <a:gd name="T53" fmla="*/ 1128 h 1304"/>
                <a:gd name="T54" fmla="*/ 1143 w 2609"/>
                <a:gd name="T55" fmla="*/ 1040 h 1304"/>
                <a:gd name="T56" fmla="*/ 1288 w 2609"/>
                <a:gd name="T57" fmla="*/ 1079 h 1304"/>
                <a:gd name="T58" fmla="*/ 1354 w 2609"/>
                <a:gd name="T59" fmla="*/ 1087 h 1304"/>
                <a:gd name="T60" fmla="*/ 1365 w 2609"/>
                <a:gd name="T61" fmla="*/ 1024 h 1304"/>
                <a:gd name="T62" fmla="*/ 1487 w 2609"/>
                <a:gd name="T63" fmla="*/ 1024 h 1304"/>
                <a:gd name="T64" fmla="*/ 1616 w 2609"/>
                <a:gd name="T65" fmla="*/ 1079 h 1304"/>
                <a:gd name="T66" fmla="*/ 1634 w 2609"/>
                <a:gd name="T67" fmla="*/ 1212 h 1304"/>
                <a:gd name="T68" fmla="*/ 1681 w 2609"/>
                <a:gd name="T69" fmla="*/ 1304 h 1304"/>
                <a:gd name="T70" fmla="*/ 1730 w 2609"/>
                <a:gd name="T71" fmla="*/ 1112 h 1304"/>
                <a:gd name="T72" fmla="*/ 1780 w 2609"/>
                <a:gd name="T73" fmla="*/ 919 h 1304"/>
                <a:gd name="T74" fmla="*/ 1864 w 2609"/>
                <a:gd name="T75" fmla="*/ 859 h 1304"/>
                <a:gd name="T76" fmla="*/ 2013 w 2609"/>
                <a:gd name="T77" fmla="*/ 773 h 1304"/>
                <a:gd name="T78" fmla="*/ 2015 w 2609"/>
                <a:gd name="T79" fmla="*/ 726 h 1304"/>
                <a:gd name="T80" fmla="*/ 2016 w 2609"/>
                <a:gd name="T81" fmla="*/ 647 h 1304"/>
                <a:gd name="T82" fmla="*/ 2025 w 2609"/>
                <a:gd name="T83" fmla="*/ 586 h 1304"/>
                <a:gd name="T84" fmla="*/ 2077 w 2609"/>
                <a:gd name="T85" fmla="*/ 596 h 1304"/>
                <a:gd name="T86" fmla="*/ 2136 w 2609"/>
                <a:gd name="T87" fmla="*/ 513 h 1304"/>
                <a:gd name="T88" fmla="*/ 2240 w 2609"/>
                <a:gd name="T89" fmla="*/ 475 h 1304"/>
                <a:gd name="T90" fmla="*/ 2355 w 2609"/>
                <a:gd name="T91" fmla="*/ 411 h 1304"/>
                <a:gd name="T92" fmla="*/ 2409 w 2609"/>
                <a:gd name="T93" fmla="*/ 388 h 1304"/>
                <a:gd name="T94" fmla="*/ 2423 w 2609"/>
                <a:gd name="T95" fmla="*/ 324 h 1304"/>
                <a:gd name="T96" fmla="*/ 2556 w 2609"/>
                <a:gd name="T97" fmla="*/ 260 h 1304"/>
                <a:gd name="T98" fmla="*/ 2582 w 2609"/>
                <a:gd name="T99" fmla="*/ 202 h 1304"/>
                <a:gd name="T100" fmla="*/ 1784 w 2609"/>
                <a:gd name="T101" fmla="*/ 255 h 1304"/>
                <a:gd name="T102" fmla="*/ 1734 w 2609"/>
                <a:gd name="T103" fmla="*/ 342 h 1304"/>
                <a:gd name="T104" fmla="*/ 1687 w 2609"/>
                <a:gd name="T105" fmla="*/ 307 h 1304"/>
                <a:gd name="T106" fmla="*/ 1772 w 2609"/>
                <a:gd name="T107" fmla="*/ 194 h 1304"/>
                <a:gd name="T108" fmla="*/ 1862 w 2609"/>
                <a:gd name="T109" fmla="*/ 199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609" h="1304">
                  <a:moveTo>
                    <a:pt x="2570" y="119"/>
                  </a:moveTo>
                  <a:cubicBezTo>
                    <a:pt x="2558" y="119"/>
                    <a:pt x="2567" y="110"/>
                    <a:pt x="2554" y="110"/>
                  </a:cubicBezTo>
                  <a:cubicBezTo>
                    <a:pt x="2541" y="110"/>
                    <a:pt x="2530" y="131"/>
                    <a:pt x="2530" y="131"/>
                  </a:cubicBezTo>
                  <a:cubicBezTo>
                    <a:pt x="2503" y="150"/>
                    <a:pt x="2503" y="150"/>
                    <a:pt x="2503" y="150"/>
                  </a:cubicBezTo>
                  <a:cubicBezTo>
                    <a:pt x="2503" y="164"/>
                    <a:pt x="2503" y="164"/>
                    <a:pt x="2503" y="164"/>
                  </a:cubicBezTo>
                  <a:cubicBezTo>
                    <a:pt x="2503" y="164"/>
                    <a:pt x="2495" y="172"/>
                    <a:pt x="2489" y="172"/>
                  </a:cubicBezTo>
                  <a:cubicBezTo>
                    <a:pt x="2483" y="172"/>
                    <a:pt x="2480" y="194"/>
                    <a:pt x="2480" y="201"/>
                  </a:cubicBezTo>
                  <a:cubicBezTo>
                    <a:pt x="2480" y="208"/>
                    <a:pt x="2473" y="201"/>
                    <a:pt x="2463" y="201"/>
                  </a:cubicBezTo>
                  <a:cubicBezTo>
                    <a:pt x="2454" y="201"/>
                    <a:pt x="2443" y="222"/>
                    <a:pt x="2443" y="222"/>
                  </a:cubicBezTo>
                  <a:cubicBezTo>
                    <a:pt x="2443" y="222"/>
                    <a:pt x="2435" y="223"/>
                    <a:pt x="2423" y="223"/>
                  </a:cubicBezTo>
                  <a:cubicBezTo>
                    <a:pt x="2411" y="223"/>
                    <a:pt x="2411" y="238"/>
                    <a:pt x="2411" y="238"/>
                  </a:cubicBezTo>
                  <a:cubicBezTo>
                    <a:pt x="2411" y="238"/>
                    <a:pt x="2280" y="238"/>
                    <a:pt x="2263" y="238"/>
                  </a:cubicBezTo>
                  <a:cubicBezTo>
                    <a:pt x="2246" y="238"/>
                    <a:pt x="2212" y="276"/>
                    <a:pt x="2204" y="276"/>
                  </a:cubicBezTo>
                  <a:cubicBezTo>
                    <a:pt x="2196" y="276"/>
                    <a:pt x="2194" y="278"/>
                    <a:pt x="2188" y="278"/>
                  </a:cubicBezTo>
                  <a:cubicBezTo>
                    <a:pt x="2187" y="278"/>
                    <a:pt x="2185" y="279"/>
                    <a:pt x="2183" y="280"/>
                  </a:cubicBezTo>
                  <a:cubicBezTo>
                    <a:pt x="2188" y="285"/>
                    <a:pt x="2189" y="291"/>
                    <a:pt x="2189" y="291"/>
                  </a:cubicBezTo>
                  <a:cubicBezTo>
                    <a:pt x="2189" y="291"/>
                    <a:pt x="2188" y="299"/>
                    <a:pt x="2181" y="305"/>
                  </a:cubicBezTo>
                  <a:cubicBezTo>
                    <a:pt x="2174" y="311"/>
                    <a:pt x="2174" y="321"/>
                    <a:pt x="2174" y="321"/>
                  </a:cubicBezTo>
                  <a:cubicBezTo>
                    <a:pt x="2162" y="320"/>
                    <a:pt x="2162" y="320"/>
                    <a:pt x="2162" y="320"/>
                  </a:cubicBezTo>
                  <a:cubicBezTo>
                    <a:pt x="2162" y="320"/>
                    <a:pt x="2162" y="324"/>
                    <a:pt x="2150" y="329"/>
                  </a:cubicBezTo>
                  <a:cubicBezTo>
                    <a:pt x="2138" y="334"/>
                    <a:pt x="2132" y="324"/>
                    <a:pt x="2132" y="324"/>
                  </a:cubicBezTo>
                  <a:cubicBezTo>
                    <a:pt x="2132" y="324"/>
                    <a:pt x="2127" y="332"/>
                    <a:pt x="2114" y="333"/>
                  </a:cubicBezTo>
                  <a:cubicBezTo>
                    <a:pt x="2101" y="334"/>
                    <a:pt x="2097" y="324"/>
                    <a:pt x="2088" y="323"/>
                  </a:cubicBezTo>
                  <a:cubicBezTo>
                    <a:pt x="2079" y="322"/>
                    <a:pt x="2072" y="330"/>
                    <a:pt x="2051" y="335"/>
                  </a:cubicBezTo>
                  <a:cubicBezTo>
                    <a:pt x="2050" y="335"/>
                    <a:pt x="2048" y="336"/>
                    <a:pt x="2047" y="336"/>
                  </a:cubicBezTo>
                  <a:cubicBezTo>
                    <a:pt x="2048" y="340"/>
                    <a:pt x="2048" y="344"/>
                    <a:pt x="2046" y="350"/>
                  </a:cubicBezTo>
                  <a:cubicBezTo>
                    <a:pt x="2045" y="352"/>
                    <a:pt x="2043" y="354"/>
                    <a:pt x="2040" y="357"/>
                  </a:cubicBezTo>
                  <a:cubicBezTo>
                    <a:pt x="2049" y="357"/>
                    <a:pt x="2049" y="357"/>
                    <a:pt x="2049" y="357"/>
                  </a:cubicBezTo>
                  <a:cubicBezTo>
                    <a:pt x="2049" y="357"/>
                    <a:pt x="1969" y="398"/>
                    <a:pt x="1961" y="401"/>
                  </a:cubicBezTo>
                  <a:cubicBezTo>
                    <a:pt x="1953" y="404"/>
                    <a:pt x="1945" y="407"/>
                    <a:pt x="1925" y="412"/>
                  </a:cubicBezTo>
                  <a:cubicBezTo>
                    <a:pt x="1905" y="417"/>
                    <a:pt x="1897" y="423"/>
                    <a:pt x="1890" y="426"/>
                  </a:cubicBezTo>
                  <a:cubicBezTo>
                    <a:pt x="1883" y="429"/>
                    <a:pt x="1871" y="427"/>
                    <a:pt x="1871" y="427"/>
                  </a:cubicBezTo>
                  <a:cubicBezTo>
                    <a:pt x="1871" y="427"/>
                    <a:pt x="1871" y="432"/>
                    <a:pt x="1859" y="433"/>
                  </a:cubicBezTo>
                  <a:cubicBezTo>
                    <a:pt x="1847" y="434"/>
                    <a:pt x="1846" y="423"/>
                    <a:pt x="1846" y="423"/>
                  </a:cubicBezTo>
                  <a:cubicBezTo>
                    <a:pt x="1846" y="423"/>
                    <a:pt x="1824" y="420"/>
                    <a:pt x="1824" y="413"/>
                  </a:cubicBezTo>
                  <a:cubicBezTo>
                    <a:pt x="1824" y="413"/>
                    <a:pt x="1837" y="407"/>
                    <a:pt x="1848" y="402"/>
                  </a:cubicBezTo>
                  <a:cubicBezTo>
                    <a:pt x="1847" y="401"/>
                    <a:pt x="1847" y="400"/>
                    <a:pt x="1846" y="400"/>
                  </a:cubicBezTo>
                  <a:cubicBezTo>
                    <a:pt x="1836" y="390"/>
                    <a:pt x="1881" y="368"/>
                    <a:pt x="1889" y="368"/>
                  </a:cubicBezTo>
                  <a:cubicBezTo>
                    <a:pt x="1897" y="368"/>
                    <a:pt x="1895" y="347"/>
                    <a:pt x="1895" y="347"/>
                  </a:cubicBezTo>
                  <a:cubicBezTo>
                    <a:pt x="1895" y="347"/>
                    <a:pt x="1898" y="343"/>
                    <a:pt x="1902" y="338"/>
                  </a:cubicBezTo>
                  <a:cubicBezTo>
                    <a:pt x="1902" y="337"/>
                    <a:pt x="1901" y="337"/>
                    <a:pt x="1901" y="337"/>
                  </a:cubicBezTo>
                  <a:cubicBezTo>
                    <a:pt x="1895" y="331"/>
                    <a:pt x="1908" y="302"/>
                    <a:pt x="1906" y="294"/>
                  </a:cubicBezTo>
                  <a:cubicBezTo>
                    <a:pt x="1904" y="286"/>
                    <a:pt x="1890" y="293"/>
                    <a:pt x="1884" y="298"/>
                  </a:cubicBezTo>
                  <a:cubicBezTo>
                    <a:pt x="1878" y="303"/>
                    <a:pt x="1850" y="321"/>
                    <a:pt x="1848" y="308"/>
                  </a:cubicBezTo>
                  <a:cubicBezTo>
                    <a:pt x="1847" y="302"/>
                    <a:pt x="1871" y="288"/>
                    <a:pt x="1874" y="283"/>
                  </a:cubicBezTo>
                  <a:cubicBezTo>
                    <a:pt x="1877" y="278"/>
                    <a:pt x="1888" y="275"/>
                    <a:pt x="1897" y="269"/>
                  </a:cubicBezTo>
                  <a:cubicBezTo>
                    <a:pt x="1906" y="263"/>
                    <a:pt x="1898" y="240"/>
                    <a:pt x="1898" y="240"/>
                  </a:cubicBezTo>
                  <a:cubicBezTo>
                    <a:pt x="1898" y="240"/>
                    <a:pt x="1901" y="245"/>
                    <a:pt x="1909" y="228"/>
                  </a:cubicBezTo>
                  <a:cubicBezTo>
                    <a:pt x="1917" y="211"/>
                    <a:pt x="1897" y="218"/>
                    <a:pt x="1888" y="211"/>
                  </a:cubicBezTo>
                  <a:cubicBezTo>
                    <a:pt x="1879" y="204"/>
                    <a:pt x="1879" y="198"/>
                    <a:pt x="1879" y="198"/>
                  </a:cubicBezTo>
                  <a:cubicBezTo>
                    <a:pt x="1879" y="198"/>
                    <a:pt x="1876" y="205"/>
                    <a:pt x="1871" y="200"/>
                  </a:cubicBezTo>
                  <a:cubicBezTo>
                    <a:pt x="1866" y="195"/>
                    <a:pt x="1872" y="185"/>
                    <a:pt x="1872" y="185"/>
                  </a:cubicBezTo>
                  <a:cubicBezTo>
                    <a:pt x="1896" y="189"/>
                    <a:pt x="1896" y="189"/>
                    <a:pt x="1896" y="189"/>
                  </a:cubicBezTo>
                  <a:cubicBezTo>
                    <a:pt x="1896" y="189"/>
                    <a:pt x="1900" y="186"/>
                    <a:pt x="1897" y="178"/>
                  </a:cubicBezTo>
                  <a:cubicBezTo>
                    <a:pt x="1896" y="174"/>
                    <a:pt x="1900" y="174"/>
                    <a:pt x="1905" y="174"/>
                  </a:cubicBezTo>
                  <a:cubicBezTo>
                    <a:pt x="1909" y="159"/>
                    <a:pt x="1909" y="159"/>
                    <a:pt x="1909" y="159"/>
                  </a:cubicBezTo>
                  <a:cubicBezTo>
                    <a:pt x="1896" y="159"/>
                    <a:pt x="1896" y="159"/>
                    <a:pt x="1896" y="159"/>
                  </a:cubicBezTo>
                  <a:cubicBezTo>
                    <a:pt x="1894" y="167"/>
                    <a:pt x="1894" y="167"/>
                    <a:pt x="1894" y="167"/>
                  </a:cubicBezTo>
                  <a:cubicBezTo>
                    <a:pt x="1878" y="161"/>
                    <a:pt x="1878" y="161"/>
                    <a:pt x="1878" y="161"/>
                  </a:cubicBezTo>
                  <a:cubicBezTo>
                    <a:pt x="1877" y="147"/>
                    <a:pt x="1877" y="147"/>
                    <a:pt x="1877" y="147"/>
                  </a:cubicBezTo>
                  <a:cubicBezTo>
                    <a:pt x="1868" y="149"/>
                    <a:pt x="1868" y="149"/>
                    <a:pt x="1868" y="149"/>
                  </a:cubicBezTo>
                  <a:cubicBezTo>
                    <a:pt x="1857" y="154"/>
                    <a:pt x="1857" y="154"/>
                    <a:pt x="1857" y="154"/>
                  </a:cubicBezTo>
                  <a:cubicBezTo>
                    <a:pt x="1821" y="151"/>
                    <a:pt x="1821" y="151"/>
                    <a:pt x="1821" y="151"/>
                  </a:cubicBezTo>
                  <a:cubicBezTo>
                    <a:pt x="1821" y="151"/>
                    <a:pt x="1808" y="162"/>
                    <a:pt x="1787" y="160"/>
                  </a:cubicBezTo>
                  <a:cubicBezTo>
                    <a:pt x="1766" y="158"/>
                    <a:pt x="1771" y="144"/>
                    <a:pt x="1767" y="139"/>
                  </a:cubicBezTo>
                  <a:cubicBezTo>
                    <a:pt x="1763" y="134"/>
                    <a:pt x="1743" y="145"/>
                    <a:pt x="1740" y="136"/>
                  </a:cubicBezTo>
                  <a:cubicBezTo>
                    <a:pt x="1777" y="115"/>
                    <a:pt x="1777" y="115"/>
                    <a:pt x="1777" y="115"/>
                  </a:cubicBezTo>
                  <a:cubicBezTo>
                    <a:pt x="1777" y="115"/>
                    <a:pt x="1772" y="110"/>
                    <a:pt x="1765" y="110"/>
                  </a:cubicBezTo>
                  <a:cubicBezTo>
                    <a:pt x="1758" y="110"/>
                    <a:pt x="1744" y="122"/>
                    <a:pt x="1740" y="123"/>
                  </a:cubicBezTo>
                  <a:cubicBezTo>
                    <a:pt x="1736" y="124"/>
                    <a:pt x="1714" y="137"/>
                    <a:pt x="1700" y="142"/>
                  </a:cubicBezTo>
                  <a:cubicBezTo>
                    <a:pt x="1686" y="147"/>
                    <a:pt x="1670" y="144"/>
                    <a:pt x="1670" y="144"/>
                  </a:cubicBezTo>
                  <a:cubicBezTo>
                    <a:pt x="1664" y="153"/>
                    <a:pt x="1664" y="153"/>
                    <a:pt x="1664" y="153"/>
                  </a:cubicBezTo>
                  <a:cubicBezTo>
                    <a:pt x="1664" y="153"/>
                    <a:pt x="1640" y="155"/>
                    <a:pt x="1631" y="154"/>
                  </a:cubicBezTo>
                  <a:cubicBezTo>
                    <a:pt x="1622" y="153"/>
                    <a:pt x="1646" y="136"/>
                    <a:pt x="1646" y="136"/>
                  </a:cubicBezTo>
                  <a:cubicBezTo>
                    <a:pt x="1646" y="136"/>
                    <a:pt x="1636" y="140"/>
                    <a:pt x="1617" y="141"/>
                  </a:cubicBezTo>
                  <a:cubicBezTo>
                    <a:pt x="1598" y="142"/>
                    <a:pt x="1596" y="154"/>
                    <a:pt x="1579" y="148"/>
                  </a:cubicBezTo>
                  <a:cubicBezTo>
                    <a:pt x="1562" y="142"/>
                    <a:pt x="1655" y="109"/>
                    <a:pt x="1667" y="101"/>
                  </a:cubicBezTo>
                  <a:cubicBezTo>
                    <a:pt x="1679" y="93"/>
                    <a:pt x="1694" y="90"/>
                    <a:pt x="1713" y="86"/>
                  </a:cubicBezTo>
                  <a:cubicBezTo>
                    <a:pt x="1718" y="85"/>
                    <a:pt x="1722" y="83"/>
                    <a:pt x="1726" y="80"/>
                  </a:cubicBezTo>
                  <a:cubicBezTo>
                    <a:pt x="1698" y="80"/>
                    <a:pt x="1701" y="74"/>
                    <a:pt x="1701" y="74"/>
                  </a:cubicBezTo>
                  <a:cubicBezTo>
                    <a:pt x="1671" y="75"/>
                    <a:pt x="1671" y="75"/>
                    <a:pt x="1671" y="75"/>
                  </a:cubicBezTo>
                  <a:cubicBezTo>
                    <a:pt x="1671" y="65"/>
                    <a:pt x="1671" y="65"/>
                    <a:pt x="1671" y="65"/>
                  </a:cubicBezTo>
                  <a:cubicBezTo>
                    <a:pt x="1671" y="65"/>
                    <a:pt x="1655" y="76"/>
                    <a:pt x="1649" y="82"/>
                  </a:cubicBezTo>
                  <a:cubicBezTo>
                    <a:pt x="1643" y="88"/>
                    <a:pt x="1630" y="64"/>
                    <a:pt x="1627" y="67"/>
                  </a:cubicBezTo>
                  <a:cubicBezTo>
                    <a:pt x="1624" y="70"/>
                    <a:pt x="1617" y="67"/>
                    <a:pt x="1611" y="67"/>
                  </a:cubicBezTo>
                  <a:cubicBezTo>
                    <a:pt x="1605" y="67"/>
                    <a:pt x="1602" y="47"/>
                    <a:pt x="1589" y="47"/>
                  </a:cubicBezTo>
                  <a:cubicBezTo>
                    <a:pt x="1576" y="47"/>
                    <a:pt x="1578" y="59"/>
                    <a:pt x="1570" y="59"/>
                  </a:cubicBezTo>
                  <a:cubicBezTo>
                    <a:pt x="1562" y="59"/>
                    <a:pt x="1555" y="49"/>
                    <a:pt x="1555" y="49"/>
                  </a:cubicBezTo>
                  <a:cubicBezTo>
                    <a:pt x="1555" y="49"/>
                    <a:pt x="1536" y="48"/>
                    <a:pt x="1528" y="40"/>
                  </a:cubicBezTo>
                  <a:cubicBezTo>
                    <a:pt x="1519" y="31"/>
                    <a:pt x="1544" y="21"/>
                    <a:pt x="1534" y="11"/>
                  </a:cubicBezTo>
                  <a:cubicBezTo>
                    <a:pt x="1524" y="0"/>
                    <a:pt x="1510" y="35"/>
                    <a:pt x="1510" y="35"/>
                  </a:cubicBezTo>
                  <a:cubicBezTo>
                    <a:pt x="368" y="35"/>
                    <a:pt x="368" y="35"/>
                    <a:pt x="368" y="35"/>
                  </a:cubicBezTo>
                  <a:cubicBezTo>
                    <a:pt x="367" y="42"/>
                    <a:pt x="365" y="48"/>
                    <a:pt x="364" y="50"/>
                  </a:cubicBezTo>
                  <a:cubicBezTo>
                    <a:pt x="360" y="56"/>
                    <a:pt x="359" y="80"/>
                    <a:pt x="359" y="80"/>
                  </a:cubicBezTo>
                  <a:cubicBezTo>
                    <a:pt x="337" y="92"/>
                    <a:pt x="337" y="92"/>
                    <a:pt x="337" y="92"/>
                  </a:cubicBezTo>
                  <a:cubicBezTo>
                    <a:pt x="335" y="104"/>
                    <a:pt x="335" y="104"/>
                    <a:pt x="335" y="104"/>
                  </a:cubicBezTo>
                  <a:cubicBezTo>
                    <a:pt x="324" y="119"/>
                    <a:pt x="324" y="119"/>
                    <a:pt x="324" y="119"/>
                  </a:cubicBezTo>
                  <a:cubicBezTo>
                    <a:pt x="292" y="130"/>
                    <a:pt x="292" y="130"/>
                    <a:pt x="292" y="130"/>
                  </a:cubicBezTo>
                  <a:cubicBezTo>
                    <a:pt x="315" y="117"/>
                    <a:pt x="315" y="117"/>
                    <a:pt x="315" y="117"/>
                  </a:cubicBezTo>
                  <a:cubicBezTo>
                    <a:pt x="300" y="115"/>
                    <a:pt x="300" y="115"/>
                    <a:pt x="300" y="115"/>
                  </a:cubicBezTo>
                  <a:cubicBezTo>
                    <a:pt x="300" y="115"/>
                    <a:pt x="314" y="95"/>
                    <a:pt x="318" y="92"/>
                  </a:cubicBezTo>
                  <a:cubicBezTo>
                    <a:pt x="322" y="89"/>
                    <a:pt x="342" y="75"/>
                    <a:pt x="332" y="75"/>
                  </a:cubicBezTo>
                  <a:cubicBezTo>
                    <a:pt x="322" y="75"/>
                    <a:pt x="313" y="77"/>
                    <a:pt x="303" y="76"/>
                  </a:cubicBezTo>
                  <a:cubicBezTo>
                    <a:pt x="293" y="75"/>
                    <a:pt x="284" y="57"/>
                    <a:pt x="275" y="61"/>
                  </a:cubicBezTo>
                  <a:cubicBezTo>
                    <a:pt x="266" y="65"/>
                    <a:pt x="257" y="57"/>
                    <a:pt x="255" y="78"/>
                  </a:cubicBezTo>
                  <a:cubicBezTo>
                    <a:pt x="253" y="99"/>
                    <a:pt x="255" y="111"/>
                    <a:pt x="252" y="113"/>
                  </a:cubicBezTo>
                  <a:cubicBezTo>
                    <a:pt x="249" y="115"/>
                    <a:pt x="239" y="130"/>
                    <a:pt x="239" y="130"/>
                  </a:cubicBezTo>
                  <a:cubicBezTo>
                    <a:pt x="257" y="134"/>
                    <a:pt x="257" y="134"/>
                    <a:pt x="257" y="134"/>
                  </a:cubicBezTo>
                  <a:cubicBezTo>
                    <a:pt x="238" y="137"/>
                    <a:pt x="238" y="137"/>
                    <a:pt x="238" y="137"/>
                  </a:cubicBezTo>
                  <a:cubicBezTo>
                    <a:pt x="241" y="148"/>
                    <a:pt x="241" y="148"/>
                    <a:pt x="241" y="148"/>
                  </a:cubicBezTo>
                  <a:cubicBezTo>
                    <a:pt x="230" y="165"/>
                    <a:pt x="230" y="165"/>
                    <a:pt x="230" y="165"/>
                  </a:cubicBezTo>
                  <a:cubicBezTo>
                    <a:pt x="230" y="165"/>
                    <a:pt x="251" y="173"/>
                    <a:pt x="250" y="177"/>
                  </a:cubicBezTo>
                  <a:cubicBezTo>
                    <a:pt x="249" y="181"/>
                    <a:pt x="218" y="175"/>
                    <a:pt x="218" y="175"/>
                  </a:cubicBezTo>
                  <a:cubicBezTo>
                    <a:pt x="218" y="175"/>
                    <a:pt x="179" y="235"/>
                    <a:pt x="169" y="247"/>
                  </a:cubicBezTo>
                  <a:cubicBezTo>
                    <a:pt x="159" y="259"/>
                    <a:pt x="112" y="315"/>
                    <a:pt x="112" y="315"/>
                  </a:cubicBezTo>
                  <a:cubicBezTo>
                    <a:pt x="114" y="330"/>
                    <a:pt x="114" y="330"/>
                    <a:pt x="114" y="330"/>
                  </a:cubicBezTo>
                  <a:cubicBezTo>
                    <a:pt x="114" y="330"/>
                    <a:pt x="101" y="332"/>
                    <a:pt x="90" y="344"/>
                  </a:cubicBezTo>
                  <a:cubicBezTo>
                    <a:pt x="79" y="356"/>
                    <a:pt x="79" y="374"/>
                    <a:pt x="79" y="374"/>
                  </a:cubicBezTo>
                  <a:cubicBezTo>
                    <a:pt x="66" y="387"/>
                    <a:pt x="66" y="387"/>
                    <a:pt x="66" y="387"/>
                  </a:cubicBezTo>
                  <a:cubicBezTo>
                    <a:pt x="63" y="421"/>
                    <a:pt x="63" y="421"/>
                    <a:pt x="63" y="421"/>
                  </a:cubicBezTo>
                  <a:cubicBezTo>
                    <a:pt x="63" y="421"/>
                    <a:pt x="39" y="453"/>
                    <a:pt x="33" y="459"/>
                  </a:cubicBezTo>
                  <a:cubicBezTo>
                    <a:pt x="27" y="465"/>
                    <a:pt x="6" y="477"/>
                    <a:pt x="8" y="488"/>
                  </a:cubicBezTo>
                  <a:cubicBezTo>
                    <a:pt x="10" y="499"/>
                    <a:pt x="26" y="506"/>
                    <a:pt x="23" y="516"/>
                  </a:cubicBezTo>
                  <a:cubicBezTo>
                    <a:pt x="20" y="526"/>
                    <a:pt x="0" y="550"/>
                    <a:pt x="0" y="562"/>
                  </a:cubicBezTo>
                  <a:cubicBezTo>
                    <a:pt x="0" y="574"/>
                    <a:pt x="13" y="615"/>
                    <a:pt x="13" y="615"/>
                  </a:cubicBezTo>
                  <a:cubicBezTo>
                    <a:pt x="29" y="605"/>
                    <a:pt x="29" y="605"/>
                    <a:pt x="29" y="605"/>
                  </a:cubicBezTo>
                  <a:cubicBezTo>
                    <a:pt x="74" y="609"/>
                    <a:pt x="74" y="609"/>
                    <a:pt x="74" y="609"/>
                  </a:cubicBezTo>
                  <a:cubicBezTo>
                    <a:pt x="74" y="609"/>
                    <a:pt x="36" y="609"/>
                    <a:pt x="33" y="615"/>
                  </a:cubicBezTo>
                  <a:cubicBezTo>
                    <a:pt x="30" y="621"/>
                    <a:pt x="31" y="635"/>
                    <a:pt x="31" y="635"/>
                  </a:cubicBezTo>
                  <a:cubicBezTo>
                    <a:pt x="31" y="635"/>
                    <a:pt x="20" y="620"/>
                    <a:pt x="16" y="626"/>
                  </a:cubicBezTo>
                  <a:cubicBezTo>
                    <a:pt x="12" y="632"/>
                    <a:pt x="2" y="651"/>
                    <a:pt x="7" y="659"/>
                  </a:cubicBezTo>
                  <a:cubicBezTo>
                    <a:pt x="12" y="667"/>
                    <a:pt x="25" y="667"/>
                    <a:pt x="25" y="667"/>
                  </a:cubicBezTo>
                  <a:cubicBezTo>
                    <a:pt x="25" y="667"/>
                    <a:pt x="23" y="688"/>
                    <a:pt x="20" y="688"/>
                  </a:cubicBezTo>
                  <a:cubicBezTo>
                    <a:pt x="17" y="688"/>
                    <a:pt x="7" y="700"/>
                    <a:pt x="7" y="709"/>
                  </a:cubicBezTo>
                  <a:cubicBezTo>
                    <a:pt x="7" y="718"/>
                    <a:pt x="20" y="733"/>
                    <a:pt x="20" y="733"/>
                  </a:cubicBezTo>
                  <a:cubicBezTo>
                    <a:pt x="20" y="733"/>
                    <a:pt x="40" y="763"/>
                    <a:pt x="39" y="770"/>
                  </a:cubicBezTo>
                  <a:cubicBezTo>
                    <a:pt x="38" y="777"/>
                    <a:pt x="16" y="799"/>
                    <a:pt x="28" y="803"/>
                  </a:cubicBezTo>
                  <a:cubicBezTo>
                    <a:pt x="40" y="807"/>
                    <a:pt x="65" y="807"/>
                    <a:pt x="65" y="807"/>
                  </a:cubicBezTo>
                  <a:cubicBezTo>
                    <a:pt x="65" y="807"/>
                    <a:pt x="67" y="828"/>
                    <a:pt x="79" y="828"/>
                  </a:cubicBezTo>
                  <a:cubicBezTo>
                    <a:pt x="91" y="828"/>
                    <a:pt x="108" y="822"/>
                    <a:pt x="108" y="822"/>
                  </a:cubicBezTo>
                  <a:cubicBezTo>
                    <a:pt x="111" y="841"/>
                    <a:pt x="111" y="841"/>
                    <a:pt x="111" y="841"/>
                  </a:cubicBezTo>
                  <a:cubicBezTo>
                    <a:pt x="111" y="841"/>
                    <a:pt x="143" y="852"/>
                    <a:pt x="143" y="867"/>
                  </a:cubicBezTo>
                  <a:cubicBezTo>
                    <a:pt x="143" y="875"/>
                    <a:pt x="140" y="889"/>
                    <a:pt x="138" y="901"/>
                  </a:cubicBezTo>
                  <a:cubicBezTo>
                    <a:pt x="141" y="903"/>
                    <a:pt x="141" y="903"/>
                    <a:pt x="141" y="903"/>
                  </a:cubicBezTo>
                  <a:cubicBezTo>
                    <a:pt x="240" y="899"/>
                    <a:pt x="240" y="899"/>
                    <a:pt x="240" y="899"/>
                  </a:cubicBezTo>
                  <a:cubicBezTo>
                    <a:pt x="230" y="909"/>
                    <a:pt x="240" y="909"/>
                    <a:pt x="240" y="909"/>
                  </a:cubicBezTo>
                  <a:cubicBezTo>
                    <a:pt x="380" y="973"/>
                    <a:pt x="380" y="973"/>
                    <a:pt x="380" y="973"/>
                  </a:cubicBezTo>
                  <a:cubicBezTo>
                    <a:pt x="512" y="971"/>
                    <a:pt x="512" y="971"/>
                    <a:pt x="512" y="971"/>
                  </a:cubicBezTo>
                  <a:cubicBezTo>
                    <a:pt x="512" y="971"/>
                    <a:pt x="512" y="971"/>
                    <a:pt x="516" y="968"/>
                  </a:cubicBezTo>
                  <a:cubicBezTo>
                    <a:pt x="519" y="964"/>
                    <a:pt x="517" y="960"/>
                    <a:pt x="517" y="954"/>
                  </a:cubicBezTo>
                  <a:cubicBezTo>
                    <a:pt x="517" y="948"/>
                    <a:pt x="524" y="944"/>
                    <a:pt x="524" y="944"/>
                  </a:cubicBezTo>
                  <a:cubicBezTo>
                    <a:pt x="597" y="944"/>
                    <a:pt x="597" y="944"/>
                    <a:pt x="597" y="944"/>
                  </a:cubicBezTo>
                  <a:cubicBezTo>
                    <a:pt x="612" y="959"/>
                    <a:pt x="607" y="967"/>
                    <a:pt x="607" y="967"/>
                  </a:cubicBezTo>
                  <a:cubicBezTo>
                    <a:pt x="625" y="975"/>
                    <a:pt x="625" y="975"/>
                    <a:pt x="625" y="975"/>
                  </a:cubicBezTo>
                  <a:cubicBezTo>
                    <a:pt x="631" y="996"/>
                    <a:pt x="631" y="996"/>
                    <a:pt x="631" y="996"/>
                  </a:cubicBezTo>
                  <a:cubicBezTo>
                    <a:pt x="631" y="996"/>
                    <a:pt x="642" y="997"/>
                    <a:pt x="653" y="1008"/>
                  </a:cubicBezTo>
                  <a:cubicBezTo>
                    <a:pt x="663" y="1018"/>
                    <a:pt x="653" y="1060"/>
                    <a:pt x="653" y="1060"/>
                  </a:cubicBezTo>
                  <a:cubicBezTo>
                    <a:pt x="653" y="1060"/>
                    <a:pt x="684" y="1094"/>
                    <a:pt x="703" y="1094"/>
                  </a:cubicBezTo>
                  <a:cubicBezTo>
                    <a:pt x="722" y="1094"/>
                    <a:pt x="735" y="1060"/>
                    <a:pt x="739" y="1056"/>
                  </a:cubicBezTo>
                  <a:cubicBezTo>
                    <a:pt x="743" y="1052"/>
                    <a:pt x="755" y="1053"/>
                    <a:pt x="755" y="1053"/>
                  </a:cubicBezTo>
                  <a:cubicBezTo>
                    <a:pt x="756" y="1047"/>
                    <a:pt x="756" y="1047"/>
                    <a:pt x="756" y="1047"/>
                  </a:cubicBezTo>
                  <a:cubicBezTo>
                    <a:pt x="766" y="1052"/>
                    <a:pt x="766" y="1052"/>
                    <a:pt x="766" y="1052"/>
                  </a:cubicBezTo>
                  <a:cubicBezTo>
                    <a:pt x="795" y="1053"/>
                    <a:pt x="795" y="1053"/>
                    <a:pt x="795" y="1053"/>
                  </a:cubicBezTo>
                  <a:cubicBezTo>
                    <a:pt x="795" y="1053"/>
                    <a:pt x="815" y="1084"/>
                    <a:pt x="823" y="1092"/>
                  </a:cubicBezTo>
                  <a:cubicBezTo>
                    <a:pt x="831" y="1100"/>
                    <a:pt x="823" y="1115"/>
                    <a:pt x="823" y="1124"/>
                  </a:cubicBezTo>
                  <a:cubicBezTo>
                    <a:pt x="823" y="1133"/>
                    <a:pt x="834" y="1140"/>
                    <a:pt x="834" y="1140"/>
                  </a:cubicBezTo>
                  <a:cubicBezTo>
                    <a:pt x="834" y="1140"/>
                    <a:pt x="835" y="1146"/>
                    <a:pt x="835" y="1153"/>
                  </a:cubicBezTo>
                  <a:cubicBezTo>
                    <a:pt x="835" y="1161"/>
                    <a:pt x="844" y="1162"/>
                    <a:pt x="851" y="1169"/>
                  </a:cubicBezTo>
                  <a:cubicBezTo>
                    <a:pt x="858" y="1176"/>
                    <a:pt x="848" y="1179"/>
                    <a:pt x="848" y="1179"/>
                  </a:cubicBezTo>
                  <a:cubicBezTo>
                    <a:pt x="848" y="1206"/>
                    <a:pt x="848" y="1206"/>
                    <a:pt x="848" y="1206"/>
                  </a:cubicBezTo>
                  <a:cubicBezTo>
                    <a:pt x="856" y="1212"/>
                    <a:pt x="856" y="1212"/>
                    <a:pt x="856" y="1212"/>
                  </a:cubicBezTo>
                  <a:cubicBezTo>
                    <a:pt x="856" y="1212"/>
                    <a:pt x="854" y="1220"/>
                    <a:pt x="854" y="1231"/>
                  </a:cubicBezTo>
                  <a:cubicBezTo>
                    <a:pt x="854" y="1242"/>
                    <a:pt x="884" y="1243"/>
                    <a:pt x="884" y="1243"/>
                  </a:cubicBezTo>
                  <a:cubicBezTo>
                    <a:pt x="890" y="1254"/>
                    <a:pt x="890" y="1254"/>
                    <a:pt x="890" y="1254"/>
                  </a:cubicBezTo>
                  <a:cubicBezTo>
                    <a:pt x="890" y="1254"/>
                    <a:pt x="909" y="1254"/>
                    <a:pt x="914" y="1254"/>
                  </a:cubicBezTo>
                  <a:cubicBezTo>
                    <a:pt x="919" y="1254"/>
                    <a:pt x="917" y="1264"/>
                    <a:pt x="928" y="1264"/>
                  </a:cubicBezTo>
                  <a:cubicBezTo>
                    <a:pt x="933" y="1264"/>
                    <a:pt x="937" y="1263"/>
                    <a:pt x="940" y="1262"/>
                  </a:cubicBezTo>
                  <a:cubicBezTo>
                    <a:pt x="930" y="1213"/>
                    <a:pt x="930" y="1213"/>
                    <a:pt x="930" y="1213"/>
                  </a:cubicBezTo>
                  <a:cubicBezTo>
                    <a:pt x="942" y="1202"/>
                    <a:pt x="942" y="1202"/>
                    <a:pt x="942" y="1202"/>
                  </a:cubicBezTo>
                  <a:cubicBezTo>
                    <a:pt x="929" y="1193"/>
                    <a:pt x="929" y="1193"/>
                    <a:pt x="929" y="1193"/>
                  </a:cubicBezTo>
                  <a:cubicBezTo>
                    <a:pt x="929" y="1180"/>
                    <a:pt x="929" y="1180"/>
                    <a:pt x="929" y="1180"/>
                  </a:cubicBezTo>
                  <a:cubicBezTo>
                    <a:pt x="929" y="1180"/>
                    <a:pt x="947" y="1192"/>
                    <a:pt x="950" y="1180"/>
                  </a:cubicBezTo>
                  <a:cubicBezTo>
                    <a:pt x="953" y="1168"/>
                    <a:pt x="950" y="1159"/>
                    <a:pt x="950" y="1159"/>
                  </a:cubicBezTo>
                  <a:cubicBezTo>
                    <a:pt x="966" y="1157"/>
                    <a:pt x="966" y="1157"/>
                    <a:pt x="966" y="1157"/>
                  </a:cubicBezTo>
                  <a:cubicBezTo>
                    <a:pt x="971" y="1139"/>
                    <a:pt x="971" y="1139"/>
                    <a:pt x="971" y="1139"/>
                  </a:cubicBezTo>
                  <a:cubicBezTo>
                    <a:pt x="981" y="1144"/>
                    <a:pt x="981" y="1144"/>
                    <a:pt x="981" y="1144"/>
                  </a:cubicBezTo>
                  <a:cubicBezTo>
                    <a:pt x="994" y="1137"/>
                    <a:pt x="994" y="1137"/>
                    <a:pt x="994" y="1137"/>
                  </a:cubicBezTo>
                  <a:cubicBezTo>
                    <a:pt x="989" y="1121"/>
                    <a:pt x="989" y="1121"/>
                    <a:pt x="989" y="1121"/>
                  </a:cubicBezTo>
                  <a:cubicBezTo>
                    <a:pt x="999" y="1128"/>
                    <a:pt x="999" y="1128"/>
                    <a:pt x="999" y="1128"/>
                  </a:cubicBezTo>
                  <a:cubicBezTo>
                    <a:pt x="999" y="1128"/>
                    <a:pt x="1003" y="1106"/>
                    <a:pt x="1009" y="1110"/>
                  </a:cubicBezTo>
                  <a:cubicBezTo>
                    <a:pt x="1015" y="1114"/>
                    <a:pt x="1016" y="1125"/>
                    <a:pt x="1022" y="1122"/>
                  </a:cubicBezTo>
                  <a:cubicBezTo>
                    <a:pt x="1028" y="1119"/>
                    <a:pt x="1056" y="1111"/>
                    <a:pt x="1064" y="1103"/>
                  </a:cubicBezTo>
                  <a:cubicBezTo>
                    <a:pt x="1072" y="1095"/>
                    <a:pt x="1086" y="1076"/>
                    <a:pt x="1086" y="1076"/>
                  </a:cubicBezTo>
                  <a:cubicBezTo>
                    <a:pt x="1086" y="1076"/>
                    <a:pt x="1078" y="1053"/>
                    <a:pt x="1088" y="1052"/>
                  </a:cubicBezTo>
                  <a:cubicBezTo>
                    <a:pt x="1098" y="1051"/>
                    <a:pt x="1109" y="1075"/>
                    <a:pt x="1121" y="1068"/>
                  </a:cubicBezTo>
                  <a:cubicBezTo>
                    <a:pt x="1133" y="1061"/>
                    <a:pt x="1137" y="1033"/>
                    <a:pt x="1143" y="1040"/>
                  </a:cubicBezTo>
                  <a:cubicBezTo>
                    <a:pt x="1149" y="1047"/>
                    <a:pt x="1152" y="1053"/>
                    <a:pt x="1157" y="1053"/>
                  </a:cubicBezTo>
                  <a:cubicBezTo>
                    <a:pt x="1162" y="1053"/>
                    <a:pt x="1173" y="1037"/>
                    <a:pt x="1173" y="1037"/>
                  </a:cubicBezTo>
                  <a:cubicBezTo>
                    <a:pt x="1173" y="1037"/>
                    <a:pt x="1192" y="1068"/>
                    <a:pt x="1206" y="1066"/>
                  </a:cubicBezTo>
                  <a:cubicBezTo>
                    <a:pt x="1220" y="1064"/>
                    <a:pt x="1222" y="1033"/>
                    <a:pt x="1238" y="1049"/>
                  </a:cubicBezTo>
                  <a:cubicBezTo>
                    <a:pt x="1254" y="1065"/>
                    <a:pt x="1246" y="1083"/>
                    <a:pt x="1256" y="1083"/>
                  </a:cubicBezTo>
                  <a:cubicBezTo>
                    <a:pt x="1266" y="1083"/>
                    <a:pt x="1282" y="1090"/>
                    <a:pt x="1282" y="1090"/>
                  </a:cubicBezTo>
                  <a:cubicBezTo>
                    <a:pt x="1282" y="1090"/>
                    <a:pt x="1281" y="1074"/>
                    <a:pt x="1288" y="1079"/>
                  </a:cubicBezTo>
                  <a:cubicBezTo>
                    <a:pt x="1295" y="1084"/>
                    <a:pt x="1303" y="1103"/>
                    <a:pt x="1308" y="1091"/>
                  </a:cubicBezTo>
                  <a:cubicBezTo>
                    <a:pt x="1313" y="1079"/>
                    <a:pt x="1306" y="1064"/>
                    <a:pt x="1306" y="1064"/>
                  </a:cubicBezTo>
                  <a:cubicBezTo>
                    <a:pt x="1320" y="1069"/>
                    <a:pt x="1320" y="1069"/>
                    <a:pt x="1320" y="1069"/>
                  </a:cubicBezTo>
                  <a:cubicBezTo>
                    <a:pt x="1325" y="1080"/>
                    <a:pt x="1325" y="1080"/>
                    <a:pt x="1325" y="1080"/>
                  </a:cubicBezTo>
                  <a:cubicBezTo>
                    <a:pt x="1335" y="1083"/>
                    <a:pt x="1335" y="1083"/>
                    <a:pt x="1335" y="1083"/>
                  </a:cubicBezTo>
                  <a:cubicBezTo>
                    <a:pt x="1335" y="1092"/>
                    <a:pt x="1335" y="1092"/>
                    <a:pt x="1335" y="1092"/>
                  </a:cubicBezTo>
                  <a:cubicBezTo>
                    <a:pt x="1335" y="1092"/>
                    <a:pt x="1359" y="1099"/>
                    <a:pt x="1354" y="1087"/>
                  </a:cubicBezTo>
                  <a:cubicBezTo>
                    <a:pt x="1349" y="1075"/>
                    <a:pt x="1335" y="1070"/>
                    <a:pt x="1335" y="1070"/>
                  </a:cubicBezTo>
                  <a:cubicBezTo>
                    <a:pt x="1329" y="1060"/>
                    <a:pt x="1329" y="1060"/>
                    <a:pt x="1329" y="1060"/>
                  </a:cubicBezTo>
                  <a:cubicBezTo>
                    <a:pt x="1329" y="1060"/>
                    <a:pt x="1349" y="1057"/>
                    <a:pt x="1347" y="1049"/>
                  </a:cubicBezTo>
                  <a:cubicBezTo>
                    <a:pt x="1345" y="1041"/>
                    <a:pt x="1343" y="1039"/>
                    <a:pt x="1334" y="1040"/>
                  </a:cubicBezTo>
                  <a:cubicBezTo>
                    <a:pt x="1325" y="1041"/>
                    <a:pt x="1298" y="1044"/>
                    <a:pt x="1307" y="1030"/>
                  </a:cubicBezTo>
                  <a:cubicBezTo>
                    <a:pt x="1316" y="1016"/>
                    <a:pt x="1325" y="1027"/>
                    <a:pt x="1336" y="1030"/>
                  </a:cubicBezTo>
                  <a:cubicBezTo>
                    <a:pt x="1347" y="1033"/>
                    <a:pt x="1355" y="1031"/>
                    <a:pt x="1365" y="1024"/>
                  </a:cubicBezTo>
                  <a:cubicBezTo>
                    <a:pt x="1375" y="1017"/>
                    <a:pt x="1386" y="1017"/>
                    <a:pt x="1386" y="1017"/>
                  </a:cubicBezTo>
                  <a:cubicBezTo>
                    <a:pt x="1387" y="1021"/>
                    <a:pt x="1387" y="1021"/>
                    <a:pt x="1387" y="1021"/>
                  </a:cubicBezTo>
                  <a:cubicBezTo>
                    <a:pt x="1387" y="1021"/>
                    <a:pt x="1417" y="1021"/>
                    <a:pt x="1417" y="1014"/>
                  </a:cubicBezTo>
                  <a:cubicBezTo>
                    <a:pt x="1417" y="1007"/>
                    <a:pt x="1423" y="992"/>
                    <a:pt x="1426" y="997"/>
                  </a:cubicBezTo>
                  <a:cubicBezTo>
                    <a:pt x="1429" y="1002"/>
                    <a:pt x="1429" y="1024"/>
                    <a:pt x="1429" y="1024"/>
                  </a:cubicBezTo>
                  <a:cubicBezTo>
                    <a:pt x="1429" y="1024"/>
                    <a:pt x="1462" y="1012"/>
                    <a:pt x="1471" y="1013"/>
                  </a:cubicBezTo>
                  <a:cubicBezTo>
                    <a:pt x="1480" y="1014"/>
                    <a:pt x="1487" y="1024"/>
                    <a:pt x="1487" y="1024"/>
                  </a:cubicBezTo>
                  <a:cubicBezTo>
                    <a:pt x="1487" y="1024"/>
                    <a:pt x="1484" y="1008"/>
                    <a:pt x="1494" y="1012"/>
                  </a:cubicBezTo>
                  <a:cubicBezTo>
                    <a:pt x="1504" y="1016"/>
                    <a:pt x="1504" y="1030"/>
                    <a:pt x="1504" y="1030"/>
                  </a:cubicBezTo>
                  <a:cubicBezTo>
                    <a:pt x="1524" y="1025"/>
                    <a:pt x="1524" y="1025"/>
                    <a:pt x="1524" y="1025"/>
                  </a:cubicBezTo>
                  <a:cubicBezTo>
                    <a:pt x="1520" y="1033"/>
                    <a:pt x="1520" y="1033"/>
                    <a:pt x="1520" y="1033"/>
                  </a:cubicBezTo>
                  <a:cubicBezTo>
                    <a:pt x="1520" y="1033"/>
                    <a:pt x="1521" y="1065"/>
                    <a:pt x="1539" y="1061"/>
                  </a:cubicBezTo>
                  <a:cubicBezTo>
                    <a:pt x="1557" y="1057"/>
                    <a:pt x="1570" y="1031"/>
                    <a:pt x="1588" y="1035"/>
                  </a:cubicBezTo>
                  <a:cubicBezTo>
                    <a:pt x="1606" y="1039"/>
                    <a:pt x="1607" y="1073"/>
                    <a:pt x="1616" y="1079"/>
                  </a:cubicBezTo>
                  <a:cubicBezTo>
                    <a:pt x="1625" y="1085"/>
                    <a:pt x="1643" y="1085"/>
                    <a:pt x="1643" y="1085"/>
                  </a:cubicBezTo>
                  <a:cubicBezTo>
                    <a:pt x="1640" y="1111"/>
                    <a:pt x="1640" y="1111"/>
                    <a:pt x="1640" y="1111"/>
                  </a:cubicBezTo>
                  <a:cubicBezTo>
                    <a:pt x="1640" y="1111"/>
                    <a:pt x="1621" y="1139"/>
                    <a:pt x="1623" y="1147"/>
                  </a:cubicBezTo>
                  <a:cubicBezTo>
                    <a:pt x="1625" y="1155"/>
                    <a:pt x="1635" y="1156"/>
                    <a:pt x="1635" y="1156"/>
                  </a:cubicBezTo>
                  <a:cubicBezTo>
                    <a:pt x="1640" y="1166"/>
                    <a:pt x="1640" y="1166"/>
                    <a:pt x="1640" y="1166"/>
                  </a:cubicBezTo>
                  <a:cubicBezTo>
                    <a:pt x="1621" y="1179"/>
                    <a:pt x="1621" y="1179"/>
                    <a:pt x="1621" y="1179"/>
                  </a:cubicBezTo>
                  <a:cubicBezTo>
                    <a:pt x="1634" y="1212"/>
                    <a:pt x="1634" y="1212"/>
                    <a:pt x="1634" y="1212"/>
                  </a:cubicBezTo>
                  <a:cubicBezTo>
                    <a:pt x="1634" y="1212"/>
                    <a:pt x="1649" y="1193"/>
                    <a:pt x="1650" y="1199"/>
                  </a:cubicBezTo>
                  <a:cubicBezTo>
                    <a:pt x="1651" y="1205"/>
                    <a:pt x="1639" y="1230"/>
                    <a:pt x="1639" y="1230"/>
                  </a:cubicBezTo>
                  <a:cubicBezTo>
                    <a:pt x="1649" y="1227"/>
                    <a:pt x="1649" y="1227"/>
                    <a:pt x="1649" y="1227"/>
                  </a:cubicBezTo>
                  <a:cubicBezTo>
                    <a:pt x="1652" y="1259"/>
                    <a:pt x="1652" y="1259"/>
                    <a:pt x="1652" y="1259"/>
                  </a:cubicBezTo>
                  <a:cubicBezTo>
                    <a:pt x="1652" y="1259"/>
                    <a:pt x="1669" y="1259"/>
                    <a:pt x="1669" y="1265"/>
                  </a:cubicBezTo>
                  <a:cubicBezTo>
                    <a:pt x="1669" y="1271"/>
                    <a:pt x="1666" y="1287"/>
                    <a:pt x="1666" y="1287"/>
                  </a:cubicBezTo>
                  <a:cubicBezTo>
                    <a:pt x="1681" y="1304"/>
                    <a:pt x="1681" y="1304"/>
                    <a:pt x="1681" y="1304"/>
                  </a:cubicBezTo>
                  <a:cubicBezTo>
                    <a:pt x="1681" y="1304"/>
                    <a:pt x="1705" y="1298"/>
                    <a:pt x="1707" y="1291"/>
                  </a:cubicBezTo>
                  <a:cubicBezTo>
                    <a:pt x="1709" y="1284"/>
                    <a:pt x="1711" y="1271"/>
                    <a:pt x="1711" y="1271"/>
                  </a:cubicBezTo>
                  <a:cubicBezTo>
                    <a:pt x="1723" y="1271"/>
                    <a:pt x="1723" y="1271"/>
                    <a:pt x="1723" y="1271"/>
                  </a:cubicBezTo>
                  <a:cubicBezTo>
                    <a:pt x="1723" y="1271"/>
                    <a:pt x="1722" y="1250"/>
                    <a:pt x="1729" y="1240"/>
                  </a:cubicBezTo>
                  <a:cubicBezTo>
                    <a:pt x="1736" y="1230"/>
                    <a:pt x="1740" y="1213"/>
                    <a:pt x="1737" y="1203"/>
                  </a:cubicBezTo>
                  <a:cubicBezTo>
                    <a:pt x="1734" y="1193"/>
                    <a:pt x="1724" y="1160"/>
                    <a:pt x="1724" y="1151"/>
                  </a:cubicBezTo>
                  <a:cubicBezTo>
                    <a:pt x="1724" y="1142"/>
                    <a:pt x="1730" y="1128"/>
                    <a:pt x="1730" y="1112"/>
                  </a:cubicBezTo>
                  <a:cubicBezTo>
                    <a:pt x="1730" y="1096"/>
                    <a:pt x="1710" y="1070"/>
                    <a:pt x="1714" y="1056"/>
                  </a:cubicBezTo>
                  <a:cubicBezTo>
                    <a:pt x="1718" y="1042"/>
                    <a:pt x="1710" y="1002"/>
                    <a:pt x="1722" y="987"/>
                  </a:cubicBezTo>
                  <a:cubicBezTo>
                    <a:pt x="1734" y="972"/>
                    <a:pt x="1742" y="948"/>
                    <a:pt x="1742" y="948"/>
                  </a:cubicBezTo>
                  <a:cubicBezTo>
                    <a:pt x="1752" y="942"/>
                    <a:pt x="1752" y="942"/>
                    <a:pt x="1752" y="942"/>
                  </a:cubicBezTo>
                  <a:cubicBezTo>
                    <a:pt x="1765" y="929"/>
                    <a:pt x="1765" y="929"/>
                    <a:pt x="1765" y="929"/>
                  </a:cubicBezTo>
                  <a:cubicBezTo>
                    <a:pt x="1771" y="913"/>
                    <a:pt x="1771" y="913"/>
                    <a:pt x="1771" y="913"/>
                  </a:cubicBezTo>
                  <a:cubicBezTo>
                    <a:pt x="1780" y="919"/>
                    <a:pt x="1780" y="919"/>
                    <a:pt x="1780" y="919"/>
                  </a:cubicBezTo>
                  <a:cubicBezTo>
                    <a:pt x="1783" y="905"/>
                    <a:pt x="1783" y="905"/>
                    <a:pt x="1783" y="905"/>
                  </a:cubicBezTo>
                  <a:cubicBezTo>
                    <a:pt x="1783" y="905"/>
                    <a:pt x="1813" y="909"/>
                    <a:pt x="1818" y="903"/>
                  </a:cubicBezTo>
                  <a:cubicBezTo>
                    <a:pt x="1823" y="897"/>
                    <a:pt x="1819" y="886"/>
                    <a:pt x="1819" y="886"/>
                  </a:cubicBezTo>
                  <a:cubicBezTo>
                    <a:pt x="1832" y="887"/>
                    <a:pt x="1832" y="887"/>
                    <a:pt x="1832" y="887"/>
                  </a:cubicBezTo>
                  <a:cubicBezTo>
                    <a:pt x="1836" y="881"/>
                    <a:pt x="1836" y="881"/>
                    <a:pt x="1836" y="881"/>
                  </a:cubicBezTo>
                  <a:cubicBezTo>
                    <a:pt x="1847" y="880"/>
                    <a:pt x="1847" y="880"/>
                    <a:pt x="1847" y="880"/>
                  </a:cubicBezTo>
                  <a:cubicBezTo>
                    <a:pt x="1864" y="859"/>
                    <a:pt x="1864" y="859"/>
                    <a:pt x="1864" y="859"/>
                  </a:cubicBezTo>
                  <a:cubicBezTo>
                    <a:pt x="1864" y="859"/>
                    <a:pt x="1868" y="839"/>
                    <a:pt x="1887" y="834"/>
                  </a:cubicBezTo>
                  <a:cubicBezTo>
                    <a:pt x="1906" y="829"/>
                    <a:pt x="1917" y="840"/>
                    <a:pt x="1926" y="831"/>
                  </a:cubicBezTo>
                  <a:cubicBezTo>
                    <a:pt x="1935" y="822"/>
                    <a:pt x="1941" y="805"/>
                    <a:pt x="1941" y="805"/>
                  </a:cubicBezTo>
                  <a:cubicBezTo>
                    <a:pt x="1951" y="807"/>
                    <a:pt x="1951" y="807"/>
                    <a:pt x="1951" y="807"/>
                  </a:cubicBezTo>
                  <a:cubicBezTo>
                    <a:pt x="1956" y="792"/>
                    <a:pt x="1956" y="792"/>
                    <a:pt x="1956" y="792"/>
                  </a:cubicBezTo>
                  <a:cubicBezTo>
                    <a:pt x="2010" y="789"/>
                    <a:pt x="2010" y="789"/>
                    <a:pt x="2010" y="789"/>
                  </a:cubicBezTo>
                  <a:cubicBezTo>
                    <a:pt x="2013" y="773"/>
                    <a:pt x="2013" y="773"/>
                    <a:pt x="2013" y="773"/>
                  </a:cubicBezTo>
                  <a:cubicBezTo>
                    <a:pt x="1988" y="775"/>
                    <a:pt x="1988" y="775"/>
                    <a:pt x="1988" y="775"/>
                  </a:cubicBezTo>
                  <a:cubicBezTo>
                    <a:pt x="1988" y="775"/>
                    <a:pt x="2002" y="770"/>
                    <a:pt x="2001" y="763"/>
                  </a:cubicBezTo>
                  <a:cubicBezTo>
                    <a:pt x="2000" y="756"/>
                    <a:pt x="1990" y="749"/>
                    <a:pt x="1990" y="749"/>
                  </a:cubicBezTo>
                  <a:cubicBezTo>
                    <a:pt x="2013" y="745"/>
                    <a:pt x="2013" y="745"/>
                    <a:pt x="2013" y="745"/>
                  </a:cubicBezTo>
                  <a:cubicBezTo>
                    <a:pt x="2029" y="751"/>
                    <a:pt x="2029" y="751"/>
                    <a:pt x="2029" y="751"/>
                  </a:cubicBezTo>
                  <a:cubicBezTo>
                    <a:pt x="2052" y="727"/>
                    <a:pt x="2052" y="727"/>
                    <a:pt x="2052" y="727"/>
                  </a:cubicBezTo>
                  <a:cubicBezTo>
                    <a:pt x="2015" y="726"/>
                    <a:pt x="2015" y="726"/>
                    <a:pt x="2015" y="726"/>
                  </a:cubicBezTo>
                  <a:cubicBezTo>
                    <a:pt x="2013" y="709"/>
                    <a:pt x="2013" y="709"/>
                    <a:pt x="2013" y="709"/>
                  </a:cubicBezTo>
                  <a:cubicBezTo>
                    <a:pt x="2022" y="718"/>
                    <a:pt x="2022" y="718"/>
                    <a:pt x="2022" y="718"/>
                  </a:cubicBezTo>
                  <a:cubicBezTo>
                    <a:pt x="2052" y="707"/>
                    <a:pt x="2052" y="707"/>
                    <a:pt x="2052" y="707"/>
                  </a:cubicBezTo>
                  <a:cubicBezTo>
                    <a:pt x="2055" y="668"/>
                    <a:pt x="2055" y="668"/>
                    <a:pt x="2055" y="668"/>
                  </a:cubicBezTo>
                  <a:cubicBezTo>
                    <a:pt x="2036" y="676"/>
                    <a:pt x="2036" y="676"/>
                    <a:pt x="2036" y="676"/>
                  </a:cubicBezTo>
                  <a:cubicBezTo>
                    <a:pt x="2032" y="658"/>
                    <a:pt x="2032" y="658"/>
                    <a:pt x="2032" y="658"/>
                  </a:cubicBezTo>
                  <a:cubicBezTo>
                    <a:pt x="2016" y="647"/>
                    <a:pt x="2016" y="647"/>
                    <a:pt x="2016" y="647"/>
                  </a:cubicBezTo>
                  <a:cubicBezTo>
                    <a:pt x="2045" y="662"/>
                    <a:pt x="2045" y="662"/>
                    <a:pt x="2045" y="662"/>
                  </a:cubicBezTo>
                  <a:cubicBezTo>
                    <a:pt x="2052" y="656"/>
                    <a:pt x="2052" y="656"/>
                    <a:pt x="2052" y="656"/>
                  </a:cubicBezTo>
                  <a:cubicBezTo>
                    <a:pt x="2039" y="646"/>
                    <a:pt x="2039" y="646"/>
                    <a:pt x="2039" y="646"/>
                  </a:cubicBezTo>
                  <a:cubicBezTo>
                    <a:pt x="2057" y="646"/>
                    <a:pt x="2057" y="646"/>
                    <a:pt x="2057" y="646"/>
                  </a:cubicBezTo>
                  <a:cubicBezTo>
                    <a:pt x="2057" y="646"/>
                    <a:pt x="2035" y="617"/>
                    <a:pt x="2035" y="610"/>
                  </a:cubicBezTo>
                  <a:cubicBezTo>
                    <a:pt x="2035" y="603"/>
                    <a:pt x="2040" y="600"/>
                    <a:pt x="2040" y="600"/>
                  </a:cubicBezTo>
                  <a:cubicBezTo>
                    <a:pt x="2040" y="600"/>
                    <a:pt x="2023" y="589"/>
                    <a:pt x="2025" y="586"/>
                  </a:cubicBezTo>
                  <a:cubicBezTo>
                    <a:pt x="2027" y="583"/>
                    <a:pt x="2046" y="571"/>
                    <a:pt x="2046" y="571"/>
                  </a:cubicBezTo>
                  <a:cubicBezTo>
                    <a:pt x="2041" y="589"/>
                    <a:pt x="2041" y="589"/>
                    <a:pt x="2041" y="589"/>
                  </a:cubicBezTo>
                  <a:cubicBezTo>
                    <a:pt x="2062" y="606"/>
                    <a:pt x="2062" y="606"/>
                    <a:pt x="2062" y="606"/>
                  </a:cubicBezTo>
                  <a:cubicBezTo>
                    <a:pt x="2062" y="606"/>
                    <a:pt x="2070" y="582"/>
                    <a:pt x="2070" y="569"/>
                  </a:cubicBezTo>
                  <a:cubicBezTo>
                    <a:pt x="2070" y="556"/>
                    <a:pt x="2108" y="525"/>
                    <a:pt x="2107" y="533"/>
                  </a:cubicBezTo>
                  <a:cubicBezTo>
                    <a:pt x="2106" y="541"/>
                    <a:pt x="2083" y="574"/>
                    <a:pt x="2083" y="574"/>
                  </a:cubicBezTo>
                  <a:cubicBezTo>
                    <a:pt x="2077" y="596"/>
                    <a:pt x="2077" y="596"/>
                    <a:pt x="2077" y="596"/>
                  </a:cubicBezTo>
                  <a:cubicBezTo>
                    <a:pt x="2090" y="597"/>
                    <a:pt x="2090" y="597"/>
                    <a:pt x="2090" y="597"/>
                  </a:cubicBezTo>
                  <a:cubicBezTo>
                    <a:pt x="2090" y="597"/>
                    <a:pt x="2087" y="619"/>
                    <a:pt x="2082" y="623"/>
                  </a:cubicBezTo>
                  <a:cubicBezTo>
                    <a:pt x="2077" y="627"/>
                    <a:pt x="2059" y="661"/>
                    <a:pt x="2066" y="661"/>
                  </a:cubicBezTo>
                  <a:cubicBezTo>
                    <a:pt x="2073" y="661"/>
                    <a:pt x="2083" y="637"/>
                    <a:pt x="2089" y="632"/>
                  </a:cubicBezTo>
                  <a:cubicBezTo>
                    <a:pt x="2095" y="627"/>
                    <a:pt x="2125" y="611"/>
                    <a:pt x="2127" y="598"/>
                  </a:cubicBezTo>
                  <a:cubicBezTo>
                    <a:pt x="2129" y="585"/>
                    <a:pt x="2125" y="564"/>
                    <a:pt x="2125" y="553"/>
                  </a:cubicBezTo>
                  <a:cubicBezTo>
                    <a:pt x="2125" y="542"/>
                    <a:pt x="2129" y="516"/>
                    <a:pt x="2136" y="513"/>
                  </a:cubicBezTo>
                  <a:cubicBezTo>
                    <a:pt x="2143" y="510"/>
                    <a:pt x="2138" y="515"/>
                    <a:pt x="2135" y="528"/>
                  </a:cubicBezTo>
                  <a:cubicBezTo>
                    <a:pt x="2132" y="541"/>
                    <a:pt x="2144" y="545"/>
                    <a:pt x="2144" y="545"/>
                  </a:cubicBezTo>
                  <a:cubicBezTo>
                    <a:pt x="2144" y="545"/>
                    <a:pt x="2138" y="570"/>
                    <a:pt x="2141" y="570"/>
                  </a:cubicBezTo>
                  <a:cubicBezTo>
                    <a:pt x="2144" y="570"/>
                    <a:pt x="2175" y="531"/>
                    <a:pt x="2185" y="521"/>
                  </a:cubicBezTo>
                  <a:cubicBezTo>
                    <a:pt x="2195" y="511"/>
                    <a:pt x="2217" y="495"/>
                    <a:pt x="2214" y="491"/>
                  </a:cubicBezTo>
                  <a:cubicBezTo>
                    <a:pt x="2211" y="487"/>
                    <a:pt x="2202" y="490"/>
                    <a:pt x="2202" y="480"/>
                  </a:cubicBezTo>
                  <a:cubicBezTo>
                    <a:pt x="2202" y="470"/>
                    <a:pt x="2220" y="475"/>
                    <a:pt x="2240" y="475"/>
                  </a:cubicBezTo>
                  <a:cubicBezTo>
                    <a:pt x="2260" y="475"/>
                    <a:pt x="2306" y="453"/>
                    <a:pt x="2306" y="453"/>
                  </a:cubicBezTo>
                  <a:cubicBezTo>
                    <a:pt x="2293" y="447"/>
                    <a:pt x="2293" y="447"/>
                    <a:pt x="2293" y="447"/>
                  </a:cubicBezTo>
                  <a:cubicBezTo>
                    <a:pt x="2293" y="447"/>
                    <a:pt x="2269" y="458"/>
                    <a:pt x="2257" y="459"/>
                  </a:cubicBezTo>
                  <a:cubicBezTo>
                    <a:pt x="2245" y="460"/>
                    <a:pt x="2225" y="468"/>
                    <a:pt x="2228" y="455"/>
                  </a:cubicBezTo>
                  <a:cubicBezTo>
                    <a:pt x="2231" y="442"/>
                    <a:pt x="2266" y="439"/>
                    <a:pt x="2266" y="439"/>
                  </a:cubicBezTo>
                  <a:cubicBezTo>
                    <a:pt x="2326" y="438"/>
                    <a:pt x="2326" y="438"/>
                    <a:pt x="2326" y="438"/>
                  </a:cubicBezTo>
                  <a:cubicBezTo>
                    <a:pt x="2355" y="411"/>
                    <a:pt x="2355" y="411"/>
                    <a:pt x="2355" y="411"/>
                  </a:cubicBezTo>
                  <a:cubicBezTo>
                    <a:pt x="2361" y="421"/>
                    <a:pt x="2361" y="421"/>
                    <a:pt x="2361" y="421"/>
                  </a:cubicBezTo>
                  <a:cubicBezTo>
                    <a:pt x="2379" y="412"/>
                    <a:pt x="2379" y="412"/>
                    <a:pt x="2379" y="412"/>
                  </a:cubicBezTo>
                  <a:cubicBezTo>
                    <a:pt x="2377" y="435"/>
                    <a:pt x="2377" y="435"/>
                    <a:pt x="2377" y="435"/>
                  </a:cubicBezTo>
                  <a:cubicBezTo>
                    <a:pt x="2397" y="422"/>
                    <a:pt x="2397" y="422"/>
                    <a:pt x="2397" y="422"/>
                  </a:cubicBezTo>
                  <a:cubicBezTo>
                    <a:pt x="2413" y="418"/>
                    <a:pt x="2413" y="418"/>
                    <a:pt x="2413" y="418"/>
                  </a:cubicBezTo>
                  <a:cubicBezTo>
                    <a:pt x="2418" y="396"/>
                    <a:pt x="2418" y="396"/>
                    <a:pt x="2418" y="396"/>
                  </a:cubicBezTo>
                  <a:cubicBezTo>
                    <a:pt x="2409" y="388"/>
                    <a:pt x="2409" y="388"/>
                    <a:pt x="2409" y="388"/>
                  </a:cubicBezTo>
                  <a:cubicBezTo>
                    <a:pt x="2407" y="407"/>
                    <a:pt x="2407" y="407"/>
                    <a:pt x="2407" y="407"/>
                  </a:cubicBezTo>
                  <a:cubicBezTo>
                    <a:pt x="2391" y="410"/>
                    <a:pt x="2391" y="410"/>
                    <a:pt x="2391" y="410"/>
                  </a:cubicBezTo>
                  <a:cubicBezTo>
                    <a:pt x="2391" y="391"/>
                    <a:pt x="2391" y="391"/>
                    <a:pt x="2391" y="391"/>
                  </a:cubicBezTo>
                  <a:cubicBezTo>
                    <a:pt x="2378" y="377"/>
                    <a:pt x="2378" y="377"/>
                    <a:pt x="2378" y="377"/>
                  </a:cubicBezTo>
                  <a:cubicBezTo>
                    <a:pt x="2394" y="369"/>
                    <a:pt x="2394" y="369"/>
                    <a:pt x="2394" y="369"/>
                  </a:cubicBezTo>
                  <a:cubicBezTo>
                    <a:pt x="2398" y="346"/>
                    <a:pt x="2398" y="346"/>
                    <a:pt x="2398" y="346"/>
                  </a:cubicBezTo>
                  <a:cubicBezTo>
                    <a:pt x="2398" y="346"/>
                    <a:pt x="2413" y="329"/>
                    <a:pt x="2423" y="324"/>
                  </a:cubicBezTo>
                  <a:cubicBezTo>
                    <a:pt x="2433" y="319"/>
                    <a:pt x="2438" y="301"/>
                    <a:pt x="2438" y="301"/>
                  </a:cubicBezTo>
                  <a:cubicBezTo>
                    <a:pt x="2457" y="306"/>
                    <a:pt x="2457" y="306"/>
                    <a:pt x="2457" y="306"/>
                  </a:cubicBezTo>
                  <a:cubicBezTo>
                    <a:pt x="2467" y="291"/>
                    <a:pt x="2467" y="291"/>
                    <a:pt x="2467" y="291"/>
                  </a:cubicBezTo>
                  <a:cubicBezTo>
                    <a:pt x="2467" y="291"/>
                    <a:pt x="2470" y="302"/>
                    <a:pt x="2479" y="296"/>
                  </a:cubicBezTo>
                  <a:cubicBezTo>
                    <a:pt x="2488" y="290"/>
                    <a:pt x="2515" y="266"/>
                    <a:pt x="2515" y="266"/>
                  </a:cubicBezTo>
                  <a:cubicBezTo>
                    <a:pt x="2516" y="284"/>
                    <a:pt x="2516" y="284"/>
                    <a:pt x="2516" y="284"/>
                  </a:cubicBezTo>
                  <a:cubicBezTo>
                    <a:pt x="2516" y="284"/>
                    <a:pt x="2547" y="265"/>
                    <a:pt x="2556" y="260"/>
                  </a:cubicBezTo>
                  <a:cubicBezTo>
                    <a:pt x="2565" y="255"/>
                    <a:pt x="2597" y="254"/>
                    <a:pt x="2597" y="254"/>
                  </a:cubicBezTo>
                  <a:cubicBezTo>
                    <a:pt x="2597" y="232"/>
                    <a:pt x="2597" y="232"/>
                    <a:pt x="2597" y="232"/>
                  </a:cubicBezTo>
                  <a:cubicBezTo>
                    <a:pt x="2597" y="232"/>
                    <a:pt x="2598" y="232"/>
                    <a:pt x="2598" y="233"/>
                  </a:cubicBezTo>
                  <a:cubicBezTo>
                    <a:pt x="2597" y="229"/>
                    <a:pt x="2597" y="229"/>
                    <a:pt x="2597" y="229"/>
                  </a:cubicBezTo>
                  <a:cubicBezTo>
                    <a:pt x="2597" y="229"/>
                    <a:pt x="2589" y="232"/>
                    <a:pt x="2584" y="227"/>
                  </a:cubicBezTo>
                  <a:cubicBezTo>
                    <a:pt x="2579" y="222"/>
                    <a:pt x="2593" y="209"/>
                    <a:pt x="2593" y="209"/>
                  </a:cubicBezTo>
                  <a:cubicBezTo>
                    <a:pt x="2593" y="209"/>
                    <a:pt x="2585" y="205"/>
                    <a:pt x="2582" y="202"/>
                  </a:cubicBezTo>
                  <a:cubicBezTo>
                    <a:pt x="2579" y="199"/>
                    <a:pt x="2609" y="142"/>
                    <a:pt x="2609" y="125"/>
                  </a:cubicBezTo>
                  <a:cubicBezTo>
                    <a:pt x="2609" y="108"/>
                    <a:pt x="2582" y="119"/>
                    <a:pt x="2570" y="119"/>
                  </a:cubicBezTo>
                  <a:close/>
                  <a:moveTo>
                    <a:pt x="1811" y="252"/>
                  </a:moveTo>
                  <a:cubicBezTo>
                    <a:pt x="1797" y="252"/>
                    <a:pt x="1817" y="235"/>
                    <a:pt x="1810" y="232"/>
                  </a:cubicBezTo>
                  <a:cubicBezTo>
                    <a:pt x="1803" y="229"/>
                    <a:pt x="1793" y="242"/>
                    <a:pt x="1793" y="242"/>
                  </a:cubicBezTo>
                  <a:cubicBezTo>
                    <a:pt x="1788" y="244"/>
                    <a:pt x="1788" y="244"/>
                    <a:pt x="1788" y="244"/>
                  </a:cubicBezTo>
                  <a:cubicBezTo>
                    <a:pt x="1784" y="255"/>
                    <a:pt x="1784" y="255"/>
                    <a:pt x="1784" y="255"/>
                  </a:cubicBezTo>
                  <a:cubicBezTo>
                    <a:pt x="1773" y="251"/>
                    <a:pt x="1773" y="251"/>
                    <a:pt x="1773" y="251"/>
                  </a:cubicBezTo>
                  <a:cubicBezTo>
                    <a:pt x="1773" y="251"/>
                    <a:pt x="1773" y="262"/>
                    <a:pt x="1770" y="269"/>
                  </a:cubicBezTo>
                  <a:cubicBezTo>
                    <a:pt x="1767" y="276"/>
                    <a:pt x="1757" y="279"/>
                    <a:pt x="1752" y="284"/>
                  </a:cubicBezTo>
                  <a:cubicBezTo>
                    <a:pt x="1747" y="289"/>
                    <a:pt x="1753" y="297"/>
                    <a:pt x="1753" y="297"/>
                  </a:cubicBezTo>
                  <a:cubicBezTo>
                    <a:pt x="1753" y="297"/>
                    <a:pt x="1749" y="297"/>
                    <a:pt x="1736" y="311"/>
                  </a:cubicBezTo>
                  <a:cubicBezTo>
                    <a:pt x="1723" y="325"/>
                    <a:pt x="1741" y="325"/>
                    <a:pt x="1741" y="333"/>
                  </a:cubicBezTo>
                  <a:cubicBezTo>
                    <a:pt x="1741" y="341"/>
                    <a:pt x="1734" y="342"/>
                    <a:pt x="1734" y="342"/>
                  </a:cubicBezTo>
                  <a:cubicBezTo>
                    <a:pt x="1734" y="342"/>
                    <a:pt x="1742" y="346"/>
                    <a:pt x="1719" y="378"/>
                  </a:cubicBezTo>
                  <a:cubicBezTo>
                    <a:pt x="1696" y="410"/>
                    <a:pt x="1651" y="420"/>
                    <a:pt x="1651" y="420"/>
                  </a:cubicBezTo>
                  <a:cubicBezTo>
                    <a:pt x="1654" y="400"/>
                    <a:pt x="1654" y="400"/>
                    <a:pt x="1654" y="400"/>
                  </a:cubicBezTo>
                  <a:cubicBezTo>
                    <a:pt x="1654" y="400"/>
                    <a:pt x="1650" y="393"/>
                    <a:pt x="1648" y="389"/>
                  </a:cubicBezTo>
                  <a:cubicBezTo>
                    <a:pt x="1646" y="385"/>
                    <a:pt x="1663" y="365"/>
                    <a:pt x="1665" y="358"/>
                  </a:cubicBezTo>
                  <a:cubicBezTo>
                    <a:pt x="1667" y="351"/>
                    <a:pt x="1661" y="350"/>
                    <a:pt x="1663" y="338"/>
                  </a:cubicBezTo>
                  <a:cubicBezTo>
                    <a:pt x="1665" y="326"/>
                    <a:pt x="1687" y="307"/>
                    <a:pt x="1687" y="307"/>
                  </a:cubicBezTo>
                  <a:cubicBezTo>
                    <a:pt x="1687" y="298"/>
                    <a:pt x="1687" y="298"/>
                    <a:pt x="1687" y="298"/>
                  </a:cubicBezTo>
                  <a:cubicBezTo>
                    <a:pt x="1687" y="298"/>
                    <a:pt x="1708" y="283"/>
                    <a:pt x="1711" y="277"/>
                  </a:cubicBezTo>
                  <a:cubicBezTo>
                    <a:pt x="1714" y="271"/>
                    <a:pt x="1746" y="240"/>
                    <a:pt x="1746" y="240"/>
                  </a:cubicBezTo>
                  <a:cubicBezTo>
                    <a:pt x="1725" y="246"/>
                    <a:pt x="1725" y="246"/>
                    <a:pt x="1725" y="246"/>
                  </a:cubicBezTo>
                  <a:cubicBezTo>
                    <a:pt x="1725" y="246"/>
                    <a:pt x="1702" y="265"/>
                    <a:pt x="1698" y="260"/>
                  </a:cubicBezTo>
                  <a:cubicBezTo>
                    <a:pt x="1694" y="255"/>
                    <a:pt x="1734" y="231"/>
                    <a:pt x="1739" y="223"/>
                  </a:cubicBezTo>
                  <a:cubicBezTo>
                    <a:pt x="1744" y="215"/>
                    <a:pt x="1772" y="194"/>
                    <a:pt x="1772" y="194"/>
                  </a:cubicBezTo>
                  <a:cubicBezTo>
                    <a:pt x="1777" y="200"/>
                    <a:pt x="1777" y="200"/>
                    <a:pt x="1777" y="200"/>
                  </a:cubicBezTo>
                  <a:cubicBezTo>
                    <a:pt x="1787" y="194"/>
                    <a:pt x="1787" y="194"/>
                    <a:pt x="1787" y="194"/>
                  </a:cubicBezTo>
                  <a:cubicBezTo>
                    <a:pt x="1787" y="194"/>
                    <a:pt x="1782" y="203"/>
                    <a:pt x="1792" y="202"/>
                  </a:cubicBezTo>
                  <a:cubicBezTo>
                    <a:pt x="1802" y="201"/>
                    <a:pt x="1799" y="187"/>
                    <a:pt x="1799" y="187"/>
                  </a:cubicBezTo>
                  <a:cubicBezTo>
                    <a:pt x="1815" y="192"/>
                    <a:pt x="1815" y="192"/>
                    <a:pt x="1815" y="192"/>
                  </a:cubicBezTo>
                  <a:cubicBezTo>
                    <a:pt x="1815" y="192"/>
                    <a:pt x="1837" y="181"/>
                    <a:pt x="1847" y="184"/>
                  </a:cubicBezTo>
                  <a:cubicBezTo>
                    <a:pt x="1857" y="187"/>
                    <a:pt x="1862" y="199"/>
                    <a:pt x="1862" y="199"/>
                  </a:cubicBezTo>
                  <a:cubicBezTo>
                    <a:pt x="1845" y="205"/>
                    <a:pt x="1845" y="205"/>
                    <a:pt x="1845" y="205"/>
                  </a:cubicBezTo>
                  <a:cubicBezTo>
                    <a:pt x="1847" y="222"/>
                    <a:pt x="1847" y="222"/>
                    <a:pt x="1847" y="222"/>
                  </a:cubicBezTo>
                  <a:cubicBezTo>
                    <a:pt x="1847" y="222"/>
                    <a:pt x="1835" y="220"/>
                    <a:pt x="1828" y="220"/>
                  </a:cubicBezTo>
                  <a:cubicBezTo>
                    <a:pt x="1821" y="220"/>
                    <a:pt x="1824" y="237"/>
                    <a:pt x="1824" y="237"/>
                  </a:cubicBezTo>
                  <a:cubicBezTo>
                    <a:pt x="1824" y="237"/>
                    <a:pt x="1825" y="252"/>
                    <a:pt x="1811" y="252"/>
                  </a:cubicBezTo>
                  <a:close/>
                </a:path>
              </a:pathLst>
            </a:custGeom>
            <a:grpFill/>
            <a:ln w="0" cap="flat">
              <a:solidFill>
                <a:srgbClr val="FFFFFF"/>
              </a:solidFill>
              <a:prstDash val="solid"/>
              <a:miter lim="800000"/>
              <a:headEnd/>
              <a:tailEnd/>
            </a:ln>
          </p:spPr>
          <p:txBody>
            <a:bodyPr/>
            <a:lstStyle/>
            <a:p>
              <a:pPr algn="ctr" fontAlgn="auto">
                <a:spcBef>
                  <a:spcPts val="0"/>
                </a:spcBef>
                <a:spcAft>
                  <a:spcPts val="0"/>
                </a:spcAft>
                <a:defRPr/>
              </a:pPr>
              <a:endParaRPr lang="en-GB" dirty="0">
                <a:latin typeface="+mn-lt"/>
                <a:cs typeface="+mn-cs"/>
              </a:endParaRPr>
            </a:p>
          </p:txBody>
        </p:sp>
      </p:grpSp>
      <p:sp>
        <p:nvSpPr>
          <p:cNvPr id="9" name="TextBox 8"/>
          <p:cNvSpPr txBox="1"/>
          <p:nvPr/>
        </p:nvSpPr>
        <p:spPr>
          <a:xfrm>
            <a:off x="7143750" y="4886325"/>
            <a:ext cx="1738313" cy="1323975"/>
          </a:xfrm>
          <a:prstGeom prst="rect">
            <a:avLst/>
          </a:prstGeom>
          <a:noFill/>
        </p:spPr>
        <p:txBody>
          <a:bodyPr>
            <a:spAutoFit/>
          </a:bodyPr>
          <a:lstStyle/>
          <a:p>
            <a:pPr>
              <a:spcBef>
                <a:spcPts val="300"/>
              </a:spcBef>
              <a:spcAft>
                <a:spcPts val="300"/>
              </a:spcAft>
              <a:defRPr/>
            </a:pPr>
            <a:r>
              <a:rPr lang="en-US" sz="1600" b="1" kern="0" dirty="0">
                <a:solidFill>
                  <a:srgbClr val="676767"/>
                </a:solidFill>
                <a:latin typeface="Arial"/>
              </a:rPr>
              <a:t>Similar issues raised  elsewhere e.g. Canada, EU, Brazil</a:t>
            </a:r>
          </a:p>
        </p:txBody>
      </p:sp>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2"/>
          <p:cNvSpPr>
            <a:spLocks noGrp="1"/>
          </p:cNvSpPr>
          <p:nvPr>
            <p:ph type="title"/>
          </p:nvPr>
        </p:nvSpPr>
        <p:spPr>
          <a:xfrm>
            <a:off x="455613" y="554038"/>
            <a:ext cx="7069137" cy="801687"/>
          </a:xfrm>
        </p:spPr>
        <p:txBody>
          <a:bodyPr/>
          <a:lstStyle/>
          <a:p>
            <a:pPr fontAlgn="auto">
              <a:spcAft>
                <a:spcPts val="0"/>
              </a:spcAft>
              <a:defRPr/>
            </a:pPr>
            <a:r>
              <a:rPr lang="en-US" sz="3200" dirty="0" smtClean="0">
                <a:ea typeface="ＭＳ Ｐゴシック" pitchFamily="34" charset="-128"/>
              </a:rPr>
              <a:t>Fact or Fiction?</a:t>
            </a:r>
          </a:p>
        </p:txBody>
      </p:sp>
      <p:sp>
        <p:nvSpPr>
          <p:cNvPr id="66562" name="Foliennummernplatzhalter 4"/>
          <p:cNvSpPr>
            <a:spLocks noGrp="1"/>
          </p:cNvSpPr>
          <p:nvPr>
            <p:ph type="sldNum" sz="quarter" idx="12"/>
          </p:nvPr>
        </p:nvSpPr>
        <p:spPr bwMode="auto">
          <a:xfrm>
            <a:off x="0" y="6440488"/>
            <a:ext cx="666750" cy="365125"/>
          </a:xfrm>
          <a:noFill/>
          <a:ln>
            <a:miter lim="800000"/>
            <a:headEnd/>
            <a:tailEnd/>
          </a:ln>
        </p:spPr>
        <p:txBody>
          <a:bodyPr wrap="square" numCol="1" anchorCtr="0" compatLnSpc="1">
            <a:prstTxWarp prst="textNoShape">
              <a:avLst/>
            </a:prstTxWarp>
          </a:bodyPr>
          <a:lstStyle/>
          <a:p>
            <a:r>
              <a:rPr lang="de-DE" sz="800">
                <a:solidFill>
                  <a:schemeClr val="bg1"/>
                </a:solidFill>
                <a:ea typeface="ＭＳ Ｐゴシック"/>
                <a:cs typeface="ＭＳ Ｐゴシック"/>
              </a:rPr>
              <a:t>Slide </a:t>
            </a:r>
            <a:fld id="{FB991F9A-E9F2-4F00-ABAB-5490DDD38023}" type="slidenum">
              <a:rPr lang="de-DE" sz="800">
                <a:solidFill>
                  <a:schemeClr val="bg1"/>
                </a:solidFill>
                <a:ea typeface="ＭＳ Ｐゴシック"/>
                <a:cs typeface="ＭＳ Ｐゴシック"/>
              </a:rPr>
              <a:pPr/>
              <a:t>7</a:t>
            </a:fld>
            <a:endParaRPr lang="de-DE" sz="800">
              <a:solidFill>
                <a:schemeClr val="bg1"/>
              </a:solidFill>
              <a:ea typeface="ＭＳ Ｐゴシック"/>
              <a:cs typeface="ＭＳ Ｐゴシック"/>
            </a:endParaRPr>
          </a:p>
        </p:txBody>
      </p:sp>
      <p:sp>
        <p:nvSpPr>
          <p:cNvPr id="66563" name="TextBox 1"/>
          <p:cNvSpPr txBox="1">
            <a:spLocks noChangeArrowheads="1"/>
          </p:cNvSpPr>
          <p:nvPr/>
        </p:nvSpPr>
        <p:spPr bwMode="auto">
          <a:xfrm>
            <a:off x="323850" y="1611313"/>
            <a:ext cx="8334375" cy="4710112"/>
          </a:xfrm>
          <a:prstGeom prst="rect">
            <a:avLst/>
          </a:prstGeom>
          <a:noFill/>
          <a:ln w="9525">
            <a:noFill/>
            <a:miter lim="800000"/>
            <a:headEnd/>
            <a:tailEnd/>
          </a:ln>
        </p:spPr>
        <p:txBody>
          <a:bodyPr>
            <a:spAutoFit/>
          </a:bodyPr>
          <a:lstStyle/>
          <a:p>
            <a:r>
              <a:rPr lang="en-US" sz="2000"/>
              <a:t>“</a:t>
            </a:r>
            <a:r>
              <a:rPr lang="en-US" sz="2000" i="1"/>
              <a:t>If the bee disappears from the surface of the Earth, man would have no more than four years left to live.”</a:t>
            </a:r>
            <a:r>
              <a:rPr lang="en-US" sz="2000"/>
              <a:t>  - Albert Einstein </a:t>
            </a:r>
          </a:p>
          <a:p>
            <a:endParaRPr lang="en-US" sz="2000"/>
          </a:p>
          <a:p>
            <a:r>
              <a:rPr lang="en-US" sz="2000"/>
              <a:t>Honey bees are on the verge of extinction in North America</a:t>
            </a:r>
          </a:p>
          <a:p>
            <a:r>
              <a:rPr lang="en-US" sz="2000"/>
              <a:t> </a:t>
            </a:r>
          </a:p>
          <a:p>
            <a:r>
              <a:rPr lang="en-US" sz="2000"/>
              <a:t>The health of honey bees threatens our nation’s crops </a:t>
            </a:r>
          </a:p>
          <a:p>
            <a:endParaRPr lang="en-US" sz="2000"/>
          </a:p>
          <a:p>
            <a:r>
              <a:rPr lang="en-US" sz="2000"/>
              <a:t>Colony Collapse Disorder (CCD) is the most important disease facing honey bees today </a:t>
            </a:r>
          </a:p>
          <a:p>
            <a:endParaRPr lang="en-US" sz="2000"/>
          </a:p>
          <a:p>
            <a:r>
              <a:rPr lang="en-US" sz="2000"/>
              <a:t>Pesticides, particularly systemic ones, are responsible for the bee losses seen today </a:t>
            </a:r>
          </a:p>
          <a:p>
            <a:endParaRPr lang="en-US" sz="2000"/>
          </a:p>
          <a:p>
            <a:r>
              <a:rPr lang="en-US" sz="2000"/>
              <a:t>Declining bee health is a mystery and we do not know what to do to improve it</a:t>
            </a:r>
          </a:p>
        </p:txBody>
      </p:sp>
    </p:spTree>
  </p:cSld>
  <p:clrMapOvr>
    <a:masterClrMapping/>
  </p:clrMapOvr>
  <p:transition>
    <p:wip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393700" y="792163"/>
            <a:ext cx="7242175" cy="533400"/>
          </a:xfrm>
        </p:spPr>
        <p:txBody>
          <a:bodyPr>
            <a:normAutofit fontScale="90000"/>
          </a:bodyPr>
          <a:lstStyle/>
          <a:p>
            <a:pPr fontAlgn="auto">
              <a:spcAft>
                <a:spcPts val="0"/>
              </a:spcAft>
              <a:defRPr/>
            </a:pPr>
            <a:r>
              <a:rPr lang="en-US" sz="3600" dirty="0" smtClean="0"/>
              <a:t>So What is Affecting  Bee Health?</a:t>
            </a:r>
          </a:p>
        </p:txBody>
      </p:sp>
      <p:sp>
        <p:nvSpPr>
          <p:cNvPr id="9219" name="Content Placeholder 6"/>
          <p:cNvSpPr>
            <a:spLocks noGrp="1"/>
          </p:cNvSpPr>
          <p:nvPr>
            <p:ph sz="half" idx="1"/>
          </p:nvPr>
        </p:nvSpPr>
        <p:spPr>
          <a:xfrm>
            <a:off x="4849859" y="2259696"/>
            <a:ext cx="4165867" cy="4137496"/>
          </a:xfrm>
        </p:spPr>
        <p:txBody>
          <a:bodyPr rtlCol="0">
            <a:noAutofit/>
          </a:bodyPr>
          <a:lstStyle/>
          <a:p>
            <a:pPr marL="285750" indent="-285750" fontAlgn="auto">
              <a:spcAft>
                <a:spcPts val="0"/>
              </a:spcAft>
              <a:buClr>
                <a:schemeClr val="bg1"/>
              </a:buClr>
              <a:buFont typeface="Arial" pitchFamily="34" charset="0"/>
              <a:buChar char="•"/>
              <a:defRPr/>
            </a:pPr>
            <a:r>
              <a:rPr lang="en-US" sz="1800" b="1" dirty="0" smtClean="0"/>
              <a:t>Scientists are </a:t>
            </a:r>
            <a:r>
              <a:rPr lang="en-US" sz="1800" b="1" dirty="0"/>
              <a:t>f</a:t>
            </a:r>
            <a:r>
              <a:rPr lang="en-US" sz="1800" b="1" dirty="0" smtClean="0"/>
              <a:t>ocused on the interaction of multiple factors:</a:t>
            </a:r>
          </a:p>
          <a:p>
            <a:pPr marL="557213" lvl="1" indent="-285750" fontAlgn="auto">
              <a:spcAft>
                <a:spcPts val="300"/>
              </a:spcAft>
              <a:buFont typeface="Arial" pitchFamily="34" charset="0"/>
              <a:buChar char="•"/>
              <a:defRPr/>
            </a:pPr>
            <a:r>
              <a:rPr lang="en-US" sz="1600" dirty="0"/>
              <a:t>Parasites (</a:t>
            </a:r>
            <a:r>
              <a:rPr lang="en-US" sz="1600" i="1" dirty="0"/>
              <a:t>Varroa</a:t>
            </a:r>
            <a:r>
              <a:rPr lang="en-US" sz="1600" dirty="0"/>
              <a:t>; tracheal mites)</a:t>
            </a:r>
          </a:p>
          <a:p>
            <a:pPr marL="557213" lvl="1" indent="-285750" fontAlgn="auto">
              <a:spcAft>
                <a:spcPts val="300"/>
              </a:spcAft>
              <a:buFont typeface="Arial" pitchFamily="34" charset="0"/>
              <a:buChar char="•"/>
              <a:defRPr/>
            </a:pPr>
            <a:r>
              <a:rPr lang="en-US" sz="1600" dirty="0"/>
              <a:t>Nutrition </a:t>
            </a:r>
            <a:r>
              <a:rPr lang="en-US" sz="1600" dirty="0" smtClean="0"/>
              <a:t>deficiencies</a:t>
            </a:r>
            <a:endParaRPr lang="en-US" sz="1600" dirty="0"/>
          </a:p>
          <a:p>
            <a:pPr marL="557213" lvl="1" indent="-285750" fontAlgn="auto">
              <a:spcAft>
                <a:spcPts val="300"/>
              </a:spcAft>
              <a:buFont typeface="Arial" pitchFamily="34" charset="0"/>
              <a:buChar char="•"/>
              <a:defRPr/>
            </a:pPr>
            <a:r>
              <a:rPr lang="en-US" sz="1600" dirty="0"/>
              <a:t>Diseases (Nosema; bacteria; </a:t>
            </a:r>
            <a:r>
              <a:rPr lang="en-US" sz="1600" dirty="0" smtClean="0"/>
              <a:t>viruses)</a:t>
            </a:r>
          </a:p>
          <a:p>
            <a:pPr marL="557213" lvl="1" indent="-285750" fontAlgn="auto">
              <a:spcAft>
                <a:spcPts val="300"/>
              </a:spcAft>
              <a:buFont typeface="Arial" pitchFamily="34" charset="0"/>
              <a:buChar char="•"/>
              <a:defRPr/>
            </a:pPr>
            <a:r>
              <a:rPr lang="en-US" sz="1600" dirty="0" smtClean="0"/>
              <a:t>Weather</a:t>
            </a:r>
            <a:endParaRPr lang="en-US" sz="1600" strike="sngStrike" dirty="0" smtClean="0"/>
          </a:p>
          <a:p>
            <a:pPr marL="568325" lvl="1" indent="-296863" fontAlgn="auto">
              <a:spcAft>
                <a:spcPts val="300"/>
              </a:spcAft>
              <a:buFont typeface="Arial" pitchFamily="34" charset="0"/>
              <a:buChar char="•"/>
              <a:defRPr/>
            </a:pPr>
            <a:r>
              <a:rPr lang="en-US" sz="1600" dirty="0" smtClean="0"/>
              <a:t>Beekeeping practices</a:t>
            </a:r>
          </a:p>
          <a:p>
            <a:pPr marL="568325" lvl="1" indent="-296863" fontAlgn="auto">
              <a:spcAft>
                <a:spcPts val="300"/>
              </a:spcAft>
              <a:buFont typeface="Arial" pitchFamily="34" charset="0"/>
              <a:buChar char="•"/>
              <a:defRPr/>
            </a:pPr>
            <a:r>
              <a:rPr lang="en-US" sz="1600" dirty="0" smtClean="0"/>
              <a:t>Pesticides (hives; agriculture)</a:t>
            </a:r>
          </a:p>
          <a:p>
            <a:pPr marL="557213" lvl="1" indent="-285750" fontAlgn="auto">
              <a:spcAft>
                <a:spcPts val="300"/>
              </a:spcAft>
              <a:buFont typeface="Arial" pitchFamily="34" charset="0"/>
              <a:buChar char="•"/>
              <a:defRPr/>
            </a:pPr>
            <a:r>
              <a:rPr lang="en-US" sz="1600" dirty="0"/>
              <a:t>G</a:t>
            </a:r>
            <a:r>
              <a:rPr lang="en-US" sz="1600" dirty="0" smtClean="0"/>
              <a:t>enetic weakness</a:t>
            </a:r>
          </a:p>
          <a:p>
            <a:pPr marL="557213" lvl="1" indent="-285750" fontAlgn="auto">
              <a:spcAft>
                <a:spcPts val="300"/>
              </a:spcAft>
              <a:buFont typeface="Arial" pitchFamily="34" charset="0"/>
              <a:buChar char="•"/>
              <a:defRPr/>
            </a:pPr>
            <a:r>
              <a:rPr lang="en-US" sz="1600" dirty="0" smtClean="0"/>
              <a:t>Queen issues</a:t>
            </a:r>
          </a:p>
        </p:txBody>
      </p:sp>
      <p:pic>
        <p:nvPicPr>
          <p:cNvPr id="68611" name="Picture 2" descr="C:\Users\MOYAT\AppData\Local\Microsoft\Windows\Temporary Internet Files\Content.Outlook\FO5P08PS\Multiple Factors Affecting Bee Health.jpg"/>
          <p:cNvPicPr>
            <a:picLocks noChangeAspect="1" noChangeArrowheads="1"/>
          </p:cNvPicPr>
          <p:nvPr/>
        </p:nvPicPr>
        <p:blipFill>
          <a:blip r:embed="rId3" cstate="print"/>
          <a:srcRect/>
          <a:stretch>
            <a:fillRect/>
          </a:stretch>
        </p:blipFill>
        <p:spPr bwMode="auto">
          <a:xfrm>
            <a:off x="277813" y="1608138"/>
            <a:ext cx="4572000" cy="4572000"/>
          </a:xfrm>
          <a:prstGeom prst="rect">
            <a:avLst/>
          </a:prstGeom>
          <a:noFill/>
          <a:ln w="9525">
            <a:noFill/>
            <a:miter lim="800000"/>
            <a:headEnd/>
            <a:tailEnd/>
          </a:ln>
        </p:spPr>
      </p:pic>
    </p:spTree>
  </p:cSld>
  <p:clrMapOvr>
    <a:masterClrMapping/>
  </p:clrMapOvr>
  <p:transition spd="slow"/>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6725" y="236538"/>
            <a:ext cx="7364413" cy="1062037"/>
          </a:xfrm>
        </p:spPr>
        <p:txBody>
          <a:bodyPr/>
          <a:lstStyle/>
          <a:p>
            <a:pPr fontAlgn="auto">
              <a:spcBef>
                <a:spcPts val="300"/>
              </a:spcBef>
              <a:spcAft>
                <a:spcPts val="0"/>
              </a:spcAft>
              <a:defRPr/>
            </a:pPr>
            <a:r>
              <a:rPr lang="en-US" sz="3200" dirty="0" smtClean="0"/>
              <a:t>USDA/EPA Report on Bee Health*</a:t>
            </a:r>
            <a:r>
              <a:rPr lang="en-US" dirty="0" smtClean="0"/>
              <a:t/>
            </a:r>
            <a:br>
              <a:rPr lang="en-US" dirty="0" smtClean="0"/>
            </a:br>
            <a:r>
              <a:rPr lang="en-US" sz="2000" i="1" dirty="0" smtClean="0"/>
              <a:t>May 2, 2013</a:t>
            </a:r>
            <a:endParaRPr lang="en-US" sz="2000" dirty="0"/>
          </a:p>
        </p:txBody>
      </p:sp>
      <p:sp>
        <p:nvSpPr>
          <p:cNvPr id="3" name="Text Placeholder 2"/>
          <p:cNvSpPr>
            <a:spLocks noGrp="1"/>
          </p:cNvSpPr>
          <p:nvPr>
            <p:ph type="body" idx="1"/>
          </p:nvPr>
        </p:nvSpPr>
        <p:spPr>
          <a:xfrm>
            <a:off x="263525" y="1573213"/>
            <a:ext cx="8208963" cy="4535487"/>
          </a:xfrm>
        </p:spPr>
        <p:txBody>
          <a:bodyPr rtlCol="0">
            <a:normAutofit/>
          </a:bodyPr>
          <a:lstStyle/>
          <a:p>
            <a:pPr marL="182880" indent="-182880" fontAlgn="auto">
              <a:spcAft>
                <a:spcPts val="0"/>
              </a:spcAft>
              <a:buClr>
                <a:srgbClr val="008000"/>
              </a:buClr>
              <a:buFont typeface="Arial" pitchFamily="34" charset="0"/>
              <a:buChar char="•"/>
              <a:defRPr/>
            </a:pPr>
            <a:r>
              <a:rPr lang="en-US" sz="1600" b="1" dirty="0" smtClean="0"/>
              <a:t>Comprehensive </a:t>
            </a:r>
            <a:r>
              <a:rPr lang="en-US" sz="1600" b="1" dirty="0"/>
              <a:t>assessment of the major factors contributing to honey bee decline </a:t>
            </a:r>
            <a:endParaRPr lang="en-US" sz="1600" b="1" dirty="0" smtClean="0"/>
          </a:p>
          <a:p>
            <a:pPr marL="285750" indent="-285750" fontAlgn="auto">
              <a:spcBef>
                <a:spcPts val="600"/>
              </a:spcBef>
              <a:spcAft>
                <a:spcPts val="0"/>
              </a:spcAft>
              <a:buClr>
                <a:srgbClr val="008000"/>
              </a:buClr>
              <a:buFont typeface="Arial" pitchFamily="34" charset="0"/>
              <a:buChar char="•"/>
              <a:defRPr/>
            </a:pPr>
            <a:r>
              <a:rPr lang="en-US" sz="1600" dirty="0" smtClean="0"/>
              <a:t>Recognizes Varroa mite as the ‘</a:t>
            </a:r>
            <a:r>
              <a:rPr lang="en-US" sz="1600" i="1" dirty="0" smtClean="0"/>
              <a:t>single most detrimental pest of honey bees and is closely associated with overwintering colony decline’</a:t>
            </a:r>
          </a:p>
          <a:p>
            <a:pPr marL="285750" indent="-285750" fontAlgn="auto">
              <a:spcBef>
                <a:spcPts val="600"/>
              </a:spcBef>
              <a:spcAft>
                <a:spcPts val="0"/>
              </a:spcAft>
              <a:buClr>
                <a:srgbClr val="008000"/>
              </a:buClr>
              <a:buFont typeface="Arial" pitchFamily="34" charset="0"/>
              <a:buChar char="•"/>
              <a:defRPr/>
            </a:pPr>
            <a:r>
              <a:rPr lang="en-US" sz="1600" dirty="0" smtClean="0"/>
              <a:t>Notes multiple diseases associated with Colony Collapse Disorder, many of which are amplified by Varroa</a:t>
            </a:r>
          </a:p>
          <a:p>
            <a:pPr marL="285750" indent="-285750" fontAlgn="auto">
              <a:spcBef>
                <a:spcPts val="600"/>
              </a:spcBef>
              <a:spcAft>
                <a:spcPts val="0"/>
              </a:spcAft>
              <a:buClr>
                <a:srgbClr val="008000"/>
              </a:buClr>
              <a:buFont typeface="Arial" pitchFamily="34" charset="0"/>
              <a:buChar char="•"/>
              <a:defRPr/>
            </a:pPr>
            <a:r>
              <a:rPr lang="en-US" sz="1600" dirty="0" smtClean="0"/>
              <a:t>Urges adoption of best management practices to enhance bee health</a:t>
            </a:r>
          </a:p>
          <a:p>
            <a:pPr marL="557213" lvl="1" indent="-285750" fontAlgn="auto">
              <a:spcAft>
                <a:spcPts val="300"/>
              </a:spcAft>
              <a:buClr>
                <a:srgbClr val="008000"/>
              </a:buClr>
              <a:buFont typeface="Arial" pitchFamily="34" charset="0"/>
              <a:buChar char="•"/>
              <a:defRPr/>
            </a:pPr>
            <a:r>
              <a:rPr lang="en-US" sz="1600" dirty="0" smtClean="0"/>
              <a:t>Significantly improve genetic diversity in bees</a:t>
            </a:r>
          </a:p>
          <a:p>
            <a:pPr marL="557213" lvl="1" indent="-285750" fontAlgn="auto">
              <a:spcAft>
                <a:spcPts val="300"/>
              </a:spcAft>
              <a:buClr>
                <a:srgbClr val="008000"/>
              </a:buClr>
              <a:buFont typeface="Arial" pitchFamily="34" charset="0"/>
              <a:buChar char="•"/>
              <a:defRPr/>
            </a:pPr>
            <a:r>
              <a:rPr lang="en-US" sz="1600" dirty="0" smtClean="0"/>
              <a:t>Increase nutritional options to lessen susceptibility to stressors</a:t>
            </a:r>
          </a:p>
          <a:p>
            <a:pPr marL="557213" lvl="1" indent="-285750" fontAlgn="auto">
              <a:spcAft>
                <a:spcPts val="0"/>
              </a:spcAft>
              <a:buClr>
                <a:srgbClr val="008000"/>
              </a:buClr>
              <a:buFont typeface="Arial" pitchFamily="34" charset="0"/>
              <a:buChar char="•"/>
              <a:defRPr/>
            </a:pPr>
            <a:r>
              <a:rPr lang="en-US" sz="1600" dirty="0" smtClean="0"/>
              <a:t>Continue understanding of pesticide impacts at field-relevant exposures</a:t>
            </a:r>
          </a:p>
          <a:p>
            <a:pPr marL="285750" indent="-285750" fontAlgn="auto">
              <a:spcBef>
                <a:spcPts val="600"/>
              </a:spcBef>
              <a:spcAft>
                <a:spcPts val="0"/>
              </a:spcAft>
              <a:buClr>
                <a:srgbClr val="008000"/>
              </a:buClr>
              <a:buFont typeface="Arial" pitchFamily="34" charset="0"/>
              <a:buChar char="•"/>
              <a:defRPr/>
            </a:pPr>
            <a:r>
              <a:rPr lang="en-US" sz="1600" dirty="0" smtClean="0"/>
              <a:t>Greater collaboration and information sharing among stakeholders will facilitate adoption of BMPs and is critical to improving bee health</a:t>
            </a:r>
            <a:endParaRPr lang="en-US" sz="1600" dirty="0"/>
          </a:p>
        </p:txBody>
      </p:sp>
      <p:sp>
        <p:nvSpPr>
          <p:cNvPr id="70659" name="Slide Number Placeholder 1"/>
          <p:cNvSpPr>
            <a:spLocks noGrp="1"/>
          </p:cNvSpPr>
          <p:nvPr>
            <p:ph type="sldNum" sz="quarter" idx="11"/>
          </p:nvPr>
        </p:nvSpPr>
        <p:spPr bwMode="auto">
          <a:xfrm>
            <a:off x="360363" y="6424613"/>
            <a:ext cx="793750" cy="433387"/>
          </a:xfrm>
          <a:noFill/>
          <a:ln>
            <a:miter lim="800000"/>
            <a:headEnd/>
            <a:tailEnd/>
          </a:ln>
        </p:spPr>
        <p:txBody>
          <a:bodyPr wrap="square" numCol="1" anchorCtr="0" compatLnSpc="1">
            <a:prstTxWarp prst="textNoShape">
              <a:avLst/>
            </a:prstTxWarp>
          </a:bodyPr>
          <a:lstStyle/>
          <a:p>
            <a:r>
              <a:rPr lang="en-US" sz="1000">
                <a:solidFill>
                  <a:srgbClr val="FFFFFF"/>
                </a:solidFill>
              </a:rPr>
              <a:t>Page </a:t>
            </a:r>
            <a:fld id="{70E4014B-1948-440D-8DDE-3AFAF028CAE4}" type="slidenum">
              <a:rPr lang="en-US" sz="1000">
                <a:solidFill>
                  <a:srgbClr val="FFFFFF"/>
                </a:solidFill>
              </a:rPr>
              <a:pPr/>
              <a:t>9</a:t>
            </a:fld>
            <a:endParaRPr lang="en-US" sz="1000">
              <a:solidFill>
                <a:srgbClr val="FFFFFF"/>
              </a:solidFill>
            </a:endParaRPr>
          </a:p>
        </p:txBody>
      </p:sp>
      <p:grpSp>
        <p:nvGrpSpPr>
          <p:cNvPr id="70660" name="Group 7"/>
          <p:cNvGrpSpPr>
            <a:grpSpLocks/>
          </p:cNvGrpSpPr>
          <p:nvPr/>
        </p:nvGrpSpPr>
        <p:grpSpPr bwMode="auto">
          <a:xfrm>
            <a:off x="434975" y="5300663"/>
            <a:ext cx="8178800" cy="795337"/>
            <a:chOff x="361155" y="5388549"/>
            <a:chExt cx="8178161" cy="795850"/>
          </a:xfrm>
        </p:grpSpPr>
        <p:sp>
          <p:nvSpPr>
            <p:cNvPr id="7" name="Rectangle 6"/>
            <p:cNvSpPr/>
            <p:nvPr/>
          </p:nvSpPr>
          <p:spPr bwMode="auto">
            <a:xfrm>
              <a:off x="361155" y="5388549"/>
              <a:ext cx="8178161" cy="795850"/>
            </a:xfrm>
            <a:prstGeom prst="rect">
              <a:avLst/>
            </a:prstGeom>
            <a:solidFill>
              <a:schemeClr val="bg2">
                <a:lumMod val="60000"/>
                <a:lumOff val="40000"/>
              </a:schemeClr>
            </a:solidFill>
            <a:ln w="9525" cap="flat" cmpd="sng" algn="ctr">
              <a:solidFill>
                <a:schemeClr val="tx1"/>
              </a:solidFill>
              <a:prstDash val="solid"/>
              <a:round/>
              <a:headEnd type="none" w="med" len="med"/>
              <a:tailEnd type="none" w="med" len="med"/>
            </a:ln>
            <a:effectLst/>
            <a:extLst/>
          </p:spPr>
          <p:txBody>
            <a:bodyPr wrap="none" anchor="ctr"/>
            <a:lstStyle/>
            <a:p>
              <a:pPr algn="ctr">
                <a:defRPr/>
              </a:pPr>
              <a:endParaRPr lang="en-US" dirty="0"/>
            </a:p>
          </p:txBody>
        </p:sp>
        <p:sp>
          <p:nvSpPr>
            <p:cNvPr id="70663" name="TextBox 4"/>
            <p:cNvSpPr txBox="1">
              <a:spLocks noChangeArrowheads="1"/>
            </p:cNvSpPr>
            <p:nvPr/>
          </p:nvSpPr>
          <p:spPr bwMode="auto">
            <a:xfrm>
              <a:off x="493889" y="5412657"/>
              <a:ext cx="8001180" cy="738664"/>
            </a:xfrm>
            <a:prstGeom prst="rect">
              <a:avLst/>
            </a:prstGeom>
            <a:noFill/>
            <a:ln w="9525">
              <a:noFill/>
              <a:miter lim="800000"/>
              <a:headEnd/>
              <a:tailEnd/>
            </a:ln>
          </p:spPr>
          <p:txBody>
            <a:bodyPr>
              <a:spAutoFit/>
            </a:bodyPr>
            <a:lstStyle/>
            <a:p>
              <a:r>
                <a:rPr lang="en-US" sz="1400"/>
                <a:t>*This report was an outgrowth of the October 2012 National Stakeholders Conference on Honey Bee Health and attended by a wide range of federal and state officials, researchers and others concerned about honey bee colony decline</a:t>
              </a:r>
            </a:p>
          </p:txBody>
        </p:sp>
      </p:grpSp>
      <p:pic>
        <p:nvPicPr>
          <p:cNvPr id="70661" name="Picture 2"/>
          <p:cNvPicPr>
            <a:picLocks noChangeAspect="1" noChangeArrowheads="1"/>
          </p:cNvPicPr>
          <p:nvPr/>
        </p:nvPicPr>
        <p:blipFill>
          <a:blip r:embed="rId3" cstate="print"/>
          <a:srcRect/>
          <a:stretch>
            <a:fillRect/>
          </a:stretch>
        </p:blipFill>
        <p:spPr bwMode="auto">
          <a:xfrm>
            <a:off x="7223125" y="2974975"/>
            <a:ext cx="1801813" cy="1273175"/>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czC8MjspCUymUQWm0QD7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Rjek9MewES6XvzokCT6i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TwLzSLaPA02HtoCFBrOE5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G6v1NnubUC0A2J3G2.xs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HD5I4corEuDNdSS2qnuvw"/>
</p:tagLst>
</file>

<file path=ppt/theme/_rels/theme6.xml.rels><?xml version="1.0" encoding="UTF-8" standalone="yes"?>
<Relationships xmlns="http://schemas.openxmlformats.org/package/2006/relationships"><Relationship Id="rId1" Type="http://schemas.openxmlformats.org/officeDocument/2006/relationships/image" Target="../media/image10.jpeg"/></Relationships>
</file>

<file path=ppt/theme/theme1.xml><?xml version="1.0" encoding="utf-8"?>
<a:theme xmlns:a="http://schemas.openxmlformats.org/drawingml/2006/main" name="2_Bee_Care_Template">
  <a:themeElements>
    <a:clrScheme name="2_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fontScheme name="2_Bayer_Template">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2_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Bee_Care_Template">
  <a:themeElements>
    <a:clrScheme name="6_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fontScheme name="6_Bayer_Template">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6_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Bee_Care_Template">
  <a:themeElements>
    <a:clrScheme name="6_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fontScheme name="6_Bayer_Template">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6_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5_Bee_Care_Template">
  <a:themeElements>
    <a:clrScheme name="6_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fontScheme name="6_Bayer_Template">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6_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6_Bee_Care_Template">
  <a:themeElements>
    <a:clrScheme name="6_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fontScheme name="6_Bayer_Template">
      <a:majorFont>
        <a:latin typeface="Arial"/>
        <a:ea typeface=""/>
        <a:cs typeface="Arial"/>
      </a:majorFont>
      <a:minorFont>
        <a:latin typeface="Arial"/>
        <a:ea typeface=""/>
        <a:cs typeface="Arial"/>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2"/>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none" lIns="91440" tIns="4572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6_Bayer_Template 1">
        <a:dk1>
          <a:srgbClr val="676767"/>
        </a:dk1>
        <a:lt1>
          <a:srgbClr val="FFFFFF"/>
        </a:lt1>
        <a:dk2>
          <a:srgbClr val="000000"/>
        </a:dk2>
        <a:lt2>
          <a:srgbClr val="BFBFBF"/>
        </a:lt2>
        <a:accent1>
          <a:srgbClr val="0090C5"/>
        </a:accent1>
        <a:accent2>
          <a:srgbClr val="6BC200"/>
        </a:accent2>
        <a:accent3>
          <a:srgbClr val="FFFFFF"/>
        </a:accent3>
        <a:accent4>
          <a:srgbClr val="575757"/>
        </a:accent4>
        <a:accent5>
          <a:srgbClr val="AAC6DF"/>
        </a:accent5>
        <a:accent6>
          <a:srgbClr val="60B000"/>
        </a:accent6>
        <a:hlink>
          <a:srgbClr val="00BABA"/>
        </a:hlink>
        <a:folHlink>
          <a:srgbClr val="818181"/>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Clarity">
  <a:themeElements>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85000"/>
                <a:satMod val="180000"/>
              </a:schemeClr>
            </a:gs>
            <a:gs pos="40000">
              <a:schemeClr val="phClr">
                <a:tint val="95000"/>
                <a:shade val="85000"/>
                <a:satMod val="150000"/>
              </a:schemeClr>
            </a:gs>
            <a:gs pos="100000">
              <a:schemeClr val="phClr">
                <a:shade val="45000"/>
                <a:satMod val="200000"/>
              </a:schemeClr>
            </a:gs>
          </a:gsLst>
          <a:lin ang="5400000" scaled="0"/>
        </a:gradFill>
        <a:blipFill rotWithShape="1">
          <a:blip xmlns:r="http://schemas.openxmlformats.org/officeDocument/2006/relationships" r:embed="rId1">
            <a:duotone>
              <a:schemeClr val="phClr">
                <a:shade val="55000"/>
              </a:schemeClr>
              <a:schemeClr val="phClr">
                <a:tint val="97000"/>
                <a:satMod val="95000"/>
              </a:schemeClr>
            </a:duotone>
          </a:blip>
          <a:tile tx="0" ty="0" sx="70000" sy="70000" flip="none" algn="tl"/>
        </a:blipFill>
      </a:bgFillStyleLst>
    </a:fmtScheme>
  </a:themeElements>
  <a:objectDefaults/>
  <a:extraClrSchemeLst/>
</a:theme>
</file>

<file path=ppt/theme/theme7.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Lariss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larity">
    <a:dk1>
      <a:srgbClr val="292934"/>
    </a:dk1>
    <a:lt1>
      <a:srgbClr val="FFFFFF"/>
    </a:lt1>
    <a:dk2>
      <a:srgbClr val="D2533C"/>
    </a:dk2>
    <a:lt2>
      <a:srgbClr val="F3F2DC"/>
    </a:lt2>
    <a:accent1>
      <a:srgbClr val="93A299"/>
    </a:accent1>
    <a:accent2>
      <a:srgbClr val="AD8F67"/>
    </a:accent2>
    <a:accent3>
      <a:srgbClr val="726056"/>
    </a:accent3>
    <a:accent4>
      <a:srgbClr val="4C5A6A"/>
    </a:accent4>
    <a:accent5>
      <a:srgbClr val="808DA0"/>
    </a:accent5>
    <a:accent6>
      <a:srgbClr val="79463D"/>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emplate>PPT_MASTER_BEE _CARE_Office_2010 (1)</Template>
  <TotalTime>0</TotalTime>
  <Words>3397</Words>
  <Application>Microsoft Office PowerPoint</Application>
  <PresentationFormat>On-screen Show (4:3)</PresentationFormat>
  <Paragraphs>269</Paragraphs>
  <Slides>26</Slides>
  <Notes>25</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26</vt:i4>
      </vt:variant>
    </vt:vector>
  </HeadingPairs>
  <TitlesOfParts>
    <vt:vector size="33" baseType="lpstr">
      <vt:lpstr>2_Bee_Care_Template</vt:lpstr>
      <vt:lpstr>3_Bee_Care_Template</vt:lpstr>
      <vt:lpstr>4_Bee_Care_Template</vt:lpstr>
      <vt:lpstr>5_Bee_Care_Template</vt:lpstr>
      <vt:lpstr>6_Bee_Care_Template</vt:lpstr>
      <vt:lpstr>Clarity</vt:lpstr>
      <vt:lpstr>Microsoft Office Excel Chart</vt:lpstr>
      <vt:lpstr>Bee Health Update, Pollinator Hazard Language Changes     PCOC</vt:lpstr>
      <vt:lpstr>Honey Bees</vt:lpstr>
      <vt:lpstr>Role and Value of Pollinators</vt:lpstr>
      <vt:lpstr>Status of Honey Bee Health</vt:lpstr>
      <vt:lpstr>Bee Health In the Headlines</vt:lpstr>
      <vt:lpstr>Anti-Pesticide Activity around Pollinators</vt:lpstr>
      <vt:lpstr>Fact or Fiction?</vt:lpstr>
      <vt:lpstr>So What is Affecting  Bee Health?</vt:lpstr>
      <vt:lpstr>USDA/EPA Report on Bee Health* May 2, 2013</vt:lpstr>
      <vt:lpstr>Political Fallout</vt:lpstr>
      <vt:lpstr>Political forces pushing EPA</vt:lpstr>
      <vt:lpstr>What Has Happened Since May?</vt:lpstr>
      <vt:lpstr>EPA Forced to Take Action</vt:lpstr>
      <vt:lpstr>Pollinator Protection L.I.P.</vt:lpstr>
      <vt:lpstr>Bee Health Concerns</vt:lpstr>
      <vt:lpstr>Slide 16</vt:lpstr>
      <vt:lpstr>Use Directions Changes</vt:lpstr>
      <vt:lpstr>Reducing Risk = Reducing Exposure</vt:lpstr>
      <vt:lpstr>Benefits of Neonicotinoids in Urban Landscapes</vt:lpstr>
      <vt:lpstr>Benefits of Neonicotinoids in Urban Landscapes (2)</vt:lpstr>
      <vt:lpstr>Pest Management Professional – Stewardship (1)</vt:lpstr>
      <vt:lpstr>Pest Management Professional – Stewardship (2)</vt:lpstr>
      <vt:lpstr>Thoughts on Proactive strategies for structural pest management industry</vt:lpstr>
      <vt:lpstr>Bayer’s Investment in Bee Health: Bayer Bee Care Program</vt:lpstr>
      <vt:lpstr>Bayer Bee Health Care Center</vt:lpstr>
      <vt:lpstr>Thank You</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subject>PowerPoint 2003 template 4:3</dc:subject>
  <dc:creator>Catharine Montgomery</dc:creator>
  <cp:lastModifiedBy>Dean Wiley</cp:lastModifiedBy>
  <cp:revision>461</cp:revision>
  <cp:lastPrinted>2012-11-07T13:42:38Z</cp:lastPrinted>
  <dcterms:created xsi:type="dcterms:W3CDTF">2012-09-20T15:21:08Z</dcterms:created>
  <dcterms:modified xsi:type="dcterms:W3CDTF">2014-05-06T19:46:25Z</dcterms:modified>
</cp:coreProperties>
</file>